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48" r:id="rId4"/>
  </p:sldMasterIdLst>
  <p:notesMasterIdLst>
    <p:notesMasterId r:id="rId40"/>
  </p:notesMasterIdLst>
  <p:handoutMasterIdLst>
    <p:handoutMasterId r:id="rId41"/>
  </p:handoutMasterIdLst>
  <p:sldIdLst>
    <p:sldId id="1552236" r:id="rId5"/>
    <p:sldId id="596" r:id="rId6"/>
    <p:sldId id="598" r:id="rId7"/>
    <p:sldId id="1552186" r:id="rId8"/>
    <p:sldId id="1552221" r:id="rId9"/>
    <p:sldId id="1552203" r:id="rId10"/>
    <p:sldId id="1552220" r:id="rId11"/>
    <p:sldId id="1552204" r:id="rId12"/>
    <p:sldId id="1552222" r:id="rId13"/>
    <p:sldId id="1552205" r:id="rId14"/>
    <p:sldId id="1552223" r:id="rId15"/>
    <p:sldId id="1552206" r:id="rId16"/>
    <p:sldId id="1552224" r:id="rId17"/>
    <p:sldId id="1552233" r:id="rId18"/>
    <p:sldId id="1552207" r:id="rId19"/>
    <p:sldId id="1552208" r:id="rId20"/>
    <p:sldId id="1552225" r:id="rId21"/>
    <p:sldId id="1552226" r:id="rId22"/>
    <p:sldId id="1552210" r:id="rId23"/>
    <p:sldId id="1552211" r:id="rId24"/>
    <p:sldId id="1552228" r:id="rId25"/>
    <p:sldId id="1552212" r:id="rId26"/>
    <p:sldId id="1552227" r:id="rId27"/>
    <p:sldId id="1552234" r:id="rId28"/>
    <p:sldId id="1552209" r:id="rId29"/>
    <p:sldId id="1552214" r:id="rId30"/>
    <p:sldId id="1552215" r:id="rId31"/>
    <p:sldId id="1552231" r:id="rId32"/>
    <p:sldId id="1552218" r:id="rId33"/>
    <p:sldId id="1552229" r:id="rId34"/>
    <p:sldId id="1552219" r:id="rId35"/>
    <p:sldId id="1552232" r:id="rId36"/>
    <p:sldId id="1552216" r:id="rId37"/>
    <p:sldId id="1552230" r:id="rId38"/>
    <p:sldId id="585" r:id="rId39"/>
  </p:sldIdLst>
  <p:sldSz cx="12192000" cy="6858000"/>
  <p:notesSz cx="6858000" cy="9144000"/>
  <p:custDataLst>
    <p:tags r:id="rId42"/>
  </p:custDataLst>
  <p:defaultTex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ore" initials="A" lastIdx="1"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D1AD9"/>
    <a:srgbClr val="00A9E0"/>
    <a:srgbClr val="E35205"/>
    <a:srgbClr val="DA291C"/>
    <a:srgbClr val="F9D3D0"/>
    <a:srgbClr val="59595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C606AC1-6E99-4E95-A857-E58BFBBC71E0}" v="3321" dt="2022-11-07T16:56:06.295"/>
    <p1510:client id="{5FAEC94A-FC86-4BE5-A11B-D8DD881E57A9}" v="223" dt="2022-11-08T10:47:26.342"/>
    <p1510:client id="{A833603B-072E-48AB-AF54-FBC22F7ECC80}" v="187" dt="2022-11-08T10:08:16.580"/>
    <p1510:client id="{CCBA50DA-406D-473D-937A-0D7657CD159C}" vWet="2" dt="2022-11-08T10:31:01.82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741" autoAdjust="0"/>
    <p:restoredTop sz="95850" autoAdjust="0"/>
  </p:normalViewPr>
  <p:slideViewPr>
    <p:cSldViewPr snapToGrid="0" snapToObjects="1">
      <p:cViewPr varScale="1">
        <p:scale>
          <a:sx n="62" d="100"/>
          <a:sy n="62" d="100"/>
        </p:scale>
        <p:origin x="876" y="80"/>
      </p:cViewPr>
      <p:guideLst/>
    </p:cSldViewPr>
  </p:slideViewPr>
  <p:outlineViewPr>
    <p:cViewPr>
      <p:scale>
        <a:sx n="33" d="100"/>
        <a:sy n="33" d="100"/>
      </p:scale>
      <p:origin x="0" y="-14292"/>
    </p:cViewPr>
  </p:outlineViewPr>
  <p:notesTextViewPr>
    <p:cViewPr>
      <p:scale>
        <a:sx n="1" d="1"/>
        <a:sy n="1" d="1"/>
      </p:scale>
      <p:origin x="0" y="0"/>
    </p:cViewPr>
  </p:notesTextViewPr>
  <p:sorterViewPr>
    <p:cViewPr>
      <p:scale>
        <a:sx n="200" d="100"/>
        <a:sy n="200" d="100"/>
      </p:scale>
      <p:origin x="0" y="0"/>
    </p:cViewPr>
  </p:sorterViewPr>
  <p:notesViewPr>
    <p:cSldViewPr snapToGrid="0" snapToObjects="1" showGuides="1">
      <p:cViewPr varScale="1">
        <p:scale>
          <a:sx n="66" d="100"/>
          <a:sy n="66" d="100"/>
        </p:scale>
        <p:origin x="2280" y="22"/>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ags" Target="tags/tag1.xml"/><Relationship Id="rId47"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notesMaster" Target="notesMasters/notesMaster1.xml"/><Relationship Id="rId45"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commentAuthors" Target="commentAuthors.xml"/><Relationship Id="rId48" Type="http://schemas.microsoft.com/office/2015/10/relationships/revisionInfo" Target="revisionInfo.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theme" Target="theme/theme1.xml"/><Relationship Id="rId20" Type="http://schemas.openxmlformats.org/officeDocument/2006/relationships/slide" Target="slides/slide16.xml"/><Relationship Id="rId41"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a:extLst>
              <a:ext uri="{FF2B5EF4-FFF2-40B4-BE49-F238E27FC236}">
                <a16:creationId xmlns:a16="http://schemas.microsoft.com/office/drawing/2014/main" id="{40EC17D6-A2A1-F64F-9856-71BC94E199F8}"/>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dirty="0">
              <a:latin typeface="Verdana" panose="020B0604030504040204" pitchFamily="34" charset="0"/>
            </a:endParaRPr>
          </a:p>
        </p:txBody>
      </p:sp>
      <p:sp>
        <p:nvSpPr>
          <p:cNvPr id="3" name="Marcador de fecha 2">
            <a:extLst>
              <a:ext uri="{FF2B5EF4-FFF2-40B4-BE49-F238E27FC236}">
                <a16:creationId xmlns:a16="http://schemas.microsoft.com/office/drawing/2014/main" id="{FCA2BBFA-2A67-8B40-97BE-E2613C933252}"/>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9125277A-6500-344E-826C-31A32BC2B1D0}" type="datetimeFigureOut">
              <a:rPr lang="en-GB" smtClean="0">
                <a:latin typeface="Verdana" panose="020B0604030504040204" pitchFamily="34" charset="0"/>
              </a:rPr>
              <a:t>10/11/2022</a:t>
            </a:fld>
            <a:endParaRPr lang="en-GB" dirty="0">
              <a:latin typeface="Verdana" panose="020B0604030504040204" pitchFamily="34" charset="0"/>
            </a:endParaRPr>
          </a:p>
        </p:txBody>
      </p:sp>
      <p:sp>
        <p:nvSpPr>
          <p:cNvPr id="4" name="Marcador de pie de página 3">
            <a:extLst>
              <a:ext uri="{FF2B5EF4-FFF2-40B4-BE49-F238E27FC236}">
                <a16:creationId xmlns:a16="http://schemas.microsoft.com/office/drawing/2014/main" id="{70CE7F95-254F-204C-916A-B288E76B9E19}"/>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dirty="0">
              <a:latin typeface="Verdana" panose="020B0604030504040204" pitchFamily="34" charset="0"/>
            </a:endParaRPr>
          </a:p>
        </p:txBody>
      </p:sp>
      <p:sp>
        <p:nvSpPr>
          <p:cNvPr id="5" name="Marcador de número de diapositiva 4">
            <a:extLst>
              <a:ext uri="{FF2B5EF4-FFF2-40B4-BE49-F238E27FC236}">
                <a16:creationId xmlns:a16="http://schemas.microsoft.com/office/drawing/2014/main" id="{CAC6E65B-E1F7-4744-842E-139DECC813C7}"/>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1740451-4669-C14D-9170-7EEAEB25B130}" type="slidenum">
              <a:rPr lang="en-GB" smtClean="0">
                <a:latin typeface="Verdana" panose="020B0604030504040204" pitchFamily="34" charset="0"/>
              </a:rPr>
              <a:t>‹N›</a:t>
            </a:fld>
            <a:endParaRPr lang="en-GB" dirty="0">
              <a:latin typeface="Verdana" panose="020B0604030504040204" pitchFamily="34" charset="0"/>
            </a:endParaRPr>
          </a:p>
        </p:txBody>
      </p:sp>
    </p:spTree>
    <p:extLst>
      <p:ext uri="{BB962C8B-B14F-4D97-AF65-F5344CB8AC3E}">
        <p14:creationId xmlns:p14="http://schemas.microsoft.com/office/powerpoint/2010/main" val="372332989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dirty="0">
              <a:latin typeface="Verdana" panose="020B0604030504040204" pitchFamily="34" charset="0"/>
            </a:endParaRPr>
          </a:p>
        </p:txBody>
      </p:sp>
      <p:sp>
        <p:nvSpPr>
          <p:cNvPr id="3" name="Marcador de fech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29BD3EA-3DAB-2444-80BA-B92467A90028}" type="datetimeFigureOut">
              <a:rPr lang="en-GB" smtClean="0">
                <a:latin typeface="Verdana" panose="020B0604030504040204" pitchFamily="34" charset="0"/>
              </a:rPr>
              <a:t>10/11/2022</a:t>
            </a:fld>
            <a:endParaRPr lang="en-GB" dirty="0">
              <a:latin typeface="Verdana" panose="020B0604030504040204" pitchFamily="34" charset="0"/>
            </a:endParaRPr>
          </a:p>
        </p:txBody>
      </p:sp>
      <p:sp>
        <p:nvSpPr>
          <p:cNvPr id="4" name="Marcador de imagen d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dirty="0">
              <a:latin typeface="Verdana" panose="020B0604030504040204" pitchFamily="34" charset="0"/>
            </a:endParaRPr>
          </a:p>
        </p:txBody>
      </p:sp>
      <p:sp>
        <p:nvSpPr>
          <p:cNvPr id="5" name="Marcador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s-ES" dirty="0"/>
              <a:t>Haga clic para modificar los estilos de texto del patrón</a:t>
            </a:r>
          </a:p>
          <a:p>
            <a:pPr lvl="1"/>
            <a:r>
              <a:rPr lang="es-ES" dirty="0"/>
              <a:t>Segundo nivel</a:t>
            </a:r>
          </a:p>
        </p:txBody>
      </p:sp>
      <p:sp>
        <p:nvSpPr>
          <p:cNvPr id="6" name="Marcador de pie de pá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dirty="0">
              <a:latin typeface="Verdana" panose="020B0604030504040204" pitchFamily="34" charset="0"/>
            </a:endParaRPr>
          </a:p>
        </p:txBody>
      </p:sp>
      <p:sp>
        <p:nvSpPr>
          <p:cNvPr id="7" name="Marcador de número de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360EC31-3B33-E74F-A380-6BEE09408E69}" type="slidenum">
              <a:rPr lang="en-GB" smtClean="0">
                <a:latin typeface="Verdana" panose="020B0604030504040204" pitchFamily="34" charset="0"/>
              </a:rPr>
              <a:t>‹N›</a:t>
            </a:fld>
            <a:endParaRPr lang="en-GB" dirty="0">
              <a:latin typeface="Verdana" panose="020B0604030504040204" pitchFamily="34" charset="0"/>
            </a:endParaRPr>
          </a:p>
        </p:txBody>
      </p:sp>
    </p:spTree>
    <p:extLst>
      <p:ext uri="{BB962C8B-B14F-4D97-AF65-F5344CB8AC3E}">
        <p14:creationId xmlns:p14="http://schemas.microsoft.com/office/powerpoint/2010/main" val="402178585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Verdana" panose="020B0604030504040204" pitchFamily="34" charset="0"/>
        <a:ea typeface="+mn-ea"/>
        <a:cs typeface="+mn-cs"/>
        <a:sym typeface="Verdana" panose="020B0604030504040204" pitchFamily="34" charset="0"/>
      </a:defRPr>
    </a:lvl1pPr>
    <a:lvl2pPr marL="457200" algn="l" defTabSz="914400" rtl="0" eaLnBrk="1" latinLnBrk="0" hangingPunct="1">
      <a:defRPr sz="1200" kern="1200">
        <a:solidFill>
          <a:schemeClr val="tx1"/>
        </a:solidFill>
        <a:latin typeface="Verdana" panose="020B0604030504040204" pitchFamily="34" charset="0"/>
        <a:ea typeface="+mn-ea"/>
        <a:cs typeface="+mn-cs"/>
        <a:sym typeface="Verdana" panose="020B0604030504040204" pitchFamily="34" charset="0"/>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fld id="{D9A940EA-09A3-6246-95FC-5B199379942C}" type="slidenum">
              <a:rPr lang="it-IT" smtClean="0"/>
              <a:t>1</a:t>
            </a:fld>
            <a:endParaRPr lang="it-IT"/>
          </a:p>
        </p:txBody>
      </p:sp>
    </p:spTree>
    <p:extLst>
      <p:ext uri="{BB962C8B-B14F-4D97-AF65-F5344CB8AC3E}">
        <p14:creationId xmlns:p14="http://schemas.microsoft.com/office/powerpoint/2010/main" val="213606177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D9A940EA-09A3-6246-95FC-5B199379942C}" type="slidenum">
              <a:rPr lang="it-IT" smtClean="0"/>
              <a:t>12</a:t>
            </a:fld>
            <a:endParaRPr lang="it-IT"/>
          </a:p>
        </p:txBody>
      </p:sp>
    </p:spTree>
    <p:extLst>
      <p:ext uri="{BB962C8B-B14F-4D97-AF65-F5344CB8AC3E}">
        <p14:creationId xmlns:p14="http://schemas.microsoft.com/office/powerpoint/2010/main" val="162960151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D9A940EA-09A3-6246-95FC-5B199379942C}" type="slidenum">
              <a:rPr lang="it-IT" smtClean="0"/>
              <a:t>13</a:t>
            </a:fld>
            <a:endParaRPr lang="it-IT"/>
          </a:p>
        </p:txBody>
      </p:sp>
    </p:spTree>
    <p:extLst>
      <p:ext uri="{BB962C8B-B14F-4D97-AF65-F5344CB8AC3E}">
        <p14:creationId xmlns:p14="http://schemas.microsoft.com/office/powerpoint/2010/main" val="65413828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D9A940EA-09A3-6246-95FC-5B199379942C}" type="slidenum">
              <a:rPr lang="it-IT" smtClean="0"/>
              <a:t>14</a:t>
            </a:fld>
            <a:endParaRPr lang="it-IT"/>
          </a:p>
        </p:txBody>
      </p:sp>
    </p:spTree>
    <p:extLst>
      <p:ext uri="{BB962C8B-B14F-4D97-AF65-F5344CB8AC3E}">
        <p14:creationId xmlns:p14="http://schemas.microsoft.com/office/powerpoint/2010/main" val="393348564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D9A940EA-09A3-6246-95FC-5B199379942C}" type="slidenum">
              <a:rPr lang="it-IT" smtClean="0"/>
              <a:t>15</a:t>
            </a:fld>
            <a:endParaRPr lang="it-IT"/>
          </a:p>
        </p:txBody>
      </p:sp>
    </p:spTree>
    <p:extLst>
      <p:ext uri="{BB962C8B-B14F-4D97-AF65-F5344CB8AC3E}">
        <p14:creationId xmlns:p14="http://schemas.microsoft.com/office/powerpoint/2010/main" val="393348564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D9A940EA-09A3-6246-95FC-5B199379942C}" type="slidenum">
              <a:rPr lang="it-IT" smtClean="0"/>
              <a:t>16</a:t>
            </a:fld>
            <a:endParaRPr lang="it-IT"/>
          </a:p>
        </p:txBody>
      </p:sp>
    </p:spTree>
    <p:extLst>
      <p:ext uri="{BB962C8B-B14F-4D97-AF65-F5344CB8AC3E}">
        <p14:creationId xmlns:p14="http://schemas.microsoft.com/office/powerpoint/2010/main" val="147139894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D9A940EA-09A3-6246-95FC-5B199379942C}" type="slidenum">
              <a:rPr lang="it-IT" smtClean="0"/>
              <a:t>17</a:t>
            </a:fld>
            <a:endParaRPr lang="it-IT"/>
          </a:p>
        </p:txBody>
      </p:sp>
    </p:spTree>
    <p:extLst>
      <p:ext uri="{BB962C8B-B14F-4D97-AF65-F5344CB8AC3E}">
        <p14:creationId xmlns:p14="http://schemas.microsoft.com/office/powerpoint/2010/main" val="179845128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D9A940EA-09A3-6246-95FC-5B199379942C}" type="slidenum">
              <a:rPr lang="it-IT" smtClean="0"/>
              <a:t>18</a:t>
            </a:fld>
            <a:endParaRPr lang="it-IT"/>
          </a:p>
        </p:txBody>
      </p:sp>
    </p:spTree>
    <p:extLst>
      <p:ext uri="{BB962C8B-B14F-4D97-AF65-F5344CB8AC3E}">
        <p14:creationId xmlns:p14="http://schemas.microsoft.com/office/powerpoint/2010/main" val="422403295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D9A940EA-09A3-6246-95FC-5B199379942C}" type="slidenum">
              <a:rPr lang="it-IT" smtClean="0"/>
              <a:t>19</a:t>
            </a:fld>
            <a:endParaRPr lang="it-IT"/>
          </a:p>
        </p:txBody>
      </p:sp>
    </p:spTree>
    <p:extLst>
      <p:ext uri="{BB962C8B-B14F-4D97-AF65-F5344CB8AC3E}">
        <p14:creationId xmlns:p14="http://schemas.microsoft.com/office/powerpoint/2010/main" val="161693628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D9A940EA-09A3-6246-95FC-5B199379942C}" type="slidenum">
              <a:rPr lang="it-IT" smtClean="0"/>
              <a:t>20</a:t>
            </a:fld>
            <a:endParaRPr lang="it-IT"/>
          </a:p>
        </p:txBody>
      </p:sp>
    </p:spTree>
    <p:extLst>
      <p:ext uri="{BB962C8B-B14F-4D97-AF65-F5344CB8AC3E}">
        <p14:creationId xmlns:p14="http://schemas.microsoft.com/office/powerpoint/2010/main" val="61350320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D9A940EA-09A3-6246-95FC-5B199379942C}" type="slidenum">
              <a:rPr lang="it-IT" smtClean="0"/>
              <a:t>21</a:t>
            </a:fld>
            <a:endParaRPr lang="it-IT"/>
          </a:p>
        </p:txBody>
      </p:sp>
    </p:spTree>
    <p:extLst>
      <p:ext uri="{BB962C8B-B14F-4D97-AF65-F5344CB8AC3E}">
        <p14:creationId xmlns:p14="http://schemas.microsoft.com/office/powerpoint/2010/main" val="37699869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D9A940EA-09A3-6246-95FC-5B199379942C}" type="slidenum">
              <a:rPr lang="it-IT" smtClean="0"/>
              <a:t>4</a:t>
            </a:fld>
            <a:endParaRPr lang="it-IT"/>
          </a:p>
        </p:txBody>
      </p:sp>
    </p:spTree>
    <p:extLst>
      <p:ext uri="{BB962C8B-B14F-4D97-AF65-F5344CB8AC3E}">
        <p14:creationId xmlns:p14="http://schemas.microsoft.com/office/powerpoint/2010/main" val="299939081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D9A940EA-09A3-6246-95FC-5B199379942C}" type="slidenum">
              <a:rPr lang="it-IT" smtClean="0"/>
              <a:t>22</a:t>
            </a:fld>
            <a:endParaRPr lang="it-IT"/>
          </a:p>
        </p:txBody>
      </p:sp>
    </p:spTree>
    <p:extLst>
      <p:ext uri="{BB962C8B-B14F-4D97-AF65-F5344CB8AC3E}">
        <p14:creationId xmlns:p14="http://schemas.microsoft.com/office/powerpoint/2010/main" val="413925179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D9A940EA-09A3-6246-95FC-5B199379942C}" type="slidenum">
              <a:rPr lang="it-IT" smtClean="0"/>
              <a:t>23</a:t>
            </a:fld>
            <a:endParaRPr lang="it-IT"/>
          </a:p>
        </p:txBody>
      </p:sp>
    </p:spTree>
    <p:extLst>
      <p:ext uri="{BB962C8B-B14F-4D97-AF65-F5344CB8AC3E}">
        <p14:creationId xmlns:p14="http://schemas.microsoft.com/office/powerpoint/2010/main" val="396484983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D9A940EA-09A3-6246-95FC-5B199379942C}" type="slidenum">
              <a:rPr lang="it-IT" smtClean="0"/>
              <a:t>24</a:t>
            </a:fld>
            <a:endParaRPr lang="it-IT"/>
          </a:p>
        </p:txBody>
      </p:sp>
    </p:spTree>
    <p:extLst>
      <p:ext uri="{BB962C8B-B14F-4D97-AF65-F5344CB8AC3E}">
        <p14:creationId xmlns:p14="http://schemas.microsoft.com/office/powerpoint/2010/main" val="415915681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D9A940EA-09A3-6246-95FC-5B199379942C}" type="slidenum">
              <a:rPr lang="it-IT" smtClean="0"/>
              <a:t>25</a:t>
            </a:fld>
            <a:endParaRPr lang="it-IT"/>
          </a:p>
        </p:txBody>
      </p:sp>
    </p:spTree>
    <p:extLst>
      <p:ext uri="{BB962C8B-B14F-4D97-AF65-F5344CB8AC3E}">
        <p14:creationId xmlns:p14="http://schemas.microsoft.com/office/powerpoint/2010/main" val="415915681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D9A940EA-09A3-6246-95FC-5B199379942C}" type="slidenum">
              <a:rPr lang="it-IT" smtClean="0"/>
              <a:t>26</a:t>
            </a:fld>
            <a:endParaRPr lang="it-IT"/>
          </a:p>
        </p:txBody>
      </p:sp>
    </p:spTree>
    <p:extLst>
      <p:ext uri="{BB962C8B-B14F-4D97-AF65-F5344CB8AC3E}">
        <p14:creationId xmlns:p14="http://schemas.microsoft.com/office/powerpoint/2010/main" val="380662614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D9A940EA-09A3-6246-95FC-5B199379942C}" type="slidenum">
              <a:rPr lang="it-IT" smtClean="0"/>
              <a:t>27</a:t>
            </a:fld>
            <a:endParaRPr lang="it-IT"/>
          </a:p>
        </p:txBody>
      </p:sp>
    </p:spTree>
    <p:extLst>
      <p:ext uri="{BB962C8B-B14F-4D97-AF65-F5344CB8AC3E}">
        <p14:creationId xmlns:p14="http://schemas.microsoft.com/office/powerpoint/2010/main" val="291460464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D9A940EA-09A3-6246-95FC-5B199379942C}" type="slidenum">
              <a:rPr lang="it-IT" smtClean="0"/>
              <a:t>28</a:t>
            </a:fld>
            <a:endParaRPr lang="it-IT"/>
          </a:p>
        </p:txBody>
      </p:sp>
    </p:spTree>
    <p:extLst>
      <p:ext uri="{BB962C8B-B14F-4D97-AF65-F5344CB8AC3E}">
        <p14:creationId xmlns:p14="http://schemas.microsoft.com/office/powerpoint/2010/main" val="418395605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D9A940EA-09A3-6246-95FC-5B199379942C}" type="slidenum">
              <a:rPr lang="it-IT" smtClean="0"/>
              <a:t>29</a:t>
            </a:fld>
            <a:endParaRPr lang="it-IT"/>
          </a:p>
        </p:txBody>
      </p:sp>
    </p:spTree>
    <p:extLst>
      <p:ext uri="{BB962C8B-B14F-4D97-AF65-F5344CB8AC3E}">
        <p14:creationId xmlns:p14="http://schemas.microsoft.com/office/powerpoint/2010/main" val="11013280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D9A940EA-09A3-6246-95FC-5B199379942C}" type="slidenum">
              <a:rPr lang="it-IT" smtClean="0"/>
              <a:t>30</a:t>
            </a:fld>
            <a:endParaRPr lang="it-IT"/>
          </a:p>
        </p:txBody>
      </p:sp>
    </p:spTree>
    <p:extLst>
      <p:ext uri="{BB962C8B-B14F-4D97-AF65-F5344CB8AC3E}">
        <p14:creationId xmlns:p14="http://schemas.microsoft.com/office/powerpoint/2010/main" val="178093600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D9A940EA-09A3-6246-95FC-5B199379942C}" type="slidenum">
              <a:rPr lang="it-IT" smtClean="0"/>
              <a:t>31</a:t>
            </a:fld>
            <a:endParaRPr lang="it-IT"/>
          </a:p>
        </p:txBody>
      </p:sp>
    </p:spTree>
    <p:extLst>
      <p:ext uri="{BB962C8B-B14F-4D97-AF65-F5344CB8AC3E}">
        <p14:creationId xmlns:p14="http://schemas.microsoft.com/office/powerpoint/2010/main" val="369688596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D9A940EA-09A3-6246-95FC-5B199379942C}" type="slidenum">
              <a:rPr lang="it-IT" smtClean="0"/>
              <a:t>5</a:t>
            </a:fld>
            <a:endParaRPr lang="it-IT"/>
          </a:p>
        </p:txBody>
      </p:sp>
    </p:spTree>
    <p:extLst>
      <p:ext uri="{BB962C8B-B14F-4D97-AF65-F5344CB8AC3E}">
        <p14:creationId xmlns:p14="http://schemas.microsoft.com/office/powerpoint/2010/main" val="91057793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D9A940EA-09A3-6246-95FC-5B199379942C}" type="slidenum">
              <a:rPr lang="it-IT" smtClean="0"/>
              <a:t>32</a:t>
            </a:fld>
            <a:endParaRPr lang="it-IT"/>
          </a:p>
        </p:txBody>
      </p:sp>
    </p:spTree>
    <p:extLst>
      <p:ext uri="{BB962C8B-B14F-4D97-AF65-F5344CB8AC3E}">
        <p14:creationId xmlns:p14="http://schemas.microsoft.com/office/powerpoint/2010/main" val="43811730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D9A940EA-09A3-6246-95FC-5B199379942C}" type="slidenum">
              <a:rPr lang="it-IT" smtClean="0"/>
              <a:t>33</a:t>
            </a:fld>
            <a:endParaRPr lang="it-IT"/>
          </a:p>
        </p:txBody>
      </p:sp>
    </p:spTree>
    <p:extLst>
      <p:ext uri="{BB962C8B-B14F-4D97-AF65-F5344CB8AC3E}">
        <p14:creationId xmlns:p14="http://schemas.microsoft.com/office/powerpoint/2010/main" val="23271260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D9A940EA-09A3-6246-95FC-5B199379942C}" type="slidenum">
              <a:rPr lang="it-IT" smtClean="0"/>
              <a:t>34</a:t>
            </a:fld>
            <a:endParaRPr lang="it-IT"/>
          </a:p>
        </p:txBody>
      </p:sp>
    </p:spTree>
    <p:extLst>
      <p:ext uri="{BB962C8B-B14F-4D97-AF65-F5344CB8AC3E}">
        <p14:creationId xmlns:p14="http://schemas.microsoft.com/office/powerpoint/2010/main" val="408702271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D9A940EA-09A3-6246-95FC-5B199379942C}" type="slidenum">
              <a:rPr lang="it-IT" smtClean="0"/>
              <a:t>6</a:t>
            </a:fld>
            <a:endParaRPr lang="it-IT"/>
          </a:p>
        </p:txBody>
      </p:sp>
    </p:spTree>
    <p:extLst>
      <p:ext uri="{BB962C8B-B14F-4D97-AF65-F5344CB8AC3E}">
        <p14:creationId xmlns:p14="http://schemas.microsoft.com/office/powerpoint/2010/main" val="290558954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D9A940EA-09A3-6246-95FC-5B199379942C}" type="slidenum">
              <a:rPr lang="it-IT" smtClean="0"/>
              <a:t>7</a:t>
            </a:fld>
            <a:endParaRPr lang="it-IT"/>
          </a:p>
        </p:txBody>
      </p:sp>
    </p:spTree>
    <p:extLst>
      <p:ext uri="{BB962C8B-B14F-4D97-AF65-F5344CB8AC3E}">
        <p14:creationId xmlns:p14="http://schemas.microsoft.com/office/powerpoint/2010/main" val="276744730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D9A940EA-09A3-6246-95FC-5B199379942C}" type="slidenum">
              <a:rPr lang="it-IT" smtClean="0"/>
              <a:t>8</a:t>
            </a:fld>
            <a:endParaRPr lang="it-IT"/>
          </a:p>
        </p:txBody>
      </p:sp>
    </p:spTree>
    <p:extLst>
      <p:ext uri="{BB962C8B-B14F-4D97-AF65-F5344CB8AC3E}">
        <p14:creationId xmlns:p14="http://schemas.microsoft.com/office/powerpoint/2010/main" val="112639983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D9A940EA-09A3-6246-95FC-5B199379942C}" type="slidenum">
              <a:rPr lang="it-IT" smtClean="0"/>
              <a:t>9</a:t>
            </a:fld>
            <a:endParaRPr lang="it-IT"/>
          </a:p>
        </p:txBody>
      </p:sp>
    </p:spTree>
    <p:extLst>
      <p:ext uri="{BB962C8B-B14F-4D97-AF65-F5344CB8AC3E}">
        <p14:creationId xmlns:p14="http://schemas.microsoft.com/office/powerpoint/2010/main" val="171732870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D9A940EA-09A3-6246-95FC-5B199379942C}" type="slidenum">
              <a:rPr lang="it-IT" smtClean="0"/>
              <a:t>10</a:t>
            </a:fld>
            <a:endParaRPr lang="it-IT"/>
          </a:p>
        </p:txBody>
      </p:sp>
    </p:spTree>
    <p:extLst>
      <p:ext uri="{BB962C8B-B14F-4D97-AF65-F5344CB8AC3E}">
        <p14:creationId xmlns:p14="http://schemas.microsoft.com/office/powerpoint/2010/main" val="331502584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D9A940EA-09A3-6246-95FC-5B199379942C}" type="slidenum">
              <a:rPr lang="it-IT" smtClean="0"/>
              <a:t>11</a:t>
            </a:fld>
            <a:endParaRPr lang="it-IT"/>
          </a:p>
        </p:txBody>
      </p:sp>
    </p:spTree>
    <p:extLst>
      <p:ext uri="{BB962C8B-B14F-4D97-AF65-F5344CB8AC3E}">
        <p14:creationId xmlns:p14="http://schemas.microsoft.com/office/powerpoint/2010/main" val="129997864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11.vml"/><Relationship Id="rId6" Type="http://schemas.openxmlformats.org/officeDocument/2006/relationships/image" Target="../media/image4.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12.vml"/><Relationship Id="rId6" Type="http://schemas.openxmlformats.org/officeDocument/2006/relationships/image" Target="../media/image4.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vmlDrawing" Target="../drawings/vmlDrawing13.vml"/><Relationship Id="rId5" Type="http://schemas.openxmlformats.org/officeDocument/2006/relationships/image" Target="../media/image4.emf"/><Relationship Id="rId4" Type="http://schemas.openxmlformats.org/officeDocument/2006/relationships/oleObject" Target="../embeddings/oleObject12.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3.svg"/><Relationship Id="rId3" Type="http://schemas.openxmlformats.org/officeDocument/2006/relationships/tags" Target="../tags/tag23.xml"/><Relationship Id="rId7" Type="http://schemas.openxmlformats.org/officeDocument/2006/relationships/image" Target="../media/image2.png"/><Relationship Id="rId2" Type="http://schemas.openxmlformats.org/officeDocument/2006/relationships/tags" Target="../tags/tag22.xml"/><Relationship Id="rId1" Type="http://schemas.openxmlformats.org/officeDocument/2006/relationships/vmlDrawing" Target="../drawings/vmlDrawing14.vml"/><Relationship Id="rId6" Type="http://schemas.openxmlformats.org/officeDocument/2006/relationships/image" Target="../media/image4.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vmlDrawing" Target="../drawings/vmlDrawing15.vml"/><Relationship Id="rId5" Type="http://schemas.openxmlformats.org/officeDocument/2006/relationships/image" Target="../media/image4.emf"/><Relationship Id="rId4" Type="http://schemas.openxmlformats.org/officeDocument/2006/relationships/oleObject" Target="../embeddings/oleObject12.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vmlDrawing" Target="../drawings/vmlDrawing16.v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14.bin"/></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17.vml"/><Relationship Id="rId6" Type="http://schemas.openxmlformats.org/officeDocument/2006/relationships/image" Target="../media/image4.emf"/><Relationship Id="rId5" Type="http://schemas.openxmlformats.org/officeDocument/2006/relationships/oleObject" Target="../embeddings/oleObject15.bin"/><Relationship Id="rId4"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9.svg"/><Relationship Id="rId3" Type="http://schemas.openxmlformats.org/officeDocument/2006/relationships/tags" Target="../tags/tag29.xml"/><Relationship Id="rId7" Type="http://schemas.openxmlformats.org/officeDocument/2006/relationships/image" Target="../media/image8.png"/><Relationship Id="rId2" Type="http://schemas.openxmlformats.org/officeDocument/2006/relationships/tags" Target="../tags/tag28.xml"/><Relationship Id="rId1" Type="http://schemas.openxmlformats.org/officeDocument/2006/relationships/vmlDrawing" Target="../drawings/vmlDrawing18.vml"/><Relationship Id="rId6" Type="http://schemas.openxmlformats.org/officeDocument/2006/relationships/image" Target="../media/image4.emf"/><Relationship Id="rId5" Type="http://schemas.openxmlformats.org/officeDocument/2006/relationships/oleObject" Target="../embeddings/oleObject16.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5.emf"/><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3.svg"/><Relationship Id="rId3" Type="http://schemas.openxmlformats.org/officeDocument/2006/relationships/tags" Target="../tags/tag31.xml"/><Relationship Id="rId7" Type="http://schemas.openxmlformats.org/officeDocument/2006/relationships/image" Target="../media/image2.png"/><Relationship Id="rId2" Type="http://schemas.openxmlformats.org/officeDocument/2006/relationships/tags" Target="../tags/tag30.xml"/><Relationship Id="rId1" Type="http://schemas.openxmlformats.org/officeDocument/2006/relationships/vmlDrawing" Target="../drawings/vmlDrawing19.vml"/><Relationship Id="rId6" Type="http://schemas.openxmlformats.org/officeDocument/2006/relationships/image" Target="../media/image4.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9.svg"/><Relationship Id="rId3" Type="http://schemas.openxmlformats.org/officeDocument/2006/relationships/tags" Target="../tags/tag33.xml"/><Relationship Id="rId7" Type="http://schemas.openxmlformats.org/officeDocument/2006/relationships/image" Target="../media/image8.png"/><Relationship Id="rId2" Type="http://schemas.openxmlformats.org/officeDocument/2006/relationships/tags" Target="../tags/tag32.xml"/><Relationship Id="rId1" Type="http://schemas.openxmlformats.org/officeDocument/2006/relationships/vmlDrawing" Target="../drawings/vmlDrawing20.vml"/><Relationship Id="rId6" Type="http://schemas.openxmlformats.org/officeDocument/2006/relationships/image" Target="../media/image4.emf"/><Relationship Id="rId5" Type="http://schemas.openxmlformats.org/officeDocument/2006/relationships/oleObject" Target="../embeddings/oleObject18.bin"/><Relationship Id="rId4"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35.xml"/><Relationship Id="rId2" Type="http://schemas.openxmlformats.org/officeDocument/2006/relationships/tags" Target="../tags/tag34.xml"/><Relationship Id="rId1" Type="http://schemas.openxmlformats.org/officeDocument/2006/relationships/vmlDrawing" Target="../drawings/vmlDrawing21.vml"/><Relationship Id="rId6" Type="http://schemas.openxmlformats.org/officeDocument/2006/relationships/image" Target="../media/image4.emf"/><Relationship Id="rId5" Type="http://schemas.openxmlformats.org/officeDocument/2006/relationships/oleObject" Target="../embeddings/oleObject15.bin"/><Relationship Id="rId4"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vmlDrawing" Target="../drawings/vmlDrawing22.vml"/><Relationship Id="rId6" Type="http://schemas.openxmlformats.org/officeDocument/2006/relationships/image" Target="../media/image4.emf"/><Relationship Id="rId5" Type="http://schemas.openxmlformats.org/officeDocument/2006/relationships/oleObject" Target="../embeddings/oleObject15.bin"/><Relationship Id="rId4"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vmlDrawing" Target="../drawings/vmlDrawing23.vml"/><Relationship Id="rId6" Type="http://schemas.openxmlformats.org/officeDocument/2006/relationships/image" Target="../media/image4.emf"/><Relationship Id="rId5" Type="http://schemas.openxmlformats.org/officeDocument/2006/relationships/oleObject" Target="../embeddings/oleObject19.bin"/><Relationship Id="rId4"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0.xml"/><Relationship Id="rId1" Type="http://schemas.openxmlformats.org/officeDocument/2006/relationships/vmlDrawing" Target="../drawings/vmlDrawing24.vml"/><Relationship Id="rId5" Type="http://schemas.openxmlformats.org/officeDocument/2006/relationships/image" Target="../media/image4.emf"/><Relationship Id="rId4" Type="http://schemas.openxmlformats.org/officeDocument/2006/relationships/oleObject" Target="../embeddings/oleObject20.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vmlDrawing" Target="../drawings/vmlDrawing25.vml"/><Relationship Id="rId5" Type="http://schemas.openxmlformats.org/officeDocument/2006/relationships/image" Target="../media/image4.emf"/><Relationship Id="rId4" Type="http://schemas.openxmlformats.org/officeDocument/2006/relationships/oleObject" Target="../embeddings/oleObject21.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2.xml"/><Relationship Id="rId1" Type="http://schemas.openxmlformats.org/officeDocument/2006/relationships/vmlDrawing" Target="../drawings/vmlDrawing26.vml"/><Relationship Id="rId5" Type="http://schemas.openxmlformats.org/officeDocument/2006/relationships/image" Target="../media/image4.emf"/><Relationship Id="rId4" Type="http://schemas.openxmlformats.org/officeDocument/2006/relationships/oleObject" Target="../embeddings/oleObject21.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vmlDrawing" Target="../drawings/vmlDrawing27.vml"/><Relationship Id="rId5" Type="http://schemas.openxmlformats.org/officeDocument/2006/relationships/image" Target="../media/image4.emf"/><Relationship Id="rId4" Type="http://schemas.openxmlformats.org/officeDocument/2006/relationships/oleObject" Target="../embeddings/oleObject22.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4.xml"/><Relationship Id="rId1" Type="http://schemas.openxmlformats.org/officeDocument/2006/relationships/vmlDrawing" Target="../drawings/vmlDrawing28.vml"/><Relationship Id="rId5" Type="http://schemas.openxmlformats.org/officeDocument/2006/relationships/image" Target="../media/image4.emf"/><Relationship Id="rId4" Type="http://schemas.openxmlformats.org/officeDocument/2006/relationships/oleObject" Target="../embeddings/oleObject2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svg"/><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5.xml"/><Relationship Id="rId1" Type="http://schemas.openxmlformats.org/officeDocument/2006/relationships/vmlDrawing" Target="../drawings/vmlDrawing29.vml"/><Relationship Id="rId5" Type="http://schemas.openxmlformats.org/officeDocument/2006/relationships/image" Target="../media/image4.emf"/><Relationship Id="rId4" Type="http://schemas.openxmlformats.org/officeDocument/2006/relationships/oleObject" Target="../embeddings/oleObject23.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6.xml"/><Relationship Id="rId1" Type="http://schemas.openxmlformats.org/officeDocument/2006/relationships/vmlDrawing" Target="../drawings/vmlDrawing30.vml"/><Relationship Id="rId5" Type="http://schemas.openxmlformats.org/officeDocument/2006/relationships/image" Target="../media/image4.emf"/><Relationship Id="rId4" Type="http://schemas.openxmlformats.org/officeDocument/2006/relationships/oleObject" Target="../embeddings/oleObject23.bin"/></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tags" Target="../tags/tag48.xml"/><Relationship Id="rId7" Type="http://schemas.openxmlformats.org/officeDocument/2006/relationships/image" Target="../media/image8.png"/><Relationship Id="rId2" Type="http://schemas.openxmlformats.org/officeDocument/2006/relationships/tags" Target="../tags/tag47.xml"/><Relationship Id="rId1" Type="http://schemas.openxmlformats.org/officeDocument/2006/relationships/vmlDrawing" Target="../drawings/vmlDrawing31.vml"/><Relationship Id="rId6" Type="http://schemas.openxmlformats.org/officeDocument/2006/relationships/image" Target="../media/image4.emf"/><Relationship Id="rId5" Type="http://schemas.openxmlformats.org/officeDocument/2006/relationships/oleObject" Target="../embeddings/oleObject24.bin"/><Relationship Id="rId4"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vmlDrawing" Target="../drawings/vmlDrawing32.vml"/><Relationship Id="rId5" Type="http://schemas.openxmlformats.org/officeDocument/2006/relationships/image" Target="../media/image4.emf"/><Relationship Id="rId4" Type="http://schemas.openxmlformats.org/officeDocument/2006/relationships/oleObject" Target="../embeddings/oleObject25.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0.xml"/><Relationship Id="rId1" Type="http://schemas.openxmlformats.org/officeDocument/2006/relationships/vmlDrawing" Target="../drawings/vmlDrawing33.vml"/><Relationship Id="rId5" Type="http://schemas.openxmlformats.org/officeDocument/2006/relationships/image" Target="../media/image4.emf"/><Relationship Id="rId4" Type="http://schemas.openxmlformats.org/officeDocument/2006/relationships/oleObject" Target="../embeddings/oleObject26.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1.xml"/><Relationship Id="rId1" Type="http://schemas.openxmlformats.org/officeDocument/2006/relationships/vmlDrawing" Target="../drawings/vmlDrawing34.vml"/><Relationship Id="rId5" Type="http://schemas.openxmlformats.org/officeDocument/2006/relationships/image" Target="../media/image4.emf"/><Relationship Id="rId4" Type="http://schemas.openxmlformats.org/officeDocument/2006/relationships/oleObject" Target="../embeddings/oleObject27.bin"/></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53.xml"/><Relationship Id="rId2" Type="http://schemas.openxmlformats.org/officeDocument/2006/relationships/tags" Target="../tags/tag52.xml"/><Relationship Id="rId1" Type="http://schemas.openxmlformats.org/officeDocument/2006/relationships/vmlDrawing" Target="../drawings/vmlDrawing35.vml"/><Relationship Id="rId6" Type="http://schemas.openxmlformats.org/officeDocument/2006/relationships/image" Target="../media/image4.emf"/><Relationship Id="rId5" Type="http://schemas.openxmlformats.org/officeDocument/2006/relationships/oleObject" Target="../embeddings/oleObject28.bin"/><Relationship Id="rId4"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55.xml"/><Relationship Id="rId2" Type="http://schemas.openxmlformats.org/officeDocument/2006/relationships/tags" Target="../tags/tag54.xml"/><Relationship Id="rId1" Type="http://schemas.openxmlformats.org/officeDocument/2006/relationships/vmlDrawing" Target="../drawings/vmlDrawing36.vml"/><Relationship Id="rId6" Type="http://schemas.openxmlformats.org/officeDocument/2006/relationships/image" Target="../media/image4.emf"/><Relationship Id="rId5" Type="http://schemas.openxmlformats.org/officeDocument/2006/relationships/oleObject" Target="../embeddings/oleObject29.bin"/><Relationship Id="rId4"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57.xml"/><Relationship Id="rId2" Type="http://schemas.openxmlformats.org/officeDocument/2006/relationships/tags" Target="../tags/tag56.xml"/><Relationship Id="rId1" Type="http://schemas.openxmlformats.org/officeDocument/2006/relationships/vmlDrawing" Target="../drawings/vmlDrawing37.vml"/><Relationship Id="rId6" Type="http://schemas.openxmlformats.org/officeDocument/2006/relationships/image" Target="../media/image4.emf"/><Relationship Id="rId5" Type="http://schemas.openxmlformats.org/officeDocument/2006/relationships/oleObject" Target="../embeddings/oleObject29.bin"/><Relationship Id="rId4"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59.xml"/><Relationship Id="rId2" Type="http://schemas.openxmlformats.org/officeDocument/2006/relationships/tags" Target="../tags/tag58.xml"/><Relationship Id="rId1" Type="http://schemas.openxmlformats.org/officeDocument/2006/relationships/vmlDrawing" Target="../drawings/vmlDrawing38.vml"/><Relationship Id="rId6" Type="http://schemas.openxmlformats.org/officeDocument/2006/relationships/image" Target="../media/image4.emf"/><Relationship Id="rId5" Type="http://schemas.openxmlformats.org/officeDocument/2006/relationships/oleObject" Target="../embeddings/oleObject29.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5.vml"/><Relationship Id="rId5" Type="http://schemas.openxmlformats.org/officeDocument/2006/relationships/image" Target="../media/image4.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0.xml"/><Relationship Id="rId1" Type="http://schemas.openxmlformats.org/officeDocument/2006/relationships/vmlDrawing" Target="../drawings/vmlDrawing39.vml"/><Relationship Id="rId5" Type="http://schemas.openxmlformats.org/officeDocument/2006/relationships/image" Target="../media/image4.emf"/><Relationship Id="rId4" Type="http://schemas.openxmlformats.org/officeDocument/2006/relationships/oleObject" Target="../embeddings/oleObject30.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1.xml"/><Relationship Id="rId1" Type="http://schemas.openxmlformats.org/officeDocument/2006/relationships/vmlDrawing" Target="../drawings/vmlDrawing40.vml"/><Relationship Id="rId5" Type="http://schemas.openxmlformats.org/officeDocument/2006/relationships/image" Target="../media/image4.emf"/><Relationship Id="rId4" Type="http://schemas.openxmlformats.org/officeDocument/2006/relationships/oleObject" Target="../embeddings/oleObject31.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2.xml"/><Relationship Id="rId1" Type="http://schemas.openxmlformats.org/officeDocument/2006/relationships/vmlDrawing" Target="../drawings/vmlDrawing41.vml"/><Relationship Id="rId5" Type="http://schemas.openxmlformats.org/officeDocument/2006/relationships/image" Target="../media/image4.emf"/><Relationship Id="rId4" Type="http://schemas.openxmlformats.org/officeDocument/2006/relationships/oleObject" Target="../embeddings/oleObject32.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3.xml"/><Relationship Id="rId1" Type="http://schemas.openxmlformats.org/officeDocument/2006/relationships/vmlDrawing" Target="../drawings/vmlDrawing42.vml"/><Relationship Id="rId5" Type="http://schemas.openxmlformats.org/officeDocument/2006/relationships/image" Target="../media/image4.emf"/><Relationship Id="rId4" Type="http://schemas.openxmlformats.org/officeDocument/2006/relationships/oleObject" Target="../embeddings/oleObject32.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4.xml"/><Relationship Id="rId1" Type="http://schemas.openxmlformats.org/officeDocument/2006/relationships/vmlDrawing" Target="../drawings/vmlDrawing43.vml"/><Relationship Id="rId5" Type="http://schemas.openxmlformats.org/officeDocument/2006/relationships/image" Target="../media/image4.emf"/><Relationship Id="rId4" Type="http://schemas.openxmlformats.org/officeDocument/2006/relationships/oleObject" Target="../embeddings/oleObject33.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5.xml"/><Relationship Id="rId1" Type="http://schemas.openxmlformats.org/officeDocument/2006/relationships/vmlDrawing" Target="../drawings/vmlDrawing44.vml"/><Relationship Id="rId5" Type="http://schemas.openxmlformats.org/officeDocument/2006/relationships/image" Target="../media/image4.emf"/><Relationship Id="rId4" Type="http://schemas.openxmlformats.org/officeDocument/2006/relationships/oleObject" Target="../embeddings/oleObject33.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6.xml"/><Relationship Id="rId1" Type="http://schemas.openxmlformats.org/officeDocument/2006/relationships/vmlDrawing" Target="../drawings/vmlDrawing45.vml"/><Relationship Id="rId5" Type="http://schemas.openxmlformats.org/officeDocument/2006/relationships/image" Target="../media/image4.emf"/><Relationship Id="rId4" Type="http://schemas.openxmlformats.org/officeDocument/2006/relationships/oleObject" Target="../embeddings/oleObject33.bin"/></Relationships>
</file>

<file path=ppt/slideLayouts/_rels/slideLayout47.xml.rels><?xml version="1.0" encoding="UTF-8" standalone="yes"?>
<Relationships xmlns="http://schemas.openxmlformats.org/package/2006/relationships"><Relationship Id="rId8" Type="http://schemas.openxmlformats.org/officeDocument/2006/relationships/image" Target="../media/image3.svg"/><Relationship Id="rId3" Type="http://schemas.openxmlformats.org/officeDocument/2006/relationships/tags" Target="../tags/tag68.xml"/><Relationship Id="rId7" Type="http://schemas.openxmlformats.org/officeDocument/2006/relationships/image" Target="../media/image2.png"/><Relationship Id="rId2" Type="http://schemas.openxmlformats.org/officeDocument/2006/relationships/tags" Target="../tags/tag67.xml"/><Relationship Id="rId1" Type="http://schemas.openxmlformats.org/officeDocument/2006/relationships/vmlDrawing" Target="../drawings/vmlDrawing46.vml"/><Relationship Id="rId6" Type="http://schemas.openxmlformats.org/officeDocument/2006/relationships/image" Target="../media/image4.emf"/><Relationship Id="rId5" Type="http://schemas.openxmlformats.org/officeDocument/2006/relationships/oleObject" Target="../embeddings/oleObject34.bin"/><Relationship Id="rId4"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8" Type="http://schemas.openxmlformats.org/officeDocument/2006/relationships/image" Target="../media/image3.svg"/><Relationship Id="rId3" Type="http://schemas.openxmlformats.org/officeDocument/2006/relationships/tags" Target="../tags/tag70.xml"/><Relationship Id="rId7" Type="http://schemas.openxmlformats.org/officeDocument/2006/relationships/image" Target="../media/image2.png"/><Relationship Id="rId2" Type="http://schemas.openxmlformats.org/officeDocument/2006/relationships/tags" Target="../tags/tag69.xml"/><Relationship Id="rId1" Type="http://schemas.openxmlformats.org/officeDocument/2006/relationships/vmlDrawing" Target="../drawings/vmlDrawing47.vml"/><Relationship Id="rId6" Type="http://schemas.openxmlformats.org/officeDocument/2006/relationships/image" Target="../media/image4.emf"/><Relationship Id="rId5" Type="http://schemas.openxmlformats.org/officeDocument/2006/relationships/oleObject" Target="../embeddings/oleObject35.bin"/><Relationship Id="rId4"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8" Type="http://schemas.openxmlformats.org/officeDocument/2006/relationships/image" Target="../media/image3.svg"/><Relationship Id="rId3" Type="http://schemas.openxmlformats.org/officeDocument/2006/relationships/tags" Target="../tags/tag72.xml"/><Relationship Id="rId7" Type="http://schemas.openxmlformats.org/officeDocument/2006/relationships/image" Target="../media/image2.png"/><Relationship Id="rId2" Type="http://schemas.openxmlformats.org/officeDocument/2006/relationships/tags" Target="../tags/tag71.xml"/><Relationship Id="rId1" Type="http://schemas.openxmlformats.org/officeDocument/2006/relationships/vmlDrawing" Target="../drawings/vmlDrawing48.vml"/><Relationship Id="rId6" Type="http://schemas.openxmlformats.org/officeDocument/2006/relationships/image" Target="../media/image4.emf"/><Relationship Id="rId5" Type="http://schemas.openxmlformats.org/officeDocument/2006/relationships/oleObject" Target="../embeddings/oleObject36.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6.vml"/><Relationship Id="rId6" Type="http://schemas.openxmlformats.org/officeDocument/2006/relationships/image" Target="../media/image4.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8" Type="http://schemas.openxmlformats.org/officeDocument/2006/relationships/image" Target="../media/image3.svg"/><Relationship Id="rId3" Type="http://schemas.openxmlformats.org/officeDocument/2006/relationships/tags" Target="../tags/tag74.xml"/><Relationship Id="rId7" Type="http://schemas.openxmlformats.org/officeDocument/2006/relationships/image" Target="../media/image2.png"/><Relationship Id="rId2" Type="http://schemas.openxmlformats.org/officeDocument/2006/relationships/tags" Target="../tags/tag73.xml"/><Relationship Id="rId1" Type="http://schemas.openxmlformats.org/officeDocument/2006/relationships/vmlDrawing" Target="../drawings/vmlDrawing49.vml"/><Relationship Id="rId6" Type="http://schemas.openxmlformats.org/officeDocument/2006/relationships/image" Target="../media/image4.emf"/><Relationship Id="rId5" Type="http://schemas.openxmlformats.org/officeDocument/2006/relationships/oleObject" Target="../embeddings/oleObject37.bin"/><Relationship Id="rId4"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8" Type="http://schemas.openxmlformats.org/officeDocument/2006/relationships/image" Target="../media/image3.svg"/><Relationship Id="rId3" Type="http://schemas.openxmlformats.org/officeDocument/2006/relationships/tags" Target="../tags/tag76.xml"/><Relationship Id="rId7" Type="http://schemas.openxmlformats.org/officeDocument/2006/relationships/image" Target="../media/image2.png"/><Relationship Id="rId2" Type="http://schemas.openxmlformats.org/officeDocument/2006/relationships/tags" Target="../tags/tag75.xml"/><Relationship Id="rId1" Type="http://schemas.openxmlformats.org/officeDocument/2006/relationships/vmlDrawing" Target="../drawings/vmlDrawing50.vml"/><Relationship Id="rId6" Type="http://schemas.openxmlformats.org/officeDocument/2006/relationships/image" Target="../media/image4.emf"/><Relationship Id="rId5" Type="http://schemas.openxmlformats.org/officeDocument/2006/relationships/oleObject" Target="../embeddings/oleObject38.bin"/><Relationship Id="rId4"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tags" Target="../tags/tag78.xml"/><Relationship Id="rId7" Type="http://schemas.openxmlformats.org/officeDocument/2006/relationships/image" Target="../media/image8.png"/><Relationship Id="rId2" Type="http://schemas.openxmlformats.org/officeDocument/2006/relationships/tags" Target="../tags/tag77.xml"/><Relationship Id="rId1" Type="http://schemas.openxmlformats.org/officeDocument/2006/relationships/vmlDrawing" Target="../drawings/vmlDrawing51.vml"/><Relationship Id="rId6" Type="http://schemas.openxmlformats.org/officeDocument/2006/relationships/image" Target="../media/image4.emf"/><Relationship Id="rId5" Type="http://schemas.openxmlformats.org/officeDocument/2006/relationships/oleObject" Target="../embeddings/oleObject24.bin"/><Relationship Id="rId4"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tags" Target="../tags/tag80.xml"/><Relationship Id="rId7" Type="http://schemas.openxmlformats.org/officeDocument/2006/relationships/image" Target="../media/image8.png"/><Relationship Id="rId2" Type="http://schemas.openxmlformats.org/officeDocument/2006/relationships/tags" Target="../tags/tag79.xml"/><Relationship Id="rId1" Type="http://schemas.openxmlformats.org/officeDocument/2006/relationships/vmlDrawing" Target="../drawings/vmlDrawing52.vml"/><Relationship Id="rId6" Type="http://schemas.openxmlformats.org/officeDocument/2006/relationships/image" Target="../media/image4.emf"/><Relationship Id="rId5" Type="http://schemas.openxmlformats.org/officeDocument/2006/relationships/oleObject" Target="../embeddings/oleObject24.bin"/><Relationship Id="rId4"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tags" Target="../tags/tag82.xml"/><Relationship Id="rId7" Type="http://schemas.openxmlformats.org/officeDocument/2006/relationships/image" Target="../media/image8.png"/><Relationship Id="rId2" Type="http://schemas.openxmlformats.org/officeDocument/2006/relationships/tags" Target="../tags/tag81.xml"/><Relationship Id="rId1" Type="http://schemas.openxmlformats.org/officeDocument/2006/relationships/vmlDrawing" Target="../drawings/vmlDrawing53.vml"/><Relationship Id="rId6" Type="http://schemas.openxmlformats.org/officeDocument/2006/relationships/image" Target="../media/image4.emf"/><Relationship Id="rId5" Type="http://schemas.openxmlformats.org/officeDocument/2006/relationships/oleObject" Target="../embeddings/oleObject24.bin"/><Relationship Id="rId4"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tags" Target="../tags/tag84.xml"/><Relationship Id="rId7" Type="http://schemas.openxmlformats.org/officeDocument/2006/relationships/image" Target="../media/image11.png"/><Relationship Id="rId2" Type="http://schemas.openxmlformats.org/officeDocument/2006/relationships/tags" Target="../tags/tag83.xml"/><Relationship Id="rId1" Type="http://schemas.openxmlformats.org/officeDocument/2006/relationships/vmlDrawing" Target="../drawings/vmlDrawing54.vml"/><Relationship Id="rId6" Type="http://schemas.openxmlformats.org/officeDocument/2006/relationships/image" Target="../media/image4.emf"/><Relationship Id="rId5" Type="http://schemas.openxmlformats.org/officeDocument/2006/relationships/oleObject" Target="../embeddings/oleObject39.bin"/><Relationship Id="rId4"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tags" Target="../tags/tag86.xml"/><Relationship Id="rId7" Type="http://schemas.openxmlformats.org/officeDocument/2006/relationships/image" Target="../media/image11.png"/><Relationship Id="rId2" Type="http://schemas.openxmlformats.org/officeDocument/2006/relationships/tags" Target="../tags/tag85.xml"/><Relationship Id="rId1" Type="http://schemas.openxmlformats.org/officeDocument/2006/relationships/vmlDrawing" Target="../drawings/vmlDrawing55.vml"/><Relationship Id="rId6" Type="http://schemas.openxmlformats.org/officeDocument/2006/relationships/image" Target="../media/image4.emf"/><Relationship Id="rId5" Type="http://schemas.openxmlformats.org/officeDocument/2006/relationships/oleObject" Target="../embeddings/oleObject40.bin"/><Relationship Id="rId4"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tags" Target="../tags/tag88.xml"/><Relationship Id="rId7" Type="http://schemas.openxmlformats.org/officeDocument/2006/relationships/image" Target="../media/image8.png"/><Relationship Id="rId2" Type="http://schemas.openxmlformats.org/officeDocument/2006/relationships/tags" Target="../tags/tag87.xml"/><Relationship Id="rId1" Type="http://schemas.openxmlformats.org/officeDocument/2006/relationships/vmlDrawing" Target="../drawings/vmlDrawing56.vml"/><Relationship Id="rId6" Type="http://schemas.openxmlformats.org/officeDocument/2006/relationships/image" Target="../media/image4.emf"/><Relationship Id="rId5" Type="http://schemas.openxmlformats.org/officeDocument/2006/relationships/oleObject" Target="../embeddings/oleObject24.bin"/><Relationship Id="rId4"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8" Type="http://schemas.openxmlformats.org/officeDocument/2006/relationships/image" Target="../media/image3.svg"/><Relationship Id="rId3" Type="http://schemas.openxmlformats.org/officeDocument/2006/relationships/tags" Target="../tags/tag90.xml"/><Relationship Id="rId7" Type="http://schemas.openxmlformats.org/officeDocument/2006/relationships/image" Target="../media/image2.png"/><Relationship Id="rId2" Type="http://schemas.openxmlformats.org/officeDocument/2006/relationships/tags" Target="../tags/tag89.xml"/><Relationship Id="rId1" Type="http://schemas.openxmlformats.org/officeDocument/2006/relationships/vmlDrawing" Target="../drawings/vmlDrawing57.vml"/><Relationship Id="rId6" Type="http://schemas.openxmlformats.org/officeDocument/2006/relationships/image" Target="../media/image4.emf"/><Relationship Id="rId5" Type="http://schemas.openxmlformats.org/officeDocument/2006/relationships/oleObject" Target="../embeddings/oleObject41.bin"/><Relationship Id="rId4"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8" Type="http://schemas.openxmlformats.org/officeDocument/2006/relationships/image" Target="../media/image3.svg"/><Relationship Id="rId3" Type="http://schemas.openxmlformats.org/officeDocument/2006/relationships/tags" Target="../tags/tag92.xml"/><Relationship Id="rId7" Type="http://schemas.openxmlformats.org/officeDocument/2006/relationships/image" Target="../media/image2.png"/><Relationship Id="rId2" Type="http://schemas.openxmlformats.org/officeDocument/2006/relationships/tags" Target="../tags/tag91.xml"/><Relationship Id="rId1" Type="http://schemas.openxmlformats.org/officeDocument/2006/relationships/vmlDrawing" Target="../drawings/vmlDrawing58.vml"/><Relationship Id="rId6" Type="http://schemas.openxmlformats.org/officeDocument/2006/relationships/image" Target="../media/image4.emf"/><Relationship Id="rId5" Type="http://schemas.openxmlformats.org/officeDocument/2006/relationships/oleObject" Target="../embeddings/oleObject4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7.vml"/><Relationship Id="rId6" Type="http://schemas.openxmlformats.org/officeDocument/2006/relationships/image" Target="../media/image4.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8" Type="http://schemas.openxmlformats.org/officeDocument/2006/relationships/image" Target="../media/image3.svg"/><Relationship Id="rId3" Type="http://schemas.openxmlformats.org/officeDocument/2006/relationships/tags" Target="../tags/tag94.xml"/><Relationship Id="rId7" Type="http://schemas.openxmlformats.org/officeDocument/2006/relationships/image" Target="../media/image2.png"/><Relationship Id="rId2" Type="http://schemas.openxmlformats.org/officeDocument/2006/relationships/tags" Target="../tags/tag93.xml"/><Relationship Id="rId1" Type="http://schemas.openxmlformats.org/officeDocument/2006/relationships/vmlDrawing" Target="../drawings/vmlDrawing59.vml"/><Relationship Id="rId6" Type="http://schemas.openxmlformats.org/officeDocument/2006/relationships/image" Target="../media/image4.emf"/><Relationship Id="rId5" Type="http://schemas.openxmlformats.org/officeDocument/2006/relationships/oleObject" Target="../embeddings/oleObject43.bin"/><Relationship Id="rId4"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8" Type="http://schemas.openxmlformats.org/officeDocument/2006/relationships/image" Target="../media/image3.svg"/><Relationship Id="rId3" Type="http://schemas.openxmlformats.org/officeDocument/2006/relationships/tags" Target="../tags/tag96.xml"/><Relationship Id="rId7" Type="http://schemas.openxmlformats.org/officeDocument/2006/relationships/image" Target="../media/image2.png"/><Relationship Id="rId2" Type="http://schemas.openxmlformats.org/officeDocument/2006/relationships/tags" Target="../tags/tag95.xml"/><Relationship Id="rId1" Type="http://schemas.openxmlformats.org/officeDocument/2006/relationships/vmlDrawing" Target="../drawings/vmlDrawing60.vml"/><Relationship Id="rId6" Type="http://schemas.openxmlformats.org/officeDocument/2006/relationships/image" Target="../media/image4.emf"/><Relationship Id="rId5" Type="http://schemas.openxmlformats.org/officeDocument/2006/relationships/oleObject" Target="../embeddings/oleObject44.bin"/><Relationship Id="rId4"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8" Type="http://schemas.openxmlformats.org/officeDocument/2006/relationships/image" Target="../media/image3.svg"/><Relationship Id="rId3" Type="http://schemas.openxmlformats.org/officeDocument/2006/relationships/tags" Target="../tags/tag98.xml"/><Relationship Id="rId7" Type="http://schemas.openxmlformats.org/officeDocument/2006/relationships/image" Target="../media/image2.png"/><Relationship Id="rId2" Type="http://schemas.openxmlformats.org/officeDocument/2006/relationships/tags" Target="../tags/tag97.xml"/><Relationship Id="rId1" Type="http://schemas.openxmlformats.org/officeDocument/2006/relationships/vmlDrawing" Target="../drawings/vmlDrawing61.vml"/><Relationship Id="rId6" Type="http://schemas.openxmlformats.org/officeDocument/2006/relationships/image" Target="../media/image4.emf"/><Relationship Id="rId5" Type="http://schemas.openxmlformats.org/officeDocument/2006/relationships/oleObject" Target="../embeddings/oleObject45.bin"/><Relationship Id="rId4"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8" Type="http://schemas.openxmlformats.org/officeDocument/2006/relationships/image" Target="../media/image3.svg"/><Relationship Id="rId3" Type="http://schemas.openxmlformats.org/officeDocument/2006/relationships/tags" Target="../tags/tag100.xml"/><Relationship Id="rId7" Type="http://schemas.openxmlformats.org/officeDocument/2006/relationships/image" Target="../media/image2.png"/><Relationship Id="rId2" Type="http://schemas.openxmlformats.org/officeDocument/2006/relationships/tags" Target="../tags/tag99.xml"/><Relationship Id="rId1" Type="http://schemas.openxmlformats.org/officeDocument/2006/relationships/vmlDrawing" Target="../drawings/vmlDrawing62.vml"/><Relationship Id="rId6" Type="http://schemas.openxmlformats.org/officeDocument/2006/relationships/image" Target="../media/image4.emf"/><Relationship Id="rId5" Type="http://schemas.openxmlformats.org/officeDocument/2006/relationships/oleObject" Target="../embeddings/oleObject46.bin"/><Relationship Id="rId4"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tags" Target="../tags/tag102.xml"/><Relationship Id="rId7" Type="http://schemas.openxmlformats.org/officeDocument/2006/relationships/image" Target="../media/image8.png"/><Relationship Id="rId2" Type="http://schemas.openxmlformats.org/officeDocument/2006/relationships/tags" Target="../tags/tag101.xml"/><Relationship Id="rId1" Type="http://schemas.openxmlformats.org/officeDocument/2006/relationships/vmlDrawing" Target="../drawings/vmlDrawing63.vml"/><Relationship Id="rId6" Type="http://schemas.openxmlformats.org/officeDocument/2006/relationships/image" Target="../media/image4.emf"/><Relationship Id="rId5" Type="http://schemas.openxmlformats.org/officeDocument/2006/relationships/oleObject" Target="../embeddings/oleObject47.bin"/><Relationship Id="rId4"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tags" Target="../tags/tag104.xml"/><Relationship Id="rId7" Type="http://schemas.openxmlformats.org/officeDocument/2006/relationships/image" Target="../media/image8.png"/><Relationship Id="rId2" Type="http://schemas.openxmlformats.org/officeDocument/2006/relationships/tags" Target="../tags/tag103.xml"/><Relationship Id="rId1" Type="http://schemas.openxmlformats.org/officeDocument/2006/relationships/vmlDrawing" Target="../drawings/vmlDrawing64.vml"/><Relationship Id="rId6" Type="http://schemas.openxmlformats.org/officeDocument/2006/relationships/image" Target="../media/image4.emf"/><Relationship Id="rId5" Type="http://schemas.openxmlformats.org/officeDocument/2006/relationships/oleObject" Target="../embeddings/oleObject24.bin"/><Relationship Id="rId4"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tags" Target="../tags/tag106.xml"/><Relationship Id="rId7" Type="http://schemas.openxmlformats.org/officeDocument/2006/relationships/image" Target="../media/image8.png"/><Relationship Id="rId2" Type="http://schemas.openxmlformats.org/officeDocument/2006/relationships/tags" Target="../tags/tag105.xml"/><Relationship Id="rId1" Type="http://schemas.openxmlformats.org/officeDocument/2006/relationships/vmlDrawing" Target="../drawings/vmlDrawing65.vml"/><Relationship Id="rId6" Type="http://schemas.openxmlformats.org/officeDocument/2006/relationships/image" Target="../media/image4.emf"/><Relationship Id="rId5" Type="http://schemas.openxmlformats.org/officeDocument/2006/relationships/oleObject" Target="../embeddings/oleObject24.bin"/><Relationship Id="rId4"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8" Type="http://schemas.openxmlformats.org/officeDocument/2006/relationships/image" Target="../media/image3.svg"/><Relationship Id="rId3" Type="http://schemas.openxmlformats.org/officeDocument/2006/relationships/tags" Target="../tags/tag108.xml"/><Relationship Id="rId7" Type="http://schemas.openxmlformats.org/officeDocument/2006/relationships/image" Target="../media/image2.png"/><Relationship Id="rId2" Type="http://schemas.openxmlformats.org/officeDocument/2006/relationships/tags" Target="../tags/tag107.xml"/><Relationship Id="rId1" Type="http://schemas.openxmlformats.org/officeDocument/2006/relationships/vmlDrawing" Target="../drawings/vmlDrawing66.vml"/><Relationship Id="rId6" Type="http://schemas.openxmlformats.org/officeDocument/2006/relationships/image" Target="../media/image4.emf"/><Relationship Id="rId5" Type="http://schemas.openxmlformats.org/officeDocument/2006/relationships/oleObject" Target="../embeddings/oleObject48.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8.vml"/><Relationship Id="rId5" Type="http://schemas.openxmlformats.org/officeDocument/2006/relationships/image" Target="../media/image4.emf"/><Relationship Id="rId4" Type="http://schemas.openxmlformats.org/officeDocument/2006/relationships/oleObject" Target="../embeddings/oleObject8.bin"/></Relationships>
</file>

<file path=ppt/slideLayouts/_rels/slideLayout70.xml.rels><?xml version="1.0" encoding="UTF-8" standalone="yes"?>
<Relationships xmlns="http://schemas.openxmlformats.org/package/2006/relationships"><Relationship Id="rId8" Type="http://schemas.openxmlformats.org/officeDocument/2006/relationships/image" Target="../media/image13.svg"/><Relationship Id="rId3" Type="http://schemas.openxmlformats.org/officeDocument/2006/relationships/tags" Target="../tags/tag110.xml"/><Relationship Id="rId7" Type="http://schemas.openxmlformats.org/officeDocument/2006/relationships/image" Target="../media/image11.png"/><Relationship Id="rId2" Type="http://schemas.openxmlformats.org/officeDocument/2006/relationships/tags" Target="../tags/tag109.xml"/><Relationship Id="rId1" Type="http://schemas.openxmlformats.org/officeDocument/2006/relationships/vmlDrawing" Target="../drawings/vmlDrawing67.vml"/><Relationship Id="rId6" Type="http://schemas.openxmlformats.org/officeDocument/2006/relationships/image" Target="../media/image4.emf"/><Relationship Id="rId5" Type="http://schemas.openxmlformats.org/officeDocument/2006/relationships/oleObject" Target="../embeddings/oleObject49.bin"/><Relationship Id="rId4"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8" Type="http://schemas.openxmlformats.org/officeDocument/2006/relationships/image" Target="../media/image3.svg"/><Relationship Id="rId3" Type="http://schemas.openxmlformats.org/officeDocument/2006/relationships/tags" Target="../tags/tag112.xml"/><Relationship Id="rId7" Type="http://schemas.openxmlformats.org/officeDocument/2006/relationships/image" Target="../media/image2.png"/><Relationship Id="rId2" Type="http://schemas.openxmlformats.org/officeDocument/2006/relationships/tags" Target="../tags/tag111.xml"/><Relationship Id="rId1" Type="http://schemas.openxmlformats.org/officeDocument/2006/relationships/vmlDrawing" Target="../drawings/vmlDrawing68.vml"/><Relationship Id="rId6" Type="http://schemas.openxmlformats.org/officeDocument/2006/relationships/image" Target="../media/image4.emf"/><Relationship Id="rId5" Type="http://schemas.openxmlformats.org/officeDocument/2006/relationships/oleObject" Target="../embeddings/oleObject50.bin"/><Relationship Id="rId4"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tags" Target="../tags/tag114.xml"/><Relationship Id="rId7" Type="http://schemas.openxmlformats.org/officeDocument/2006/relationships/image" Target="../media/image11.png"/><Relationship Id="rId2" Type="http://schemas.openxmlformats.org/officeDocument/2006/relationships/tags" Target="../tags/tag113.xml"/><Relationship Id="rId1" Type="http://schemas.openxmlformats.org/officeDocument/2006/relationships/vmlDrawing" Target="../drawings/vmlDrawing69.vml"/><Relationship Id="rId6" Type="http://schemas.openxmlformats.org/officeDocument/2006/relationships/image" Target="../media/image4.emf"/><Relationship Id="rId5" Type="http://schemas.openxmlformats.org/officeDocument/2006/relationships/oleObject" Target="../embeddings/oleObject51.bin"/><Relationship Id="rId4"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8" Type="http://schemas.openxmlformats.org/officeDocument/2006/relationships/image" Target="../media/image3.svg"/><Relationship Id="rId3" Type="http://schemas.openxmlformats.org/officeDocument/2006/relationships/tags" Target="../tags/tag116.xml"/><Relationship Id="rId7" Type="http://schemas.openxmlformats.org/officeDocument/2006/relationships/image" Target="../media/image2.png"/><Relationship Id="rId2" Type="http://schemas.openxmlformats.org/officeDocument/2006/relationships/tags" Target="../tags/tag115.xml"/><Relationship Id="rId1" Type="http://schemas.openxmlformats.org/officeDocument/2006/relationships/vmlDrawing" Target="../drawings/vmlDrawing70.vml"/><Relationship Id="rId6" Type="http://schemas.openxmlformats.org/officeDocument/2006/relationships/image" Target="../media/image4.emf"/><Relationship Id="rId5" Type="http://schemas.openxmlformats.org/officeDocument/2006/relationships/oleObject" Target="../embeddings/oleObject52.bin"/><Relationship Id="rId4"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tags" Target="../tags/tag118.xml"/><Relationship Id="rId7" Type="http://schemas.openxmlformats.org/officeDocument/2006/relationships/image" Target="../media/image11.png"/><Relationship Id="rId2" Type="http://schemas.openxmlformats.org/officeDocument/2006/relationships/tags" Target="../tags/tag117.xml"/><Relationship Id="rId1" Type="http://schemas.openxmlformats.org/officeDocument/2006/relationships/vmlDrawing" Target="../drawings/vmlDrawing71.vml"/><Relationship Id="rId6" Type="http://schemas.openxmlformats.org/officeDocument/2006/relationships/image" Target="../media/image4.emf"/><Relationship Id="rId5" Type="http://schemas.openxmlformats.org/officeDocument/2006/relationships/oleObject" Target="../embeddings/oleObject53.bin"/><Relationship Id="rId4"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tags" Target="../tags/tag120.xml"/><Relationship Id="rId7" Type="http://schemas.openxmlformats.org/officeDocument/2006/relationships/image" Target="../media/image8.png"/><Relationship Id="rId2" Type="http://schemas.openxmlformats.org/officeDocument/2006/relationships/tags" Target="../tags/tag119.xml"/><Relationship Id="rId1" Type="http://schemas.openxmlformats.org/officeDocument/2006/relationships/vmlDrawing" Target="../drawings/vmlDrawing72.vml"/><Relationship Id="rId6" Type="http://schemas.openxmlformats.org/officeDocument/2006/relationships/image" Target="../media/image4.emf"/><Relationship Id="rId5" Type="http://schemas.openxmlformats.org/officeDocument/2006/relationships/oleObject" Target="../embeddings/oleObject49.bin"/><Relationship Id="rId4"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tags" Target="../tags/tag122.xml"/><Relationship Id="rId7" Type="http://schemas.openxmlformats.org/officeDocument/2006/relationships/image" Target="../media/image11.png"/><Relationship Id="rId2" Type="http://schemas.openxmlformats.org/officeDocument/2006/relationships/tags" Target="../tags/tag121.xml"/><Relationship Id="rId1" Type="http://schemas.openxmlformats.org/officeDocument/2006/relationships/vmlDrawing" Target="../drawings/vmlDrawing73.vml"/><Relationship Id="rId6" Type="http://schemas.openxmlformats.org/officeDocument/2006/relationships/image" Target="../media/image4.emf"/><Relationship Id="rId5" Type="http://schemas.openxmlformats.org/officeDocument/2006/relationships/oleObject" Target="../embeddings/oleObject54.bin"/><Relationship Id="rId4"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tags" Target="../tags/tag124.xml"/><Relationship Id="rId7" Type="http://schemas.openxmlformats.org/officeDocument/2006/relationships/image" Target="../media/image8.png"/><Relationship Id="rId2" Type="http://schemas.openxmlformats.org/officeDocument/2006/relationships/tags" Target="../tags/tag123.xml"/><Relationship Id="rId1" Type="http://schemas.openxmlformats.org/officeDocument/2006/relationships/vmlDrawing" Target="../drawings/vmlDrawing74.vml"/><Relationship Id="rId6" Type="http://schemas.openxmlformats.org/officeDocument/2006/relationships/image" Target="../media/image4.emf"/><Relationship Id="rId5" Type="http://schemas.openxmlformats.org/officeDocument/2006/relationships/oleObject" Target="../embeddings/oleObject49.bin"/><Relationship Id="rId4"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tags" Target="../tags/tag126.xml"/><Relationship Id="rId7" Type="http://schemas.openxmlformats.org/officeDocument/2006/relationships/image" Target="../media/image8.png"/><Relationship Id="rId2" Type="http://schemas.openxmlformats.org/officeDocument/2006/relationships/tags" Target="../tags/tag125.xml"/><Relationship Id="rId1" Type="http://schemas.openxmlformats.org/officeDocument/2006/relationships/vmlDrawing" Target="../drawings/vmlDrawing75.vml"/><Relationship Id="rId6" Type="http://schemas.openxmlformats.org/officeDocument/2006/relationships/image" Target="../media/image4.emf"/><Relationship Id="rId5" Type="http://schemas.openxmlformats.org/officeDocument/2006/relationships/oleObject" Target="../embeddings/oleObject49.bin"/><Relationship Id="rId4"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vmlDrawing" Target="../drawings/vmlDrawing9.vml"/><Relationship Id="rId6" Type="http://schemas.openxmlformats.org/officeDocument/2006/relationships/image" Target="../media/image4.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7.xml"/><Relationship Id="rId1" Type="http://schemas.openxmlformats.org/officeDocument/2006/relationships/vmlDrawing" Target="../drawings/vmlDrawing76.vml"/><Relationship Id="rId6" Type="http://schemas.openxmlformats.org/officeDocument/2006/relationships/image" Target="../media/image5.emf"/><Relationship Id="rId5" Type="http://schemas.openxmlformats.org/officeDocument/2006/relationships/image" Target="../media/image4.emf"/><Relationship Id="rId4" Type="http://schemas.openxmlformats.org/officeDocument/2006/relationships/oleObject" Target="../embeddings/oleObject55.bin"/></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8.xml"/><Relationship Id="rId1" Type="http://schemas.openxmlformats.org/officeDocument/2006/relationships/vmlDrawing" Target="../drawings/vmlDrawing77.vml"/><Relationship Id="rId6" Type="http://schemas.openxmlformats.org/officeDocument/2006/relationships/image" Target="../media/image5.emf"/><Relationship Id="rId5" Type="http://schemas.openxmlformats.org/officeDocument/2006/relationships/image" Target="../media/image4.emf"/><Relationship Id="rId4" Type="http://schemas.openxmlformats.org/officeDocument/2006/relationships/oleObject" Target="../embeddings/oleObject56.bin"/></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vmlDrawing" Target="../drawings/vmlDrawing10.vml"/><Relationship Id="rId6" Type="http://schemas.openxmlformats.org/officeDocument/2006/relationships/image" Target="../media/image4.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ackground image">
    <p:bg>
      <p:bgPr>
        <a:gradFill flip="none" rotWithShape="1">
          <a:gsLst>
            <a:gs pos="0">
              <a:schemeClr val="accent1"/>
            </a:gs>
            <a:gs pos="100000">
              <a:schemeClr val="accent2"/>
            </a:gs>
          </a:gsLst>
          <a:lin ang="5400000" scaled="1"/>
          <a:tileRect/>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36EEC91-FAE8-4ABD-9FB4-C659BE81729A}"/>
              </a:ext>
            </a:extLst>
          </p:cNvPr>
          <p:cNvGraphicFramePr>
            <a:graphicFrameLocks noChangeAspect="1"/>
          </p:cNvGraphicFramePr>
          <p:nvPr userDrawn="1">
            <p:custDataLst>
              <p:tags r:id="rId2"/>
            </p:custDataLst>
            <p:extLst>
              <p:ext uri="{D42A27DB-BD31-4B8C-83A1-F6EECF244321}">
                <p14:modId xmlns:p14="http://schemas.microsoft.com/office/powerpoint/2010/main" val="9103155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2" name="think-cell Slide" r:id="rId4" imgW="473" imgH="474" progId="TCLayout.ActiveDocument.1">
                  <p:embed/>
                </p:oleObj>
              </mc:Choice>
              <mc:Fallback>
                <p:oleObj name="think-cell Slide" r:id="rId4" imgW="473" imgH="474" progId="TCLayout.ActiveDocument.1">
                  <p:embed/>
                  <p:pic>
                    <p:nvPicPr>
                      <p:cNvPr id="3" name="Object 2" hidden="1">
                        <a:extLst>
                          <a:ext uri="{FF2B5EF4-FFF2-40B4-BE49-F238E27FC236}">
                            <a16:creationId xmlns:a16="http://schemas.microsoft.com/office/drawing/2014/main" id="{336EEC91-FAE8-4ABD-9FB4-C659BE81729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Picture 7">
            <a:extLst>
              <a:ext uri="{FF2B5EF4-FFF2-40B4-BE49-F238E27FC236}">
                <a16:creationId xmlns:a16="http://schemas.microsoft.com/office/drawing/2014/main" id="{588F6A14-7494-EC4A-867C-864E07DD2DFD}"/>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698500" y="532355"/>
            <a:ext cx="2412941" cy="591595"/>
          </a:xfrm>
          <a:prstGeom prst="rect">
            <a:avLst/>
          </a:prstGeom>
        </p:spPr>
      </p:pic>
      <p:sp>
        <p:nvSpPr>
          <p:cNvPr id="11" name="Marcador de texto 10">
            <a:extLst>
              <a:ext uri="{FF2B5EF4-FFF2-40B4-BE49-F238E27FC236}">
                <a16:creationId xmlns:a16="http://schemas.microsoft.com/office/drawing/2014/main" id="{E606FEF5-DCE1-1A4A-9F62-0F477AF406BE}"/>
              </a:ext>
            </a:extLst>
          </p:cNvPr>
          <p:cNvSpPr>
            <a:spLocks noGrp="1"/>
          </p:cNvSpPr>
          <p:nvPr>
            <p:ph type="body" sz="quarter" idx="10" hasCustomPrompt="1"/>
          </p:nvPr>
        </p:nvSpPr>
        <p:spPr>
          <a:xfrm>
            <a:off x="1524000" y="5734050"/>
            <a:ext cx="9144000" cy="674688"/>
          </a:xfrm>
          <a:prstGeom prst="rect">
            <a:avLst/>
          </a:prstGeom>
        </p:spPr>
        <p:txBody>
          <a:bodyPr/>
          <a:lstStyle>
            <a:lvl1pPr algn="ctr">
              <a:lnSpc>
                <a:spcPct val="140000"/>
              </a:lnSpc>
              <a:spcBef>
                <a:spcPts val="0"/>
              </a:spcBef>
              <a:buFontTx/>
              <a:buNone/>
              <a:defRPr sz="1200">
                <a:solidFill>
                  <a:schemeClr val="bg1"/>
                </a:solidFill>
              </a:defRPr>
            </a:lvl1pPr>
            <a:lvl2pPr algn="ctr">
              <a:buFontTx/>
              <a:buNone/>
              <a:defRPr sz="1200">
                <a:solidFill>
                  <a:schemeClr val="bg1"/>
                </a:solidFill>
              </a:defRPr>
            </a:lvl2pPr>
            <a:lvl3pPr algn="ctr">
              <a:buFontTx/>
              <a:buNone/>
              <a:defRPr sz="1200">
                <a:solidFill>
                  <a:schemeClr val="bg1"/>
                </a:solidFill>
              </a:defRPr>
            </a:lvl3pPr>
            <a:lvl4pPr algn="ctr">
              <a:buFontTx/>
              <a:buNone/>
              <a:defRPr sz="1200">
                <a:solidFill>
                  <a:schemeClr val="bg1"/>
                </a:solidFill>
              </a:defRPr>
            </a:lvl4pPr>
            <a:lvl5pPr algn="ctr">
              <a:buFontTx/>
              <a:buNone/>
              <a:defRPr sz="1200">
                <a:solidFill>
                  <a:schemeClr val="bg1"/>
                </a:solidFill>
              </a:defRPr>
            </a:lvl5pPr>
          </a:lstStyle>
          <a:p>
            <a:pPr lvl="0"/>
            <a:r>
              <a:rPr lang="es-ES" dirty="0" err="1"/>
              <a:t>Name</a:t>
            </a:r>
            <a:r>
              <a:rPr lang="es-ES" dirty="0"/>
              <a:t> </a:t>
            </a:r>
            <a:br>
              <a:rPr lang="es-ES" dirty="0"/>
            </a:br>
            <a:r>
              <a:rPr lang="es-ES" dirty="0"/>
              <a:t>Job </a:t>
            </a:r>
            <a:r>
              <a:rPr lang="es-ES" dirty="0" err="1"/>
              <a:t>Title</a:t>
            </a:r>
            <a:endParaRPr lang="es-ES" dirty="0"/>
          </a:p>
        </p:txBody>
      </p:sp>
      <p:sp>
        <p:nvSpPr>
          <p:cNvPr id="16" name="Título 1">
            <a:extLst>
              <a:ext uri="{FF2B5EF4-FFF2-40B4-BE49-F238E27FC236}">
                <a16:creationId xmlns:a16="http://schemas.microsoft.com/office/drawing/2014/main" id="{5AA3C8B9-7162-4D6C-AA6C-7DFFC38AFCF4}"/>
              </a:ext>
            </a:extLst>
          </p:cNvPr>
          <p:cNvSpPr>
            <a:spLocks noGrp="1"/>
          </p:cNvSpPr>
          <p:nvPr>
            <p:ph type="ctrTitle" hasCustomPrompt="1"/>
          </p:nvPr>
        </p:nvSpPr>
        <p:spPr>
          <a:xfrm>
            <a:off x="2783711" y="2732092"/>
            <a:ext cx="6238755" cy="636702"/>
          </a:xfrm>
          <a:prstGeom prst="rect">
            <a:avLst/>
          </a:prstGeom>
        </p:spPr>
        <p:txBody>
          <a:bodyPr anchor="t"/>
          <a:lstStyle>
            <a:lvl1pPr algn="ctr">
              <a:lnSpc>
                <a:spcPct val="100000"/>
              </a:lnSpc>
              <a:defRPr sz="3600" b="1">
                <a:solidFill>
                  <a:schemeClr val="bg1"/>
                </a:solidFill>
                <a:latin typeface="+mj-lt"/>
              </a:defRPr>
            </a:lvl1pPr>
          </a:lstStyle>
          <a:p>
            <a:r>
              <a:rPr lang="es-ES" dirty="0" err="1"/>
              <a:t>Presentation</a:t>
            </a:r>
            <a:r>
              <a:rPr lang="es-ES" dirty="0"/>
              <a:t> </a:t>
            </a:r>
            <a:r>
              <a:rPr lang="es-ES" dirty="0" err="1"/>
              <a:t>title</a:t>
            </a:r>
            <a:r>
              <a:rPr lang="es-ES" dirty="0"/>
              <a:t> </a:t>
            </a:r>
            <a:r>
              <a:rPr lang="es-ES" dirty="0" err="1"/>
              <a:t>goes</a:t>
            </a:r>
            <a:r>
              <a:rPr lang="es-ES" dirty="0"/>
              <a:t> </a:t>
            </a:r>
            <a:r>
              <a:rPr lang="es-ES" dirty="0" err="1"/>
              <a:t>here</a:t>
            </a:r>
            <a:endParaRPr lang="es-ES" dirty="0"/>
          </a:p>
        </p:txBody>
      </p:sp>
      <p:sp>
        <p:nvSpPr>
          <p:cNvPr id="17" name="Subtítulo 2">
            <a:extLst>
              <a:ext uri="{FF2B5EF4-FFF2-40B4-BE49-F238E27FC236}">
                <a16:creationId xmlns:a16="http://schemas.microsoft.com/office/drawing/2014/main" id="{F7F45ABA-7AD5-4391-BDBF-13DC6FEFD282}"/>
              </a:ext>
            </a:extLst>
          </p:cNvPr>
          <p:cNvSpPr>
            <a:spLocks noGrp="1"/>
          </p:cNvSpPr>
          <p:nvPr>
            <p:ph type="subTitle" idx="1" hasCustomPrompt="1"/>
          </p:nvPr>
        </p:nvSpPr>
        <p:spPr>
          <a:xfrm>
            <a:off x="2783711" y="4004617"/>
            <a:ext cx="6238755" cy="814028"/>
          </a:xfrm>
          <a:prstGeom prst="rect">
            <a:avLst/>
          </a:prstGeom>
        </p:spPr>
        <p:txBody>
          <a:bodyPr anchor="t"/>
          <a:lstStyle>
            <a:lvl1pPr marL="0" indent="0" algn="ctr">
              <a:lnSpc>
                <a:spcPct val="100000"/>
              </a:lnSpc>
              <a:buNone/>
              <a:defRPr sz="2400" b="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err="1"/>
              <a:t>Subtitle</a:t>
            </a:r>
            <a:r>
              <a:rPr lang="es-ES" dirty="0"/>
              <a:t> </a:t>
            </a:r>
            <a:r>
              <a:rPr lang="es-ES" dirty="0" err="1"/>
              <a:t>goes</a:t>
            </a:r>
            <a:r>
              <a:rPr lang="es-ES" dirty="0"/>
              <a:t> </a:t>
            </a:r>
            <a:r>
              <a:rPr lang="es-ES" dirty="0" err="1"/>
              <a:t>here</a:t>
            </a:r>
            <a:endParaRPr lang="es-ES" dirty="0"/>
          </a:p>
        </p:txBody>
      </p:sp>
      <p:sp>
        <p:nvSpPr>
          <p:cNvPr id="9" name="Rectangle 8">
            <a:extLst>
              <a:ext uri="{FF2B5EF4-FFF2-40B4-BE49-F238E27FC236}">
                <a16:creationId xmlns:a16="http://schemas.microsoft.com/office/drawing/2014/main" id="{F2C24311-C508-4FED-A5FF-8174CD29AB87}"/>
              </a:ext>
            </a:extLst>
          </p:cNvPr>
          <p:cNvSpPr/>
          <p:nvPr userDrawn="1"/>
        </p:nvSpPr>
        <p:spPr>
          <a:xfrm>
            <a:off x="3051745"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0" name="Rectangle 9">
            <a:extLst>
              <a:ext uri="{FF2B5EF4-FFF2-40B4-BE49-F238E27FC236}">
                <a16:creationId xmlns:a16="http://schemas.microsoft.com/office/drawing/2014/main" id="{975E17B1-02F9-48D4-A41F-3422540FB532}"/>
              </a:ext>
            </a:extLst>
          </p:cNvPr>
          <p:cNvSpPr/>
          <p:nvPr userDrawn="1"/>
        </p:nvSpPr>
        <p:spPr>
          <a:xfrm>
            <a:off x="7490"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2" name="Rectangle 11">
            <a:extLst>
              <a:ext uri="{FF2B5EF4-FFF2-40B4-BE49-F238E27FC236}">
                <a16:creationId xmlns:a16="http://schemas.microsoft.com/office/drawing/2014/main" id="{165D916A-C8A3-4D83-A1D8-43FA1FFE01B4}"/>
              </a:ext>
            </a:extLst>
          </p:cNvPr>
          <p:cNvSpPr/>
          <p:nvPr userDrawn="1"/>
        </p:nvSpPr>
        <p:spPr>
          <a:xfrm>
            <a:off x="9149414"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3" name="Rectangle 12">
            <a:extLst>
              <a:ext uri="{FF2B5EF4-FFF2-40B4-BE49-F238E27FC236}">
                <a16:creationId xmlns:a16="http://schemas.microsoft.com/office/drawing/2014/main" id="{400734FD-1D08-4912-B129-5E758BECB952}"/>
              </a:ext>
            </a:extLst>
          </p:cNvPr>
          <p:cNvSpPr/>
          <p:nvPr userDrawn="1"/>
        </p:nvSpPr>
        <p:spPr>
          <a:xfrm>
            <a:off x="6105159"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Tree>
    <p:extLst>
      <p:ext uri="{BB962C8B-B14F-4D97-AF65-F5344CB8AC3E}">
        <p14:creationId xmlns:p14="http://schemas.microsoft.com/office/powerpoint/2010/main" val="230478117"/>
      </p:ext>
    </p:extLst>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1_Transition slide B-Whit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799C6CA-CACC-40BA-A825-A176D22A874B}"/>
              </a:ext>
            </a:extLst>
          </p:cNvPr>
          <p:cNvGraphicFramePr>
            <a:graphicFrameLocks noChangeAspect="1"/>
          </p:cNvGraphicFramePr>
          <p:nvPr userDrawn="1">
            <p:custDataLst>
              <p:tags r:id="rId2"/>
            </p:custDataLst>
            <p:extLst>
              <p:ext uri="{D42A27DB-BD31-4B8C-83A1-F6EECF244321}">
                <p14:modId xmlns:p14="http://schemas.microsoft.com/office/powerpoint/2010/main" val="41210116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8" name="think-cell Slide" r:id="rId5" imgW="473" imgH="474" progId="TCLayout.ActiveDocument.1">
                  <p:embed/>
                </p:oleObj>
              </mc:Choice>
              <mc:Fallback>
                <p:oleObj name="think-cell Slide" r:id="rId5" imgW="473" imgH="474" progId="TCLayout.ActiveDocument.1">
                  <p:embed/>
                  <p:pic>
                    <p:nvPicPr>
                      <p:cNvPr id="3" name="Object 2" hidden="1">
                        <a:extLst>
                          <a:ext uri="{FF2B5EF4-FFF2-40B4-BE49-F238E27FC236}">
                            <a16:creationId xmlns:a16="http://schemas.microsoft.com/office/drawing/2014/main" id="{8799C6CA-CACC-40BA-A825-A176D22A874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00FC0C89-C1CE-4776-A3D4-6245EB1A333E}"/>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Verdana" panose="020B0604030504040204" pitchFamily="34" charset="0"/>
              <a:ea typeface="+mj-ea"/>
              <a:cs typeface="+mj-cs"/>
              <a:sym typeface="Verdana" panose="020B0604030504040204" pitchFamily="34" charset="0"/>
            </a:endParaRPr>
          </a:p>
        </p:txBody>
      </p:sp>
      <p:sp>
        <p:nvSpPr>
          <p:cNvPr id="6" name="Title 5">
            <a:extLst>
              <a:ext uri="{FF2B5EF4-FFF2-40B4-BE49-F238E27FC236}">
                <a16:creationId xmlns:a16="http://schemas.microsoft.com/office/drawing/2014/main" id="{A4B4FC7D-4393-4A68-A6C5-568B02850E9B}"/>
              </a:ext>
            </a:extLst>
          </p:cNvPr>
          <p:cNvSpPr>
            <a:spLocks noGrp="1"/>
          </p:cNvSpPr>
          <p:nvPr>
            <p:ph type="title" hasCustomPrompt="1"/>
          </p:nvPr>
        </p:nvSpPr>
        <p:spPr>
          <a:xfrm>
            <a:off x="6104116" y="1592263"/>
            <a:ext cx="5148261" cy="2334072"/>
          </a:xfrm>
        </p:spPr>
        <p:txBody>
          <a:bodyPr anchor="b"/>
          <a:lstStyle>
            <a:lvl1pPr>
              <a:defRPr sz="3600">
                <a:solidFill>
                  <a:schemeClr val="accent1"/>
                </a:solidFill>
              </a:defRPr>
            </a:lvl1pPr>
          </a:lstStyle>
          <a:p>
            <a:r>
              <a:rPr lang="en-US" dirty="0"/>
              <a:t>Title</a:t>
            </a:r>
          </a:p>
        </p:txBody>
      </p:sp>
      <p:sp>
        <p:nvSpPr>
          <p:cNvPr id="11" name="Marcador de texto 2">
            <a:extLst>
              <a:ext uri="{FF2B5EF4-FFF2-40B4-BE49-F238E27FC236}">
                <a16:creationId xmlns:a16="http://schemas.microsoft.com/office/drawing/2014/main" id="{7DF24BF0-C3D8-4A33-9A94-03CE8CC973C2}"/>
              </a:ext>
            </a:extLst>
          </p:cNvPr>
          <p:cNvSpPr>
            <a:spLocks noGrp="1"/>
          </p:cNvSpPr>
          <p:nvPr>
            <p:ph type="body" idx="10" hasCustomPrompt="1"/>
          </p:nvPr>
        </p:nvSpPr>
        <p:spPr>
          <a:xfrm>
            <a:off x="6104116" y="4093103"/>
            <a:ext cx="5148261" cy="1712385"/>
          </a:xfrm>
          <a:prstGeom prst="rect">
            <a:avLst/>
          </a:prstGeom>
        </p:spPr>
        <p:txBody>
          <a:bodyPr lIns="0" tIns="0" rIns="0" bIns="0" anchor="t"/>
          <a:lstStyle>
            <a:lvl1pPr marL="0" indent="0">
              <a:lnSpc>
                <a:spcPct val="100000"/>
              </a:lnSpc>
              <a:spcBef>
                <a:spcPts val="0"/>
              </a:spcBef>
              <a:buNone/>
              <a:defRPr sz="2400" b="0">
                <a:solidFill>
                  <a:schemeClr val="tx1"/>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err="1"/>
              <a:t>Subtitle</a:t>
            </a:r>
            <a:endParaRPr lang="es-ES" dirty="0"/>
          </a:p>
        </p:txBody>
      </p:sp>
      <p:sp>
        <p:nvSpPr>
          <p:cNvPr id="4" name="CuadroTexto 64">
            <a:extLst>
              <a:ext uri="{FF2B5EF4-FFF2-40B4-BE49-F238E27FC236}">
                <a16:creationId xmlns:a16="http://schemas.microsoft.com/office/drawing/2014/main" id="{CC2249F8-C077-487B-9BA3-4B911902A356}"/>
              </a:ext>
            </a:extLst>
          </p:cNvPr>
          <p:cNvSpPr txBox="1"/>
          <p:nvPr userDrawn="1"/>
        </p:nvSpPr>
        <p:spPr>
          <a:xfrm>
            <a:off x="10882303" y="6449284"/>
            <a:ext cx="936214" cy="138499"/>
          </a:xfrm>
          <a:prstGeom prst="rect">
            <a:avLst/>
          </a:prstGeom>
          <a:noFill/>
        </p:spPr>
        <p:txBody>
          <a:bodyPr wrap="square" lIns="0" tIns="0" rIns="0" bIns="0" rtlCol="0">
            <a:spAutoFit/>
          </a:bodyPr>
          <a:lstStyle/>
          <a:p>
            <a:pPr algn="r"/>
            <a:fld id="{A4EEDD72-1D6A-6B46-BCFA-C211F73E9379}" type="slidenum">
              <a:rPr lang="es-ES" sz="900" b="1" smtClean="0">
                <a:solidFill>
                  <a:schemeClr val="bg1"/>
                </a:solidFill>
                <a:latin typeface="Verdana" panose="020B0604030504040204" pitchFamily="34" charset="0"/>
                <a:ea typeface="Verdana" panose="020B0604030504040204" pitchFamily="34" charset="0"/>
                <a:cs typeface="Verdana" panose="020B0604030504040204" pitchFamily="34" charset="0"/>
              </a:rPr>
              <a:pPr algn="r"/>
              <a:t>‹N›</a:t>
            </a:fld>
            <a:endParaRPr lang="es-ES" sz="90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9" name="Marcador de posición de imagen 2">
            <a:extLst>
              <a:ext uri="{FF2B5EF4-FFF2-40B4-BE49-F238E27FC236}">
                <a16:creationId xmlns:a16="http://schemas.microsoft.com/office/drawing/2014/main" id="{6263FEED-8F20-45B8-9E35-81955D234A53}"/>
              </a:ext>
            </a:extLst>
          </p:cNvPr>
          <p:cNvSpPr>
            <a:spLocks noGrp="1"/>
          </p:cNvSpPr>
          <p:nvPr>
            <p:ph type="pic" sz="quarter" idx="13" hasCustomPrompt="1"/>
          </p:nvPr>
        </p:nvSpPr>
        <p:spPr>
          <a:xfrm>
            <a:off x="-9663" y="-7891"/>
            <a:ext cx="6113779" cy="6873015"/>
          </a:xfrm>
          <a:custGeom>
            <a:avLst/>
            <a:gdLst>
              <a:gd name="connsiteX0" fmla="*/ 0 w 4672405"/>
              <a:gd name="connsiteY0" fmla="*/ 0 h 6858000"/>
              <a:gd name="connsiteX1" fmla="*/ 4672405 w 4672405"/>
              <a:gd name="connsiteY1" fmla="*/ 0 h 6858000"/>
              <a:gd name="connsiteX2" fmla="*/ 4672405 w 4672405"/>
              <a:gd name="connsiteY2" fmla="*/ 6858000 h 6858000"/>
              <a:gd name="connsiteX3" fmla="*/ 0 w 4672405"/>
              <a:gd name="connsiteY3" fmla="*/ 6858000 h 6858000"/>
              <a:gd name="connsiteX4" fmla="*/ 0 w 4672405"/>
              <a:gd name="connsiteY4" fmla="*/ 0 h 6858000"/>
              <a:gd name="connsiteX0" fmla="*/ 0 w 4672405"/>
              <a:gd name="connsiteY0" fmla="*/ 0 h 6860046"/>
              <a:gd name="connsiteX1" fmla="*/ 4672405 w 4672405"/>
              <a:gd name="connsiteY1" fmla="*/ 0 h 6860046"/>
              <a:gd name="connsiteX2" fmla="*/ 2080582 w 4672405"/>
              <a:gd name="connsiteY2" fmla="*/ 6860046 h 6860046"/>
              <a:gd name="connsiteX3" fmla="*/ 0 w 4672405"/>
              <a:gd name="connsiteY3" fmla="*/ 6858000 h 6860046"/>
              <a:gd name="connsiteX4" fmla="*/ 0 w 4672405"/>
              <a:gd name="connsiteY4" fmla="*/ 0 h 6860046"/>
              <a:gd name="connsiteX0" fmla="*/ 0 w 4193499"/>
              <a:gd name="connsiteY0" fmla="*/ 0 h 6860046"/>
              <a:gd name="connsiteX1" fmla="*/ 4193499 w 4193499"/>
              <a:gd name="connsiteY1" fmla="*/ 1270943 h 6860046"/>
              <a:gd name="connsiteX2" fmla="*/ 2080582 w 4193499"/>
              <a:gd name="connsiteY2" fmla="*/ 6860046 h 6860046"/>
              <a:gd name="connsiteX3" fmla="*/ 0 w 4193499"/>
              <a:gd name="connsiteY3" fmla="*/ 6858000 h 6860046"/>
              <a:gd name="connsiteX4" fmla="*/ 0 w 4193499"/>
              <a:gd name="connsiteY4" fmla="*/ 0 h 6860046"/>
              <a:gd name="connsiteX0" fmla="*/ 0 w 4193499"/>
              <a:gd name="connsiteY0" fmla="*/ 24560 h 5589103"/>
              <a:gd name="connsiteX1" fmla="*/ 4193499 w 4193499"/>
              <a:gd name="connsiteY1" fmla="*/ 0 h 5589103"/>
              <a:gd name="connsiteX2" fmla="*/ 2080582 w 4193499"/>
              <a:gd name="connsiteY2" fmla="*/ 5589103 h 5589103"/>
              <a:gd name="connsiteX3" fmla="*/ 0 w 4193499"/>
              <a:gd name="connsiteY3" fmla="*/ 5587057 h 5589103"/>
              <a:gd name="connsiteX4" fmla="*/ 0 w 4193499"/>
              <a:gd name="connsiteY4" fmla="*/ 24560 h 5589103"/>
              <a:gd name="connsiteX0" fmla="*/ 0 w 4201685"/>
              <a:gd name="connsiteY0" fmla="*/ 1 h 5564544"/>
              <a:gd name="connsiteX1" fmla="*/ 4201685 w 4201685"/>
              <a:gd name="connsiteY1" fmla="*/ 0 h 5564544"/>
              <a:gd name="connsiteX2" fmla="*/ 2080582 w 4201685"/>
              <a:gd name="connsiteY2" fmla="*/ 5564544 h 5564544"/>
              <a:gd name="connsiteX3" fmla="*/ 0 w 4201685"/>
              <a:gd name="connsiteY3" fmla="*/ 5562498 h 5564544"/>
              <a:gd name="connsiteX4" fmla="*/ 0 w 4201685"/>
              <a:gd name="connsiteY4" fmla="*/ 1 h 5564544"/>
              <a:gd name="connsiteX0" fmla="*/ 712220 w 4913905"/>
              <a:gd name="connsiteY0" fmla="*/ 1 h 5564544"/>
              <a:gd name="connsiteX1" fmla="*/ 4913905 w 4913905"/>
              <a:gd name="connsiteY1" fmla="*/ 0 h 5564544"/>
              <a:gd name="connsiteX2" fmla="*/ 2792802 w 4913905"/>
              <a:gd name="connsiteY2" fmla="*/ 5564544 h 5564544"/>
              <a:gd name="connsiteX3" fmla="*/ 0 w 4913905"/>
              <a:gd name="connsiteY3" fmla="*/ 5533846 h 5564544"/>
              <a:gd name="connsiteX4" fmla="*/ 712220 w 4913905"/>
              <a:gd name="connsiteY4" fmla="*/ 1 h 5564544"/>
              <a:gd name="connsiteX0" fmla="*/ 712220 w 4913905"/>
              <a:gd name="connsiteY0" fmla="*/ 1 h 5533846"/>
              <a:gd name="connsiteX1" fmla="*/ 4913905 w 4913905"/>
              <a:gd name="connsiteY1" fmla="*/ 0 h 5533846"/>
              <a:gd name="connsiteX2" fmla="*/ 2813269 w 4913905"/>
              <a:gd name="connsiteY2" fmla="*/ 5523612 h 5533846"/>
              <a:gd name="connsiteX3" fmla="*/ 0 w 4913905"/>
              <a:gd name="connsiteY3" fmla="*/ 5533846 h 5533846"/>
              <a:gd name="connsiteX4" fmla="*/ 712220 w 4913905"/>
              <a:gd name="connsiteY4" fmla="*/ 1 h 5533846"/>
              <a:gd name="connsiteX0" fmla="*/ 1 w 4913905"/>
              <a:gd name="connsiteY0" fmla="*/ 1 h 5533846"/>
              <a:gd name="connsiteX1" fmla="*/ 4913905 w 4913905"/>
              <a:gd name="connsiteY1" fmla="*/ 0 h 5533846"/>
              <a:gd name="connsiteX2" fmla="*/ 2813269 w 4913905"/>
              <a:gd name="connsiteY2" fmla="*/ 5523612 h 5533846"/>
              <a:gd name="connsiteX3" fmla="*/ 0 w 4913905"/>
              <a:gd name="connsiteY3" fmla="*/ 5533846 h 5533846"/>
              <a:gd name="connsiteX4" fmla="*/ 1 w 4913905"/>
              <a:gd name="connsiteY4" fmla="*/ 1 h 5533846"/>
              <a:gd name="connsiteX0" fmla="*/ 1 w 4913905"/>
              <a:gd name="connsiteY0" fmla="*/ 1 h 5523612"/>
              <a:gd name="connsiteX1" fmla="*/ 4913905 w 4913905"/>
              <a:gd name="connsiteY1" fmla="*/ 0 h 5523612"/>
              <a:gd name="connsiteX2" fmla="*/ 2813269 w 4913905"/>
              <a:gd name="connsiteY2" fmla="*/ 5523612 h 5523612"/>
              <a:gd name="connsiteX3" fmla="*/ 0 w 4913905"/>
              <a:gd name="connsiteY3" fmla="*/ 5521566 h 5523612"/>
              <a:gd name="connsiteX4" fmla="*/ 1 w 4913905"/>
              <a:gd name="connsiteY4" fmla="*/ 1 h 5523612"/>
              <a:gd name="connsiteX0" fmla="*/ 1 w 4913905"/>
              <a:gd name="connsiteY0" fmla="*/ 1 h 5521566"/>
              <a:gd name="connsiteX1" fmla="*/ 4913905 w 4913905"/>
              <a:gd name="connsiteY1" fmla="*/ 0 h 5521566"/>
              <a:gd name="connsiteX2" fmla="*/ 2819409 w 4913905"/>
              <a:gd name="connsiteY2" fmla="*/ 5517472 h 5521566"/>
              <a:gd name="connsiteX3" fmla="*/ 0 w 4913905"/>
              <a:gd name="connsiteY3" fmla="*/ 5521566 h 5521566"/>
              <a:gd name="connsiteX4" fmla="*/ 1 w 4913905"/>
              <a:gd name="connsiteY4" fmla="*/ 1 h 5521566"/>
              <a:gd name="connsiteX0" fmla="*/ 8187 w 4922091"/>
              <a:gd name="connsiteY0" fmla="*/ 1 h 5525659"/>
              <a:gd name="connsiteX1" fmla="*/ 4922091 w 4922091"/>
              <a:gd name="connsiteY1" fmla="*/ 0 h 5525659"/>
              <a:gd name="connsiteX2" fmla="*/ 2827595 w 4922091"/>
              <a:gd name="connsiteY2" fmla="*/ 5517472 h 5525659"/>
              <a:gd name="connsiteX3" fmla="*/ 0 w 4922091"/>
              <a:gd name="connsiteY3" fmla="*/ 5525659 h 5525659"/>
              <a:gd name="connsiteX4" fmla="*/ 8187 w 4922091"/>
              <a:gd name="connsiteY4" fmla="*/ 1 h 5525659"/>
              <a:gd name="connsiteX0" fmla="*/ 8187 w 4922091"/>
              <a:gd name="connsiteY0" fmla="*/ 1 h 5525659"/>
              <a:gd name="connsiteX1" fmla="*/ 4922091 w 4922091"/>
              <a:gd name="connsiteY1" fmla="*/ 0 h 5525659"/>
              <a:gd name="connsiteX2" fmla="*/ 2827595 w 4922091"/>
              <a:gd name="connsiteY2" fmla="*/ 5525659 h 5525659"/>
              <a:gd name="connsiteX3" fmla="*/ 0 w 4922091"/>
              <a:gd name="connsiteY3" fmla="*/ 5525659 h 5525659"/>
              <a:gd name="connsiteX4" fmla="*/ 8187 w 4922091"/>
              <a:gd name="connsiteY4" fmla="*/ 1 h 5525659"/>
              <a:gd name="connsiteX0" fmla="*/ 4094 w 4922091"/>
              <a:gd name="connsiteY0" fmla="*/ 0 h 5537938"/>
              <a:gd name="connsiteX1" fmla="*/ 4922091 w 4922091"/>
              <a:gd name="connsiteY1" fmla="*/ 12279 h 5537938"/>
              <a:gd name="connsiteX2" fmla="*/ 2827595 w 4922091"/>
              <a:gd name="connsiteY2" fmla="*/ 5537938 h 5537938"/>
              <a:gd name="connsiteX3" fmla="*/ 0 w 4922091"/>
              <a:gd name="connsiteY3" fmla="*/ 5537938 h 5537938"/>
              <a:gd name="connsiteX4" fmla="*/ 4094 w 4922091"/>
              <a:gd name="connsiteY4" fmla="*/ 0 h 5537938"/>
              <a:gd name="connsiteX0" fmla="*/ 4094 w 4926184"/>
              <a:gd name="connsiteY0" fmla="*/ 1 h 5537939"/>
              <a:gd name="connsiteX1" fmla="*/ 4926184 w 4926184"/>
              <a:gd name="connsiteY1" fmla="*/ 0 h 5537939"/>
              <a:gd name="connsiteX2" fmla="*/ 2827595 w 4926184"/>
              <a:gd name="connsiteY2" fmla="*/ 5537939 h 5537939"/>
              <a:gd name="connsiteX3" fmla="*/ 0 w 4926184"/>
              <a:gd name="connsiteY3" fmla="*/ 5537939 h 5537939"/>
              <a:gd name="connsiteX4" fmla="*/ 4094 w 4926184"/>
              <a:gd name="connsiteY4" fmla="*/ 1 h 55379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26184" h="5537939">
                <a:moveTo>
                  <a:pt x="4094" y="1"/>
                </a:moveTo>
                <a:lnTo>
                  <a:pt x="4926184" y="0"/>
                </a:lnTo>
                <a:lnTo>
                  <a:pt x="2827595" y="5537939"/>
                </a:lnTo>
                <a:lnTo>
                  <a:pt x="0" y="5537939"/>
                </a:lnTo>
                <a:cubicBezTo>
                  <a:pt x="0" y="3693324"/>
                  <a:pt x="4094" y="1844616"/>
                  <a:pt x="4094" y="1"/>
                </a:cubicBezTo>
                <a:close/>
              </a:path>
            </a:pathLst>
          </a:custGeom>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30C1D7"/>
                </a:solidFill>
                <a:prstDash val="solid"/>
                <a:round/>
                <a:headEnd type="none" w="med" len="med"/>
                <a:tailEnd type="none" w="med" len="med"/>
              </a14:hiddenLine>
            </a:ext>
          </a:extLst>
        </p:spPr>
        <p:txBody>
          <a:bodyPr anchor="ctr"/>
          <a:lstStyle>
            <a:lvl1pPr marL="228600" marR="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a:solidFill>
                  <a:srgbClr val="FFFFFF"/>
                </a:solidFill>
              </a:defRPr>
            </a:lvl1pPr>
          </a:lstStyle>
          <a:p>
            <a:pPr marL="228600" marR="0" lvl="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Drag picture to placeholder </a:t>
            </a:r>
            <a:br>
              <a:rPr lang="en-US" dirty="0"/>
            </a:br>
            <a:r>
              <a:rPr lang="en-US" dirty="0"/>
              <a:t>or click icon to add</a:t>
            </a:r>
          </a:p>
        </p:txBody>
      </p:sp>
      <p:sp>
        <p:nvSpPr>
          <p:cNvPr id="8" name="Rectangle 7">
            <a:extLst>
              <a:ext uri="{FF2B5EF4-FFF2-40B4-BE49-F238E27FC236}">
                <a16:creationId xmlns:a16="http://schemas.microsoft.com/office/drawing/2014/main" id="{D387E680-44F3-47E4-A513-E74FA9C58646}"/>
              </a:ext>
            </a:extLst>
          </p:cNvPr>
          <p:cNvSpPr/>
          <p:nvPr userDrawn="1"/>
        </p:nvSpPr>
        <p:spPr>
          <a:xfrm>
            <a:off x="3051745"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0" name="Rectangle 9">
            <a:extLst>
              <a:ext uri="{FF2B5EF4-FFF2-40B4-BE49-F238E27FC236}">
                <a16:creationId xmlns:a16="http://schemas.microsoft.com/office/drawing/2014/main" id="{EEE3D7A6-1498-4A64-9D2E-3E4F8B3C0DA8}"/>
              </a:ext>
            </a:extLst>
          </p:cNvPr>
          <p:cNvSpPr/>
          <p:nvPr userDrawn="1"/>
        </p:nvSpPr>
        <p:spPr>
          <a:xfrm>
            <a:off x="7490"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2" name="Rectangle 11">
            <a:extLst>
              <a:ext uri="{FF2B5EF4-FFF2-40B4-BE49-F238E27FC236}">
                <a16:creationId xmlns:a16="http://schemas.microsoft.com/office/drawing/2014/main" id="{966434CB-3B14-4C6A-AC9E-E59DCB483772}"/>
              </a:ext>
            </a:extLst>
          </p:cNvPr>
          <p:cNvSpPr/>
          <p:nvPr userDrawn="1"/>
        </p:nvSpPr>
        <p:spPr>
          <a:xfrm>
            <a:off x="9149414"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3" name="Rectangle 12">
            <a:extLst>
              <a:ext uri="{FF2B5EF4-FFF2-40B4-BE49-F238E27FC236}">
                <a16:creationId xmlns:a16="http://schemas.microsoft.com/office/drawing/2014/main" id="{9DB4F380-0003-491D-9489-207F6C9CEAC0}"/>
              </a:ext>
            </a:extLst>
          </p:cNvPr>
          <p:cNvSpPr/>
          <p:nvPr userDrawn="1"/>
        </p:nvSpPr>
        <p:spPr>
          <a:xfrm>
            <a:off x="6105159"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Tree>
    <p:extLst>
      <p:ext uri="{BB962C8B-B14F-4D97-AF65-F5344CB8AC3E}">
        <p14:creationId xmlns:p14="http://schemas.microsoft.com/office/powerpoint/2010/main" val="36085227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ransition slide A whit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799C6CA-CACC-40BA-A825-A176D22A874B}"/>
              </a:ext>
            </a:extLst>
          </p:cNvPr>
          <p:cNvGraphicFramePr>
            <a:graphicFrameLocks noChangeAspect="1"/>
          </p:cNvGraphicFramePr>
          <p:nvPr userDrawn="1">
            <p:custDataLst>
              <p:tags r:id="rId2"/>
            </p:custDataLst>
            <p:extLst>
              <p:ext uri="{D42A27DB-BD31-4B8C-83A1-F6EECF244321}">
                <p14:modId xmlns:p14="http://schemas.microsoft.com/office/powerpoint/2010/main" val="3725847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2" name="think-cell Slide" r:id="rId5" imgW="473" imgH="474" progId="TCLayout.ActiveDocument.1">
                  <p:embed/>
                </p:oleObj>
              </mc:Choice>
              <mc:Fallback>
                <p:oleObj name="think-cell Slide" r:id="rId5" imgW="473" imgH="474" progId="TCLayout.ActiveDocument.1">
                  <p:embed/>
                  <p:pic>
                    <p:nvPicPr>
                      <p:cNvPr id="3" name="Object 2" hidden="1">
                        <a:extLst>
                          <a:ext uri="{FF2B5EF4-FFF2-40B4-BE49-F238E27FC236}">
                            <a16:creationId xmlns:a16="http://schemas.microsoft.com/office/drawing/2014/main" id="{8799C6CA-CACC-40BA-A825-A176D22A874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00FC0C89-C1CE-4776-A3D4-6245EB1A333E}"/>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Verdana" panose="020B0604030504040204" pitchFamily="34" charset="0"/>
              <a:ea typeface="+mj-ea"/>
              <a:cs typeface="+mj-cs"/>
              <a:sym typeface="Verdana" panose="020B0604030504040204" pitchFamily="34" charset="0"/>
            </a:endParaRPr>
          </a:p>
        </p:txBody>
      </p:sp>
      <p:sp>
        <p:nvSpPr>
          <p:cNvPr id="6" name="Title 5">
            <a:extLst>
              <a:ext uri="{FF2B5EF4-FFF2-40B4-BE49-F238E27FC236}">
                <a16:creationId xmlns:a16="http://schemas.microsoft.com/office/drawing/2014/main" id="{A4B4FC7D-4393-4A68-A6C5-568B02850E9B}"/>
              </a:ext>
            </a:extLst>
          </p:cNvPr>
          <p:cNvSpPr>
            <a:spLocks noGrp="1"/>
          </p:cNvSpPr>
          <p:nvPr>
            <p:ph type="title" hasCustomPrompt="1"/>
          </p:nvPr>
        </p:nvSpPr>
        <p:spPr>
          <a:xfrm>
            <a:off x="947739" y="1592263"/>
            <a:ext cx="6840536" cy="2334072"/>
          </a:xfrm>
        </p:spPr>
        <p:txBody>
          <a:bodyPr anchor="b"/>
          <a:lstStyle>
            <a:lvl1pPr>
              <a:defRPr sz="3600">
                <a:solidFill>
                  <a:srgbClr val="DA291C"/>
                </a:solidFill>
              </a:defRPr>
            </a:lvl1pPr>
          </a:lstStyle>
          <a:p>
            <a:r>
              <a:rPr lang="en-US"/>
              <a:t>Title</a:t>
            </a:r>
          </a:p>
        </p:txBody>
      </p:sp>
      <p:sp>
        <p:nvSpPr>
          <p:cNvPr id="11" name="Marcador de texto 2">
            <a:extLst>
              <a:ext uri="{FF2B5EF4-FFF2-40B4-BE49-F238E27FC236}">
                <a16:creationId xmlns:a16="http://schemas.microsoft.com/office/drawing/2014/main" id="{7DF24BF0-C3D8-4A33-9A94-03CE8CC973C2}"/>
              </a:ext>
            </a:extLst>
          </p:cNvPr>
          <p:cNvSpPr>
            <a:spLocks noGrp="1"/>
          </p:cNvSpPr>
          <p:nvPr>
            <p:ph type="body" idx="10" hasCustomPrompt="1"/>
          </p:nvPr>
        </p:nvSpPr>
        <p:spPr>
          <a:xfrm>
            <a:off x="947739" y="4093103"/>
            <a:ext cx="5148261" cy="1712385"/>
          </a:xfrm>
          <a:prstGeom prst="rect">
            <a:avLst/>
          </a:prstGeom>
        </p:spPr>
        <p:txBody>
          <a:bodyPr lIns="0" tIns="0" rIns="0" bIns="0" anchor="t"/>
          <a:lstStyle>
            <a:lvl1pPr marL="0" indent="0">
              <a:lnSpc>
                <a:spcPct val="100000"/>
              </a:lnSpc>
              <a:spcBef>
                <a:spcPts val="0"/>
              </a:spcBef>
              <a:buNone/>
              <a:defRPr sz="2400" b="0">
                <a:solidFill>
                  <a:srgbClr val="000000"/>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err="1"/>
              <a:t>Subtitle</a:t>
            </a:r>
            <a:endParaRPr lang="es-ES" dirty="0"/>
          </a:p>
        </p:txBody>
      </p:sp>
      <p:sp>
        <p:nvSpPr>
          <p:cNvPr id="4" name="CuadroTexto 64">
            <a:extLst>
              <a:ext uri="{FF2B5EF4-FFF2-40B4-BE49-F238E27FC236}">
                <a16:creationId xmlns:a16="http://schemas.microsoft.com/office/drawing/2014/main" id="{CC2249F8-C077-487B-9BA3-4B911902A356}"/>
              </a:ext>
            </a:extLst>
          </p:cNvPr>
          <p:cNvSpPr txBox="1"/>
          <p:nvPr userDrawn="1"/>
        </p:nvSpPr>
        <p:spPr>
          <a:xfrm>
            <a:off x="10882303" y="6449284"/>
            <a:ext cx="936214" cy="138499"/>
          </a:xfrm>
          <a:prstGeom prst="rect">
            <a:avLst/>
          </a:prstGeom>
          <a:noFill/>
        </p:spPr>
        <p:txBody>
          <a:bodyPr wrap="square" lIns="0" tIns="0" rIns="0" bIns="0" rtlCol="0">
            <a:spAutoFit/>
          </a:bodyPr>
          <a:lstStyle/>
          <a:p>
            <a:pPr algn="r"/>
            <a:fld id="{A4EEDD72-1D6A-6B46-BCFA-C211F73E9379}" type="slidenum">
              <a:rPr lang="es-ES" sz="900" b="1" smtClean="0">
                <a:solidFill>
                  <a:schemeClr val="bg1"/>
                </a:solidFill>
                <a:latin typeface="Verdana" panose="020B0604030504040204" pitchFamily="34" charset="0"/>
                <a:ea typeface="Verdana" panose="020B0604030504040204" pitchFamily="34" charset="0"/>
                <a:cs typeface="Verdana" panose="020B0604030504040204" pitchFamily="34" charset="0"/>
              </a:rPr>
              <a:pPr algn="r"/>
              <a:t>‹N›</a:t>
            </a:fld>
            <a:endParaRPr lang="es-ES" sz="90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9" name="CuadroTexto 64">
            <a:extLst>
              <a:ext uri="{FF2B5EF4-FFF2-40B4-BE49-F238E27FC236}">
                <a16:creationId xmlns:a16="http://schemas.microsoft.com/office/drawing/2014/main" id="{08E9C9DD-93B5-4058-A8FA-3D88D1252332}"/>
              </a:ext>
            </a:extLst>
          </p:cNvPr>
          <p:cNvSpPr txBox="1"/>
          <p:nvPr userDrawn="1"/>
        </p:nvSpPr>
        <p:spPr>
          <a:xfrm>
            <a:off x="11034703" y="6601684"/>
            <a:ext cx="936214" cy="138499"/>
          </a:xfrm>
          <a:prstGeom prst="rect">
            <a:avLst/>
          </a:prstGeom>
          <a:noFill/>
        </p:spPr>
        <p:txBody>
          <a:bodyPr wrap="square" lIns="0" tIns="0" rIns="0" bIns="0" rtlCol="0">
            <a:spAutoFit/>
          </a:bodyPr>
          <a:lstStyle/>
          <a:p>
            <a:pPr algn="r"/>
            <a:fld id="{A4EEDD72-1D6A-6B46-BCFA-C211F73E9379}" type="slidenum">
              <a:rPr lang="es-ES" sz="900" b="1" smtClean="0">
                <a:solidFill>
                  <a:schemeClr val="accent1"/>
                </a:solidFill>
                <a:latin typeface="Verdana" panose="020B0604030504040204" pitchFamily="34" charset="0"/>
                <a:ea typeface="Verdana" panose="020B0604030504040204" pitchFamily="34" charset="0"/>
                <a:cs typeface="Verdana" panose="020B0604030504040204" pitchFamily="34" charset="0"/>
              </a:rPr>
              <a:pPr algn="r"/>
              <a:t>‹N›</a:t>
            </a:fld>
            <a:endParaRPr lang="es-ES" sz="900" b="1" dirty="0">
              <a:solidFill>
                <a:schemeClr val="accent1"/>
              </a:solidFill>
              <a:latin typeface="Verdana" panose="020B0604030504040204" pitchFamily="34" charset="0"/>
              <a:ea typeface="Verdana" panose="020B0604030504040204" pitchFamily="34" charset="0"/>
              <a:cs typeface="Verdana" panose="020B0604030504040204" pitchFamily="34" charset="0"/>
            </a:endParaRPr>
          </a:p>
        </p:txBody>
      </p:sp>
      <p:sp>
        <p:nvSpPr>
          <p:cNvPr id="10" name="Marcador de posición de imagen 2">
            <a:extLst>
              <a:ext uri="{FF2B5EF4-FFF2-40B4-BE49-F238E27FC236}">
                <a16:creationId xmlns:a16="http://schemas.microsoft.com/office/drawing/2014/main" id="{01A0055D-2CAB-40BB-85A4-984D8C439FB7}"/>
              </a:ext>
            </a:extLst>
          </p:cNvPr>
          <p:cNvSpPr>
            <a:spLocks noGrp="1"/>
          </p:cNvSpPr>
          <p:nvPr>
            <p:ph type="pic" sz="quarter" idx="12" hasCustomPrompt="1"/>
          </p:nvPr>
        </p:nvSpPr>
        <p:spPr>
          <a:xfrm>
            <a:off x="6538529" y="-14050"/>
            <a:ext cx="5670915" cy="6877222"/>
          </a:xfrm>
          <a:custGeom>
            <a:avLst/>
            <a:gdLst>
              <a:gd name="connsiteX0" fmla="*/ 0 w 4592124"/>
              <a:gd name="connsiteY0" fmla="*/ 0 h 6858000"/>
              <a:gd name="connsiteX1" fmla="*/ 4592124 w 4592124"/>
              <a:gd name="connsiteY1" fmla="*/ 0 h 6858000"/>
              <a:gd name="connsiteX2" fmla="*/ 4592124 w 4592124"/>
              <a:gd name="connsiteY2" fmla="*/ 6858000 h 6858000"/>
              <a:gd name="connsiteX3" fmla="*/ 0 w 4592124"/>
              <a:gd name="connsiteY3" fmla="*/ 6858000 h 6858000"/>
              <a:gd name="connsiteX4" fmla="*/ 0 w 4592124"/>
              <a:gd name="connsiteY4" fmla="*/ 0 h 6858000"/>
              <a:gd name="connsiteX0" fmla="*/ 2549525 w 4592124"/>
              <a:gd name="connsiteY0" fmla="*/ 1058 h 6858000"/>
              <a:gd name="connsiteX1" fmla="*/ 4592124 w 4592124"/>
              <a:gd name="connsiteY1" fmla="*/ 0 h 6858000"/>
              <a:gd name="connsiteX2" fmla="*/ 4592124 w 4592124"/>
              <a:gd name="connsiteY2" fmla="*/ 6858000 h 6858000"/>
              <a:gd name="connsiteX3" fmla="*/ 0 w 4592124"/>
              <a:gd name="connsiteY3" fmla="*/ 6858000 h 6858000"/>
              <a:gd name="connsiteX4" fmla="*/ 2549525 w 4592124"/>
              <a:gd name="connsiteY4" fmla="*/ 1058 h 6858000"/>
              <a:gd name="connsiteX0" fmla="*/ 2549525 w 4592124"/>
              <a:gd name="connsiteY0" fmla="*/ 0 h 6856942"/>
              <a:gd name="connsiteX1" fmla="*/ 4592124 w 4592124"/>
              <a:gd name="connsiteY1" fmla="*/ 1371762 h 6856942"/>
              <a:gd name="connsiteX2" fmla="*/ 4592124 w 4592124"/>
              <a:gd name="connsiteY2" fmla="*/ 6856942 h 6856942"/>
              <a:gd name="connsiteX3" fmla="*/ 0 w 4592124"/>
              <a:gd name="connsiteY3" fmla="*/ 6856942 h 6856942"/>
              <a:gd name="connsiteX4" fmla="*/ 2549525 w 4592124"/>
              <a:gd name="connsiteY4" fmla="*/ 0 h 6856942"/>
              <a:gd name="connsiteX0" fmla="*/ 2045812 w 4592124"/>
              <a:gd name="connsiteY0" fmla="*/ 1058 h 5485180"/>
              <a:gd name="connsiteX1" fmla="*/ 4592124 w 4592124"/>
              <a:gd name="connsiteY1" fmla="*/ 0 h 5485180"/>
              <a:gd name="connsiteX2" fmla="*/ 4592124 w 4592124"/>
              <a:gd name="connsiteY2" fmla="*/ 5485180 h 5485180"/>
              <a:gd name="connsiteX3" fmla="*/ 0 w 4592124"/>
              <a:gd name="connsiteY3" fmla="*/ 5485180 h 5485180"/>
              <a:gd name="connsiteX4" fmla="*/ 2045812 w 4592124"/>
              <a:gd name="connsiteY4" fmla="*/ 1058 h 5485180"/>
              <a:gd name="connsiteX0" fmla="*/ 2028628 w 4592124"/>
              <a:gd name="connsiteY0" fmla="*/ 36027 h 5485180"/>
              <a:gd name="connsiteX1" fmla="*/ 4592124 w 4592124"/>
              <a:gd name="connsiteY1" fmla="*/ 0 h 5485180"/>
              <a:gd name="connsiteX2" fmla="*/ 4592124 w 4592124"/>
              <a:gd name="connsiteY2" fmla="*/ 5485180 h 5485180"/>
              <a:gd name="connsiteX3" fmla="*/ 0 w 4592124"/>
              <a:gd name="connsiteY3" fmla="*/ 5485180 h 5485180"/>
              <a:gd name="connsiteX4" fmla="*/ 2028628 w 4592124"/>
              <a:gd name="connsiteY4" fmla="*/ 36027 h 5485180"/>
              <a:gd name="connsiteX0" fmla="*/ 2028628 w 4592124"/>
              <a:gd name="connsiteY0" fmla="*/ 4509 h 5453662"/>
              <a:gd name="connsiteX1" fmla="*/ 4568296 w 4592124"/>
              <a:gd name="connsiteY1" fmla="*/ 0 h 5453662"/>
              <a:gd name="connsiteX2" fmla="*/ 4592124 w 4592124"/>
              <a:gd name="connsiteY2" fmla="*/ 5453662 h 5453662"/>
              <a:gd name="connsiteX3" fmla="*/ 0 w 4592124"/>
              <a:gd name="connsiteY3" fmla="*/ 5453662 h 5453662"/>
              <a:gd name="connsiteX4" fmla="*/ 2028628 w 4592124"/>
              <a:gd name="connsiteY4" fmla="*/ 4509 h 5453662"/>
              <a:gd name="connsiteX0" fmla="*/ 2028628 w 4743341"/>
              <a:gd name="connsiteY0" fmla="*/ 4509 h 5460656"/>
              <a:gd name="connsiteX1" fmla="*/ 4568296 w 4743341"/>
              <a:gd name="connsiteY1" fmla="*/ 0 h 5460656"/>
              <a:gd name="connsiteX2" fmla="*/ 4743341 w 4743341"/>
              <a:gd name="connsiteY2" fmla="*/ 5460656 h 5460656"/>
              <a:gd name="connsiteX3" fmla="*/ 0 w 4743341"/>
              <a:gd name="connsiteY3" fmla="*/ 5453662 h 5460656"/>
              <a:gd name="connsiteX4" fmla="*/ 2028628 w 4743341"/>
              <a:gd name="connsiteY4" fmla="*/ 4509 h 5460656"/>
              <a:gd name="connsiteX0" fmla="*/ 2028628 w 4760755"/>
              <a:gd name="connsiteY0" fmla="*/ 4509 h 5460656"/>
              <a:gd name="connsiteX1" fmla="*/ 4760755 w 4760755"/>
              <a:gd name="connsiteY1" fmla="*/ 0 h 5460656"/>
              <a:gd name="connsiteX2" fmla="*/ 4743341 w 4760755"/>
              <a:gd name="connsiteY2" fmla="*/ 5460656 h 5460656"/>
              <a:gd name="connsiteX3" fmla="*/ 0 w 4760755"/>
              <a:gd name="connsiteY3" fmla="*/ 5453662 h 5460656"/>
              <a:gd name="connsiteX4" fmla="*/ 2028628 w 4760755"/>
              <a:gd name="connsiteY4" fmla="*/ 4509 h 5460656"/>
              <a:gd name="connsiteX0" fmla="*/ 2042201 w 4774328"/>
              <a:gd name="connsiteY0" fmla="*/ 4509 h 5467473"/>
              <a:gd name="connsiteX1" fmla="*/ 4774328 w 4774328"/>
              <a:gd name="connsiteY1" fmla="*/ 0 h 5467473"/>
              <a:gd name="connsiteX2" fmla="*/ 4756914 w 4774328"/>
              <a:gd name="connsiteY2" fmla="*/ 5460656 h 5467473"/>
              <a:gd name="connsiteX3" fmla="*/ 0 w 4774328"/>
              <a:gd name="connsiteY3" fmla="*/ 5467473 h 5467473"/>
              <a:gd name="connsiteX4" fmla="*/ 2042201 w 4774328"/>
              <a:gd name="connsiteY4" fmla="*/ 4509 h 5467473"/>
              <a:gd name="connsiteX0" fmla="*/ 2042201 w 4774328"/>
              <a:gd name="connsiteY0" fmla="*/ 4509 h 5474466"/>
              <a:gd name="connsiteX1" fmla="*/ 4774328 w 4774328"/>
              <a:gd name="connsiteY1" fmla="*/ 0 h 5474466"/>
              <a:gd name="connsiteX2" fmla="*/ 4765962 w 4774328"/>
              <a:gd name="connsiteY2" fmla="*/ 5474466 h 5474466"/>
              <a:gd name="connsiteX3" fmla="*/ 0 w 4774328"/>
              <a:gd name="connsiteY3" fmla="*/ 5467473 h 5474466"/>
              <a:gd name="connsiteX4" fmla="*/ 2042201 w 4774328"/>
              <a:gd name="connsiteY4" fmla="*/ 4509 h 5474466"/>
              <a:gd name="connsiteX0" fmla="*/ 2042201 w 4778853"/>
              <a:gd name="connsiteY0" fmla="*/ 0 h 5469957"/>
              <a:gd name="connsiteX1" fmla="*/ 4778853 w 4778853"/>
              <a:gd name="connsiteY1" fmla="*/ 4698 h 5469957"/>
              <a:gd name="connsiteX2" fmla="*/ 4765962 w 4778853"/>
              <a:gd name="connsiteY2" fmla="*/ 5469957 h 5469957"/>
              <a:gd name="connsiteX3" fmla="*/ 0 w 4778853"/>
              <a:gd name="connsiteY3" fmla="*/ 5462964 h 5469957"/>
              <a:gd name="connsiteX4" fmla="*/ 2042201 w 4778853"/>
              <a:gd name="connsiteY4" fmla="*/ 0 h 5469957"/>
              <a:gd name="connsiteX0" fmla="*/ 2042201 w 4781135"/>
              <a:gd name="connsiteY0" fmla="*/ 0 h 5462964"/>
              <a:gd name="connsiteX1" fmla="*/ 4778853 w 4781135"/>
              <a:gd name="connsiteY1" fmla="*/ 4698 h 5462964"/>
              <a:gd name="connsiteX2" fmla="*/ 4779535 w 4781135"/>
              <a:gd name="connsiteY2" fmla="*/ 5460751 h 5462964"/>
              <a:gd name="connsiteX3" fmla="*/ 0 w 4781135"/>
              <a:gd name="connsiteY3" fmla="*/ 5462964 h 5462964"/>
              <a:gd name="connsiteX4" fmla="*/ 2042201 w 4781135"/>
              <a:gd name="connsiteY4" fmla="*/ 0 h 5462964"/>
              <a:gd name="connsiteX0" fmla="*/ 2046725 w 4781135"/>
              <a:gd name="connsiteY0" fmla="*/ 0 h 5467567"/>
              <a:gd name="connsiteX1" fmla="*/ 4778853 w 4781135"/>
              <a:gd name="connsiteY1" fmla="*/ 9301 h 5467567"/>
              <a:gd name="connsiteX2" fmla="*/ 4779535 w 4781135"/>
              <a:gd name="connsiteY2" fmla="*/ 5465354 h 5467567"/>
              <a:gd name="connsiteX3" fmla="*/ 0 w 4781135"/>
              <a:gd name="connsiteY3" fmla="*/ 5467567 h 5467567"/>
              <a:gd name="connsiteX4" fmla="*/ 2046725 w 4781135"/>
              <a:gd name="connsiteY4" fmla="*/ 0 h 5467567"/>
              <a:gd name="connsiteX0" fmla="*/ 2046725 w 4779604"/>
              <a:gd name="connsiteY0" fmla="*/ 2821 h 5470388"/>
              <a:gd name="connsiteX1" fmla="*/ 4433343 w 4779604"/>
              <a:gd name="connsiteY1" fmla="*/ 0 h 5470388"/>
              <a:gd name="connsiteX2" fmla="*/ 4779535 w 4779604"/>
              <a:gd name="connsiteY2" fmla="*/ 5468175 h 5470388"/>
              <a:gd name="connsiteX3" fmla="*/ 0 w 4779604"/>
              <a:gd name="connsiteY3" fmla="*/ 5470388 h 5470388"/>
              <a:gd name="connsiteX4" fmla="*/ 2046725 w 4779604"/>
              <a:gd name="connsiteY4" fmla="*/ 2821 h 5470388"/>
              <a:gd name="connsiteX0" fmla="*/ 2046725 w 4433343"/>
              <a:gd name="connsiteY0" fmla="*/ 2821 h 5470388"/>
              <a:gd name="connsiteX1" fmla="*/ 4433343 w 4433343"/>
              <a:gd name="connsiteY1" fmla="*/ 0 h 5470388"/>
              <a:gd name="connsiteX2" fmla="*/ 4426082 w 4433343"/>
              <a:gd name="connsiteY2" fmla="*/ 5468175 h 5470388"/>
              <a:gd name="connsiteX3" fmla="*/ 0 w 4433343"/>
              <a:gd name="connsiteY3" fmla="*/ 5470388 h 5470388"/>
              <a:gd name="connsiteX4" fmla="*/ 2046725 w 4433343"/>
              <a:gd name="connsiteY4" fmla="*/ 2821 h 5470388"/>
              <a:gd name="connsiteX0" fmla="*/ 2046725 w 4433343"/>
              <a:gd name="connsiteY0" fmla="*/ 2821 h 5470388"/>
              <a:gd name="connsiteX1" fmla="*/ 4433343 w 4433343"/>
              <a:gd name="connsiteY1" fmla="*/ 0 h 5470388"/>
              <a:gd name="connsiteX2" fmla="*/ 4426082 w 4433343"/>
              <a:gd name="connsiteY2" fmla="*/ 5468175 h 5470388"/>
              <a:gd name="connsiteX3" fmla="*/ 0 w 4433343"/>
              <a:gd name="connsiteY3" fmla="*/ 5470388 h 5470388"/>
              <a:gd name="connsiteX4" fmla="*/ 2046725 w 4433343"/>
              <a:gd name="connsiteY4" fmla="*/ 2821 h 5470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3343" h="5470388">
                <a:moveTo>
                  <a:pt x="2046725" y="2821"/>
                </a:moveTo>
                <a:lnTo>
                  <a:pt x="4433343" y="0"/>
                </a:lnTo>
                <a:cubicBezTo>
                  <a:pt x="4427538" y="1820219"/>
                  <a:pt x="4431887" y="3647956"/>
                  <a:pt x="4426082" y="5468175"/>
                </a:cubicBezTo>
                <a:lnTo>
                  <a:pt x="0" y="5470388"/>
                </a:lnTo>
                <a:lnTo>
                  <a:pt x="2046725" y="2821"/>
                </a:lnTo>
                <a:close/>
              </a:path>
            </a:pathLst>
          </a:custGeom>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F9900"/>
                </a:solidFill>
                <a:prstDash val="solid"/>
                <a:round/>
                <a:headEnd type="none" w="med" len="med"/>
                <a:tailEnd type="none" w="med" len="med"/>
              </a14:hiddenLine>
            </a:ext>
          </a:extLst>
        </p:spPr>
        <p:txBody>
          <a:bodyPr anchor="ctr"/>
          <a:lstStyle>
            <a:lvl1pPr marL="228600" marR="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a:solidFill>
                  <a:srgbClr val="FFFFFF"/>
                </a:solidFill>
              </a:defRPr>
            </a:lvl1pPr>
          </a:lstStyle>
          <a:p>
            <a:pPr marL="228600" marR="0" lvl="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Drag picture to placeholder </a:t>
            </a:r>
            <a:br>
              <a:rPr lang="en-US" dirty="0"/>
            </a:br>
            <a:r>
              <a:rPr lang="en-US" dirty="0"/>
              <a:t>or click icon to add</a:t>
            </a:r>
          </a:p>
        </p:txBody>
      </p:sp>
      <p:sp>
        <p:nvSpPr>
          <p:cNvPr id="13" name="Rectangle 12">
            <a:extLst>
              <a:ext uri="{FF2B5EF4-FFF2-40B4-BE49-F238E27FC236}">
                <a16:creationId xmlns:a16="http://schemas.microsoft.com/office/drawing/2014/main" id="{5D381F68-55A6-4B62-A19C-D30D0BC35E2E}"/>
              </a:ext>
            </a:extLst>
          </p:cNvPr>
          <p:cNvSpPr/>
          <p:nvPr userDrawn="1"/>
        </p:nvSpPr>
        <p:spPr>
          <a:xfrm>
            <a:off x="3051745"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4" name="Rectangle 13">
            <a:extLst>
              <a:ext uri="{FF2B5EF4-FFF2-40B4-BE49-F238E27FC236}">
                <a16:creationId xmlns:a16="http://schemas.microsoft.com/office/drawing/2014/main" id="{C30761C0-2891-4857-B104-9307DA6B3462}"/>
              </a:ext>
            </a:extLst>
          </p:cNvPr>
          <p:cNvSpPr/>
          <p:nvPr userDrawn="1"/>
        </p:nvSpPr>
        <p:spPr>
          <a:xfrm>
            <a:off x="7490"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5" name="Rectangle 14">
            <a:extLst>
              <a:ext uri="{FF2B5EF4-FFF2-40B4-BE49-F238E27FC236}">
                <a16:creationId xmlns:a16="http://schemas.microsoft.com/office/drawing/2014/main" id="{EE1C53BC-C2E9-4FC9-8C49-A7A61AFDFC62}"/>
              </a:ext>
            </a:extLst>
          </p:cNvPr>
          <p:cNvSpPr/>
          <p:nvPr userDrawn="1"/>
        </p:nvSpPr>
        <p:spPr>
          <a:xfrm>
            <a:off x="9149414"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6" name="Rectangle 15">
            <a:extLst>
              <a:ext uri="{FF2B5EF4-FFF2-40B4-BE49-F238E27FC236}">
                <a16:creationId xmlns:a16="http://schemas.microsoft.com/office/drawing/2014/main" id="{A5C20233-19BB-4141-9983-89C3AD532B98}"/>
              </a:ext>
            </a:extLst>
          </p:cNvPr>
          <p:cNvSpPr/>
          <p:nvPr userDrawn="1"/>
        </p:nvSpPr>
        <p:spPr>
          <a:xfrm>
            <a:off x="6105159"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Tree>
    <p:extLst>
      <p:ext uri="{BB962C8B-B14F-4D97-AF65-F5344CB8AC3E}">
        <p14:creationId xmlns:p14="http://schemas.microsoft.com/office/powerpoint/2010/main" val="330833343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2_Full colour Transition">
    <p:bg>
      <p:bgPr>
        <a:gradFill flip="none" rotWithShape="1">
          <a:gsLst>
            <a:gs pos="0">
              <a:schemeClr val="accent1"/>
            </a:gs>
            <a:gs pos="100000">
              <a:schemeClr val="accent2"/>
            </a:gs>
          </a:gsLst>
          <a:lin ang="5400000" scaled="1"/>
          <a:tileRect/>
        </a:gra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F3107E2-3D7C-4EA6-A3AE-B45AC3CE498F}"/>
              </a:ext>
            </a:extLst>
          </p:cNvPr>
          <p:cNvGraphicFramePr>
            <a:graphicFrameLocks noChangeAspect="1"/>
          </p:cNvGraphicFramePr>
          <p:nvPr userDrawn="1">
            <p:custDataLst>
              <p:tags r:id="rId2"/>
            </p:custDataLst>
            <p:extLst>
              <p:ext uri="{D42A27DB-BD31-4B8C-83A1-F6EECF244321}">
                <p14:modId xmlns:p14="http://schemas.microsoft.com/office/powerpoint/2010/main" val="21976232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6" name="think-cell Slide" r:id="rId4" imgW="473" imgH="474" progId="TCLayout.ActiveDocument.1">
                  <p:embed/>
                </p:oleObj>
              </mc:Choice>
              <mc:Fallback>
                <p:oleObj name="think-cell Slide" r:id="rId4" imgW="473" imgH="474" progId="TCLayout.ActiveDocument.1">
                  <p:embed/>
                  <p:pic>
                    <p:nvPicPr>
                      <p:cNvPr id="5" name="Object 4" hidden="1">
                        <a:extLst>
                          <a:ext uri="{FF2B5EF4-FFF2-40B4-BE49-F238E27FC236}">
                            <a16:creationId xmlns:a16="http://schemas.microsoft.com/office/drawing/2014/main" id="{5F3107E2-3D7C-4EA6-A3AE-B45AC3CE498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Título 1">
            <a:extLst>
              <a:ext uri="{FF2B5EF4-FFF2-40B4-BE49-F238E27FC236}">
                <a16:creationId xmlns:a16="http://schemas.microsoft.com/office/drawing/2014/main" id="{4BFB3231-EC8D-AC43-B9D1-D6556772F6F4}"/>
              </a:ext>
            </a:extLst>
          </p:cNvPr>
          <p:cNvSpPr>
            <a:spLocks noGrp="1"/>
          </p:cNvSpPr>
          <p:nvPr userDrawn="1">
            <p:ph type="ctrTitle"/>
          </p:nvPr>
        </p:nvSpPr>
        <p:spPr>
          <a:xfrm>
            <a:off x="1524000" y="3189051"/>
            <a:ext cx="9144000" cy="553998"/>
          </a:xfrm>
          <a:prstGeom prst="rect">
            <a:avLst/>
          </a:prstGeom>
        </p:spPr>
        <p:txBody>
          <a:bodyPr anchor="ctr">
            <a:spAutoFit/>
          </a:bodyPr>
          <a:lstStyle>
            <a:lvl1pPr algn="ctr">
              <a:lnSpc>
                <a:spcPct val="100000"/>
              </a:lnSpc>
              <a:defRPr sz="3600" b="1">
                <a:solidFill>
                  <a:schemeClr val="bg1"/>
                </a:solidFill>
                <a:latin typeface="+mn-lt"/>
              </a:defRPr>
            </a:lvl1pPr>
          </a:lstStyle>
          <a:p>
            <a:endParaRPr lang="es-ES" dirty="0"/>
          </a:p>
        </p:txBody>
      </p:sp>
      <p:sp>
        <p:nvSpPr>
          <p:cNvPr id="6" name="CuadroTexto 64">
            <a:extLst>
              <a:ext uri="{FF2B5EF4-FFF2-40B4-BE49-F238E27FC236}">
                <a16:creationId xmlns:a16="http://schemas.microsoft.com/office/drawing/2014/main" id="{5D5E7AF8-5D93-47BD-AFBA-EB4A85F3DADD}"/>
              </a:ext>
            </a:extLst>
          </p:cNvPr>
          <p:cNvSpPr txBox="1"/>
          <p:nvPr userDrawn="1"/>
        </p:nvSpPr>
        <p:spPr>
          <a:xfrm>
            <a:off x="10882303" y="6449284"/>
            <a:ext cx="936214" cy="138499"/>
          </a:xfrm>
          <a:prstGeom prst="rect">
            <a:avLst/>
          </a:prstGeom>
          <a:noFill/>
        </p:spPr>
        <p:txBody>
          <a:bodyPr wrap="square" lIns="0" tIns="0" rIns="0" bIns="0" rtlCol="0">
            <a:spAutoFit/>
          </a:bodyPr>
          <a:lstStyle/>
          <a:p>
            <a:pPr algn="r"/>
            <a:fld id="{A4EEDD72-1D6A-6B46-BCFA-C211F73E9379}" type="slidenum">
              <a:rPr lang="es-ES" sz="900" b="1" smtClean="0">
                <a:solidFill>
                  <a:srgbClr val="FFFFFF"/>
                </a:solidFill>
                <a:latin typeface="Verdana" panose="020B0604030504040204" pitchFamily="34" charset="0"/>
                <a:ea typeface="Verdana" panose="020B0604030504040204" pitchFamily="34" charset="0"/>
                <a:cs typeface="Verdana" panose="020B0604030504040204" pitchFamily="34" charset="0"/>
              </a:rPr>
              <a:pPr algn="r"/>
              <a:t>‹N›</a:t>
            </a:fld>
            <a:endParaRPr lang="es-ES" sz="900" b="1" dirty="0">
              <a:solidFill>
                <a:srgbClr val="FFFFFF"/>
              </a:solidFill>
              <a:latin typeface="Verdana" panose="020B0604030504040204" pitchFamily="34" charset="0"/>
              <a:ea typeface="Verdana" panose="020B0604030504040204" pitchFamily="34" charset="0"/>
              <a:cs typeface="Verdana" panose="020B0604030504040204" pitchFamily="34" charset="0"/>
            </a:endParaRPr>
          </a:p>
        </p:txBody>
      </p:sp>
      <p:sp>
        <p:nvSpPr>
          <p:cNvPr id="7" name="Rectangle 6">
            <a:extLst>
              <a:ext uri="{FF2B5EF4-FFF2-40B4-BE49-F238E27FC236}">
                <a16:creationId xmlns:a16="http://schemas.microsoft.com/office/drawing/2014/main" id="{2B481660-4229-42B8-B2AE-EA5AFAFC80B0}"/>
              </a:ext>
            </a:extLst>
          </p:cNvPr>
          <p:cNvSpPr/>
          <p:nvPr userDrawn="1"/>
        </p:nvSpPr>
        <p:spPr>
          <a:xfrm>
            <a:off x="3051745"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8" name="Rectangle 7">
            <a:extLst>
              <a:ext uri="{FF2B5EF4-FFF2-40B4-BE49-F238E27FC236}">
                <a16:creationId xmlns:a16="http://schemas.microsoft.com/office/drawing/2014/main" id="{127CA11D-F2D9-41F7-825D-35C704A8B2C2}"/>
              </a:ext>
            </a:extLst>
          </p:cNvPr>
          <p:cNvSpPr/>
          <p:nvPr userDrawn="1"/>
        </p:nvSpPr>
        <p:spPr>
          <a:xfrm>
            <a:off x="7490"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2" name="Rectangle 11">
            <a:extLst>
              <a:ext uri="{FF2B5EF4-FFF2-40B4-BE49-F238E27FC236}">
                <a16:creationId xmlns:a16="http://schemas.microsoft.com/office/drawing/2014/main" id="{EE6655F1-117E-4D5A-8F14-FEBFA607B1AF}"/>
              </a:ext>
            </a:extLst>
          </p:cNvPr>
          <p:cNvSpPr/>
          <p:nvPr userDrawn="1"/>
        </p:nvSpPr>
        <p:spPr>
          <a:xfrm>
            <a:off x="9149414"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3" name="Rectangle 12">
            <a:extLst>
              <a:ext uri="{FF2B5EF4-FFF2-40B4-BE49-F238E27FC236}">
                <a16:creationId xmlns:a16="http://schemas.microsoft.com/office/drawing/2014/main" id="{0EBDE2D1-E8CF-40F0-9EF0-3A1FFFF8CC3F}"/>
              </a:ext>
            </a:extLst>
          </p:cNvPr>
          <p:cNvSpPr/>
          <p:nvPr userDrawn="1"/>
        </p:nvSpPr>
        <p:spPr>
          <a:xfrm>
            <a:off x="6105159"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Tree>
    <p:extLst>
      <p:ext uri="{BB962C8B-B14F-4D97-AF65-F5344CB8AC3E}">
        <p14:creationId xmlns:p14="http://schemas.microsoft.com/office/powerpoint/2010/main" val="82736579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Full image - transition">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98AB34B-0EA1-41B1-BF14-0935F045CF70}"/>
              </a:ext>
            </a:extLst>
          </p:cNvPr>
          <p:cNvSpPr>
            <a:spLocks noGrp="1"/>
          </p:cNvSpPr>
          <p:nvPr>
            <p:ph type="pic" sz="quarter" idx="10"/>
          </p:nvPr>
        </p:nvSpPr>
        <p:spPr>
          <a:xfrm>
            <a:off x="0" y="0"/>
            <a:ext cx="12192000" cy="6858000"/>
          </a:xfrm>
        </p:spPr>
        <p:txBody>
          <a:bodyPr/>
          <a:lstStyle/>
          <a:p>
            <a:endParaRPr lang="en-US"/>
          </a:p>
        </p:txBody>
      </p:sp>
      <p:sp>
        <p:nvSpPr>
          <p:cNvPr id="5" name="Title 5">
            <a:extLst>
              <a:ext uri="{FF2B5EF4-FFF2-40B4-BE49-F238E27FC236}">
                <a16:creationId xmlns:a16="http://schemas.microsoft.com/office/drawing/2014/main" id="{D78C03A2-2EC0-45D4-904B-7A083AB2A0CA}"/>
              </a:ext>
            </a:extLst>
          </p:cNvPr>
          <p:cNvSpPr>
            <a:spLocks noGrp="1"/>
          </p:cNvSpPr>
          <p:nvPr>
            <p:ph type="title" hasCustomPrompt="1"/>
          </p:nvPr>
        </p:nvSpPr>
        <p:spPr>
          <a:xfrm>
            <a:off x="947739" y="1592263"/>
            <a:ext cx="6840536" cy="2334072"/>
          </a:xfrm>
        </p:spPr>
        <p:txBody>
          <a:bodyPr anchor="b"/>
          <a:lstStyle>
            <a:lvl1pPr>
              <a:defRPr sz="3600">
                <a:solidFill>
                  <a:schemeClr val="bg1"/>
                </a:solidFill>
              </a:defRPr>
            </a:lvl1pPr>
          </a:lstStyle>
          <a:p>
            <a:r>
              <a:rPr lang="en-US" dirty="0"/>
              <a:t>Title</a:t>
            </a:r>
          </a:p>
        </p:txBody>
      </p:sp>
      <p:sp>
        <p:nvSpPr>
          <p:cNvPr id="6" name="Marcador de texto 2">
            <a:extLst>
              <a:ext uri="{FF2B5EF4-FFF2-40B4-BE49-F238E27FC236}">
                <a16:creationId xmlns:a16="http://schemas.microsoft.com/office/drawing/2014/main" id="{E4CC69F5-B89D-4B6F-ABCC-61A5439434A3}"/>
              </a:ext>
            </a:extLst>
          </p:cNvPr>
          <p:cNvSpPr>
            <a:spLocks noGrp="1"/>
          </p:cNvSpPr>
          <p:nvPr>
            <p:ph type="body" idx="11" hasCustomPrompt="1"/>
          </p:nvPr>
        </p:nvSpPr>
        <p:spPr>
          <a:xfrm>
            <a:off x="947739" y="4093103"/>
            <a:ext cx="5148261" cy="1712385"/>
          </a:xfrm>
          <a:prstGeom prst="rect">
            <a:avLst/>
          </a:prstGeom>
        </p:spPr>
        <p:txBody>
          <a:bodyPr lIns="0" tIns="0" rIns="0" bIns="0" anchor="t"/>
          <a:lstStyle>
            <a:lvl1pPr marL="0" indent="0">
              <a:lnSpc>
                <a:spcPct val="100000"/>
              </a:lnSpc>
              <a:spcBef>
                <a:spcPts val="0"/>
              </a:spcBef>
              <a:buNone/>
              <a:defRPr sz="2400" b="0">
                <a:solidFill>
                  <a:schemeClr val="bg1"/>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err="1"/>
              <a:t>Subtitle</a:t>
            </a:r>
            <a:endParaRPr lang="es-ES" dirty="0"/>
          </a:p>
        </p:txBody>
      </p:sp>
      <p:sp>
        <p:nvSpPr>
          <p:cNvPr id="7" name="Rectangle 6">
            <a:extLst>
              <a:ext uri="{FF2B5EF4-FFF2-40B4-BE49-F238E27FC236}">
                <a16:creationId xmlns:a16="http://schemas.microsoft.com/office/drawing/2014/main" id="{2AAFD6E9-A2D1-4C55-83E4-A2A09B77FD94}"/>
              </a:ext>
            </a:extLst>
          </p:cNvPr>
          <p:cNvSpPr/>
          <p:nvPr userDrawn="1"/>
        </p:nvSpPr>
        <p:spPr>
          <a:xfrm>
            <a:off x="3051745"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8" name="Rectangle 7">
            <a:extLst>
              <a:ext uri="{FF2B5EF4-FFF2-40B4-BE49-F238E27FC236}">
                <a16:creationId xmlns:a16="http://schemas.microsoft.com/office/drawing/2014/main" id="{E611EAAD-686A-497A-927B-6927AB900EBE}"/>
              </a:ext>
            </a:extLst>
          </p:cNvPr>
          <p:cNvSpPr/>
          <p:nvPr userDrawn="1"/>
        </p:nvSpPr>
        <p:spPr>
          <a:xfrm>
            <a:off x="7490"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9" name="Rectangle 8">
            <a:extLst>
              <a:ext uri="{FF2B5EF4-FFF2-40B4-BE49-F238E27FC236}">
                <a16:creationId xmlns:a16="http://schemas.microsoft.com/office/drawing/2014/main" id="{F20249A9-B43B-4399-A2DA-C6A9E773B8B9}"/>
              </a:ext>
            </a:extLst>
          </p:cNvPr>
          <p:cNvSpPr/>
          <p:nvPr userDrawn="1"/>
        </p:nvSpPr>
        <p:spPr>
          <a:xfrm>
            <a:off x="9149414"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0" name="Rectangle 9">
            <a:extLst>
              <a:ext uri="{FF2B5EF4-FFF2-40B4-BE49-F238E27FC236}">
                <a16:creationId xmlns:a16="http://schemas.microsoft.com/office/drawing/2014/main" id="{AFA29B30-5C70-451B-9B78-DA3C0ED04082}"/>
              </a:ext>
            </a:extLst>
          </p:cNvPr>
          <p:cNvSpPr/>
          <p:nvPr userDrawn="1"/>
        </p:nvSpPr>
        <p:spPr>
          <a:xfrm>
            <a:off x="6105159"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Tree>
    <p:extLst>
      <p:ext uri="{BB962C8B-B14F-4D97-AF65-F5344CB8AC3E}">
        <p14:creationId xmlns:p14="http://schemas.microsoft.com/office/powerpoint/2010/main" val="43812905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Quote v2">
    <p:spTree>
      <p:nvGrpSpPr>
        <p:cNvPr id="1" name=""/>
        <p:cNvGrpSpPr/>
        <p:nvPr/>
      </p:nvGrpSpPr>
      <p:grpSpPr>
        <a:xfrm>
          <a:off x="0" y="0"/>
          <a:ext cx="0" cy="0"/>
          <a:chOff x="0" y="0"/>
          <a:chExt cx="0" cy="0"/>
        </a:xfrm>
      </p:grpSpPr>
      <p:sp>
        <p:nvSpPr>
          <p:cNvPr id="4" name="CuadroTexto 64">
            <a:extLst>
              <a:ext uri="{FF2B5EF4-FFF2-40B4-BE49-F238E27FC236}">
                <a16:creationId xmlns:a16="http://schemas.microsoft.com/office/drawing/2014/main" id="{F0B7DE41-1599-49B3-93C4-0B3B0875D63D}"/>
              </a:ext>
            </a:extLst>
          </p:cNvPr>
          <p:cNvSpPr txBox="1"/>
          <p:nvPr userDrawn="1"/>
        </p:nvSpPr>
        <p:spPr>
          <a:xfrm>
            <a:off x="10882303" y="6449284"/>
            <a:ext cx="936214" cy="138499"/>
          </a:xfrm>
          <a:prstGeom prst="rect">
            <a:avLst/>
          </a:prstGeom>
          <a:noFill/>
        </p:spPr>
        <p:txBody>
          <a:bodyPr wrap="square" lIns="0" tIns="0" rIns="0" bIns="0" rtlCol="0">
            <a:spAutoFit/>
          </a:bodyPr>
          <a:lstStyle/>
          <a:p>
            <a:pPr algn="r"/>
            <a:fld id="{A4EEDD72-1D6A-6B46-BCFA-C211F73E9379}" type="slidenum">
              <a:rPr lang="es-ES" sz="900" b="1" smtClean="0">
                <a:solidFill>
                  <a:schemeClr val="accent1"/>
                </a:solidFill>
                <a:latin typeface="+mj-lt"/>
                <a:ea typeface="Verdana" panose="020B0604030504040204" pitchFamily="34" charset="0"/>
                <a:cs typeface="Verdana" panose="020B0604030504040204" pitchFamily="34" charset="0"/>
              </a:rPr>
              <a:pPr algn="r"/>
              <a:t>‹N›</a:t>
            </a:fld>
            <a:endParaRPr lang="es-ES" sz="900" b="1" dirty="0">
              <a:solidFill>
                <a:schemeClr val="accent1"/>
              </a:solidFill>
              <a:latin typeface="+mj-lt"/>
              <a:ea typeface="Verdana" panose="020B0604030504040204" pitchFamily="34" charset="0"/>
              <a:cs typeface="Verdana" panose="020B0604030504040204" pitchFamily="34" charset="0"/>
            </a:endParaRPr>
          </a:p>
        </p:txBody>
      </p:sp>
      <p:sp>
        <p:nvSpPr>
          <p:cNvPr id="12" name="Text Placeholder 11">
            <a:extLst>
              <a:ext uri="{FF2B5EF4-FFF2-40B4-BE49-F238E27FC236}">
                <a16:creationId xmlns:a16="http://schemas.microsoft.com/office/drawing/2014/main" id="{02029C39-A334-436E-9588-9BAC684EBA47}"/>
              </a:ext>
            </a:extLst>
          </p:cNvPr>
          <p:cNvSpPr>
            <a:spLocks noGrp="1"/>
          </p:cNvSpPr>
          <p:nvPr>
            <p:ph type="body" sz="quarter" idx="13"/>
          </p:nvPr>
        </p:nvSpPr>
        <p:spPr>
          <a:xfrm>
            <a:off x="6096000" y="1989000"/>
            <a:ext cx="5722518" cy="2880000"/>
          </a:xfrm>
        </p:spPr>
        <p:txBody>
          <a:bodyPr anchor="ctr" anchorCtr="0"/>
          <a:lstStyle>
            <a:lvl1pPr>
              <a:defRPr sz="3600">
                <a:solidFill>
                  <a:srgbClr val="FF0000"/>
                </a:solidFill>
              </a:defRPr>
            </a:lvl1pPr>
          </a:lstStyle>
          <a:p>
            <a:pPr lvl="0"/>
            <a:r>
              <a:rPr lang="en-US"/>
              <a:t>Click to edit Master text styles</a:t>
            </a:r>
          </a:p>
        </p:txBody>
      </p:sp>
      <p:sp>
        <p:nvSpPr>
          <p:cNvPr id="5" name="Text Placeholder 3">
            <a:extLst>
              <a:ext uri="{FF2B5EF4-FFF2-40B4-BE49-F238E27FC236}">
                <a16:creationId xmlns:a16="http://schemas.microsoft.com/office/drawing/2014/main" id="{26CA774E-1021-43B9-A285-055EEA9F49AB}"/>
              </a:ext>
            </a:extLst>
          </p:cNvPr>
          <p:cNvSpPr>
            <a:spLocks noGrp="1"/>
          </p:cNvSpPr>
          <p:nvPr>
            <p:ph type="body" sz="quarter" idx="10" hasCustomPrompt="1"/>
          </p:nvPr>
        </p:nvSpPr>
        <p:spPr>
          <a:xfrm>
            <a:off x="6099037" y="4896548"/>
            <a:ext cx="5721488" cy="360000"/>
          </a:xfrm>
        </p:spPr>
        <p:txBody>
          <a:bodyPr/>
          <a:lstStyle>
            <a:lvl1pPr>
              <a:lnSpc>
                <a:spcPct val="100000"/>
              </a:lnSpc>
              <a:spcBef>
                <a:spcPts val="0"/>
              </a:spcBef>
              <a:defRPr sz="2000">
                <a:solidFill>
                  <a:schemeClr val="tx1"/>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Source</a:t>
            </a:r>
          </a:p>
        </p:txBody>
      </p:sp>
      <p:sp>
        <p:nvSpPr>
          <p:cNvPr id="6" name="Marcador de posición de imagen 2">
            <a:extLst>
              <a:ext uri="{FF2B5EF4-FFF2-40B4-BE49-F238E27FC236}">
                <a16:creationId xmlns:a16="http://schemas.microsoft.com/office/drawing/2014/main" id="{510BC262-CD2D-4FC1-BCF9-1EFA75872551}"/>
              </a:ext>
            </a:extLst>
          </p:cNvPr>
          <p:cNvSpPr>
            <a:spLocks noGrp="1"/>
          </p:cNvSpPr>
          <p:nvPr>
            <p:ph type="pic" sz="quarter" idx="14" hasCustomPrompt="1"/>
          </p:nvPr>
        </p:nvSpPr>
        <p:spPr>
          <a:xfrm>
            <a:off x="497" y="2270"/>
            <a:ext cx="6113780" cy="6857775"/>
          </a:xfrm>
          <a:custGeom>
            <a:avLst/>
            <a:gdLst>
              <a:gd name="connsiteX0" fmla="*/ 0 w 4672405"/>
              <a:gd name="connsiteY0" fmla="*/ 0 h 6858000"/>
              <a:gd name="connsiteX1" fmla="*/ 4672405 w 4672405"/>
              <a:gd name="connsiteY1" fmla="*/ 0 h 6858000"/>
              <a:gd name="connsiteX2" fmla="*/ 4672405 w 4672405"/>
              <a:gd name="connsiteY2" fmla="*/ 6858000 h 6858000"/>
              <a:gd name="connsiteX3" fmla="*/ 0 w 4672405"/>
              <a:gd name="connsiteY3" fmla="*/ 6858000 h 6858000"/>
              <a:gd name="connsiteX4" fmla="*/ 0 w 4672405"/>
              <a:gd name="connsiteY4" fmla="*/ 0 h 6858000"/>
              <a:gd name="connsiteX0" fmla="*/ 0 w 4672405"/>
              <a:gd name="connsiteY0" fmla="*/ 0 h 6860046"/>
              <a:gd name="connsiteX1" fmla="*/ 4672405 w 4672405"/>
              <a:gd name="connsiteY1" fmla="*/ 0 h 6860046"/>
              <a:gd name="connsiteX2" fmla="*/ 2080582 w 4672405"/>
              <a:gd name="connsiteY2" fmla="*/ 6860046 h 6860046"/>
              <a:gd name="connsiteX3" fmla="*/ 0 w 4672405"/>
              <a:gd name="connsiteY3" fmla="*/ 6858000 h 6860046"/>
              <a:gd name="connsiteX4" fmla="*/ 0 w 4672405"/>
              <a:gd name="connsiteY4" fmla="*/ 0 h 6860046"/>
              <a:gd name="connsiteX0" fmla="*/ 0 w 4193499"/>
              <a:gd name="connsiteY0" fmla="*/ 0 h 6860046"/>
              <a:gd name="connsiteX1" fmla="*/ 4193499 w 4193499"/>
              <a:gd name="connsiteY1" fmla="*/ 1270943 h 6860046"/>
              <a:gd name="connsiteX2" fmla="*/ 2080582 w 4193499"/>
              <a:gd name="connsiteY2" fmla="*/ 6860046 h 6860046"/>
              <a:gd name="connsiteX3" fmla="*/ 0 w 4193499"/>
              <a:gd name="connsiteY3" fmla="*/ 6858000 h 6860046"/>
              <a:gd name="connsiteX4" fmla="*/ 0 w 4193499"/>
              <a:gd name="connsiteY4" fmla="*/ 0 h 6860046"/>
              <a:gd name="connsiteX0" fmla="*/ 0 w 4193499"/>
              <a:gd name="connsiteY0" fmla="*/ 24560 h 5589103"/>
              <a:gd name="connsiteX1" fmla="*/ 4193499 w 4193499"/>
              <a:gd name="connsiteY1" fmla="*/ 0 h 5589103"/>
              <a:gd name="connsiteX2" fmla="*/ 2080582 w 4193499"/>
              <a:gd name="connsiteY2" fmla="*/ 5589103 h 5589103"/>
              <a:gd name="connsiteX3" fmla="*/ 0 w 4193499"/>
              <a:gd name="connsiteY3" fmla="*/ 5587057 h 5589103"/>
              <a:gd name="connsiteX4" fmla="*/ 0 w 4193499"/>
              <a:gd name="connsiteY4" fmla="*/ 24560 h 5589103"/>
              <a:gd name="connsiteX0" fmla="*/ 0 w 4201685"/>
              <a:gd name="connsiteY0" fmla="*/ 1 h 5564544"/>
              <a:gd name="connsiteX1" fmla="*/ 4201685 w 4201685"/>
              <a:gd name="connsiteY1" fmla="*/ 0 h 5564544"/>
              <a:gd name="connsiteX2" fmla="*/ 2080582 w 4201685"/>
              <a:gd name="connsiteY2" fmla="*/ 5564544 h 5564544"/>
              <a:gd name="connsiteX3" fmla="*/ 0 w 4201685"/>
              <a:gd name="connsiteY3" fmla="*/ 5562498 h 5564544"/>
              <a:gd name="connsiteX4" fmla="*/ 0 w 4201685"/>
              <a:gd name="connsiteY4" fmla="*/ 1 h 5564544"/>
              <a:gd name="connsiteX0" fmla="*/ 712220 w 4913905"/>
              <a:gd name="connsiteY0" fmla="*/ 1 h 5564544"/>
              <a:gd name="connsiteX1" fmla="*/ 4913905 w 4913905"/>
              <a:gd name="connsiteY1" fmla="*/ 0 h 5564544"/>
              <a:gd name="connsiteX2" fmla="*/ 2792802 w 4913905"/>
              <a:gd name="connsiteY2" fmla="*/ 5564544 h 5564544"/>
              <a:gd name="connsiteX3" fmla="*/ 0 w 4913905"/>
              <a:gd name="connsiteY3" fmla="*/ 5533846 h 5564544"/>
              <a:gd name="connsiteX4" fmla="*/ 712220 w 4913905"/>
              <a:gd name="connsiteY4" fmla="*/ 1 h 5564544"/>
              <a:gd name="connsiteX0" fmla="*/ 712220 w 4913905"/>
              <a:gd name="connsiteY0" fmla="*/ 1 h 5533846"/>
              <a:gd name="connsiteX1" fmla="*/ 4913905 w 4913905"/>
              <a:gd name="connsiteY1" fmla="*/ 0 h 5533846"/>
              <a:gd name="connsiteX2" fmla="*/ 2813269 w 4913905"/>
              <a:gd name="connsiteY2" fmla="*/ 5523612 h 5533846"/>
              <a:gd name="connsiteX3" fmla="*/ 0 w 4913905"/>
              <a:gd name="connsiteY3" fmla="*/ 5533846 h 5533846"/>
              <a:gd name="connsiteX4" fmla="*/ 712220 w 4913905"/>
              <a:gd name="connsiteY4" fmla="*/ 1 h 5533846"/>
              <a:gd name="connsiteX0" fmla="*/ 1 w 4913905"/>
              <a:gd name="connsiteY0" fmla="*/ 1 h 5533846"/>
              <a:gd name="connsiteX1" fmla="*/ 4913905 w 4913905"/>
              <a:gd name="connsiteY1" fmla="*/ 0 h 5533846"/>
              <a:gd name="connsiteX2" fmla="*/ 2813269 w 4913905"/>
              <a:gd name="connsiteY2" fmla="*/ 5523612 h 5533846"/>
              <a:gd name="connsiteX3" fmla="*/ 0 w 4913905"/>
              <a:gd name="connsiteY3" fmla="*/ 5533846 h 5533846"/>
              <a:gd name="connsiteX4" fmla="*/ 1 w 4913905"/>
              <a:gd name="connsiteY4" fmla="*/ 1 h 5533846"/>
              <a:gd name="connsiteX0" fmla="*/ 1 w 4913905"/>
              <a:gd name="connsiteY0" fmla="*/ 1 h 5523612"/>
              <a:gd name="connsiteX1" fmla="*/ 4913905 w 4913905"/>
              <a:gd name="connsiteY1" fmla="*/ 0 h 5523612"/>
              <a:gd name="connsiteX2" fmla="*/ 2813269 w 4913905"/>
              <a:gd name="connsiteY2" fmla="*/ 5523612 h 5523612"/>
              <a:gd name="connsiteX3" fmla="*/ 0 w 4913905"/>
              <a:gd name="connsiteY3" fmla="*/ 5521566 h 5523612"/>
              <a:gd name="connsiteX4" fmla="*/ 1 w 4913905"/>
              <a:gd name="connsiteY4" fmla="*/ 1 h 5523612"/>
              <a:gd name="connsiteX0" fmla="*/ 1 w 4913905"/>
              <a:gd name="connsiteY0" fmla="*/ 1 h 5521566"/>
              <a:gd name="connsiteX1" fmla="*/ 4913905 w 4913905"/>
              <a:gd name="connsiteY1" fmla="*/ 0 h 5521566"/>
              <a:gd name="connsiteX2" fmla="*/ 2819409 w 4913905"/>
              <a:gd name="connsiteY2" fmla="*/ 5517472 h 5521566"/>
              <a:gd name="connsiteX3" fmla="*/ 0 w 4913905"/>
              <a:gd name="connsiteY3" fmla="*/ 5521566 h 5521566"/>
              <a:gd name="connsiteX4" fmla="*/ 1 w 4913905"/>
              <a:gd name="connsiteY4" fmla="*/ 1 h 5521566"/>
              <a:gd name="connsiteX0" fmla="*/ 1 w 4926185"/>
              <a:gd name="connsiteY0" fmla="*/ 4094 h 5525659"/>
              <a:gd name="connsiteX1" fmla="*/ 4926185 w 4926185"/>
              <a:gd name="connsiteY1" fmla="*/ 0 h 5525659"/>
              <a:gd name="connsiteX2" fmla="*/ 2819409 w 4926185"/>
              <a:gd name="connsiteY2" fmla="*/ 5521565 h 5525659"/>
              <a:gd name="connsiteX3" fmla="*/ 0 w 4926185"/>
              <a:gd name="connsiteY3" fmla="*/ 5525659 h 5525659"/>
              <a:gd name="connsiteX4" fmla="*/ 1 w 4926185"/>
              <a:gd name="connsiteY4" fmla="*/ 4094 h 5525659"/>
              <a:gd name="connsiteX0" fmla="*/ 1 w 4926185"/>
              <a:gd name="connsiteY0" fmla="*/ 1 h 5525659"/>
              <a:gd name="connsiteX1" fmla="*/ 4926185 w 4926185"/>
              <a:gd name="connsiteY1" fmla="*/ 0 h 5525659"/>
              <a:gd name="connsiteX2" fmla="*/ 2819409 w 4926185"/>
              <a:gd name="connsiteY2" fmla="*/ 5521565 h 5525659"/>
              <a:gd name="connsiteX3" fmla="*/ 0 w 4926185"/>
              <a:gd name="connsiteY3" fmla="*/ 5525659 h 5525659"/>
              <a:gd name="connsiteX4" fmla="*/ 1 w 4926185"/>
              <a:gd name="connsiteY4" fmla="*/ 1 h 55256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26185" h="5525659">
                <a:moveTo>
                  <a:pt x="1" y="1"/>
                </a:moveTo>
                <a:lnTo>
                  <a:pt x="4926185" y="0"/>
                </a:lnTo>
                <a:lnTo>
                  <a:pt x="2819409" y="5521565"/>
                </a:lnTo>
                <a:lnTo>
                  <a:pt x="0" y="5525659"/>
                </a:lnTo>
                <a:cubicBezTo>
                  <a:pt x="0" y="3681044"/>
                  <a:pt x="1" y="1844616"/>
                  <a:pt x="1" y="1"/>
                </a:cubicBezTo>
                <a:close/>
              </a:path>
            </a:pathLst>
          </a:custGeom>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30C1D7"/>
                </a:solidFill>
                <a:prstDash val="solid"/>
                <a:round/>
                <a:headEnd type="none" w="med" len="med"/>
                <a:tailEnd type="none" w="med" len="med"/>
              </a14:hiddenLine>
            </a:ext>
          </a:extLst>
        </p:spPr>
        <p:txBody>
          <a:bodyPr anchor="ctr"/>
          <a:lstStyle>
            <a:lvl1pPr marL="228600" marR="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a:solidFill>
                  <a:srgbClr val="FFFFFF"/>
                </a:solidFill>
              </a:defRPr>
            </a:lvl1pPr>
          </a:lstStyle>
          <a:p>
            <a:pPr marL="228600" marR="0" lvl="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Drag picture to placeholder </a:t>
            </a:r>
            <a:br>
              <a:rPr lang="en-US" dirty="0"/>
            </a:br>
            <a:r>
              <a:rPr lang="en-US" dirty="0"/>
              <a:t>or click icon to add</a:t>
            </a:r>
          </a:p>
        </p:txBody>
      </p:sp>
      <p:sp>
        <p:nvSpPr>
          <p:cNvPr id="7" name="Rectangle 6">
            <a:extLst>
              <a:ext uri="{FF2B5EF4-FFF2-40B4-BE49-F238E27FC236}">
                <a16:creationId xmlns:a16="http://schemas.microsoft.com/office/drawing/2014/main" id="{704E0539-9C24-4E5A-9DE9-8AB388D39764}"/>
              </a:ext>
            </a:extLst>
          </p:cNvPr>
          <p:cNvSpPr/>
          <p:nvPr userDrawn="1"/>
        </p:nvSpPr>
        <p:spPr>
          <a:xfrm>
            <a:off x="3051745"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8" name="Rectangle 7">
            <a:extLst>
              <a:ext uri="{FF2B5EF4-FFF2-40B4-BE49-F238E27FC236}">
                <a16:creationId xmlns:a16="http://schemas.microsoft.com/office/drawing/2014/main" id="{B40435C7-9C55-450B-8569-D5205A33B052}"/>
              </a:ext>
            </a:extLst>
          </p:cNvPr>
          <p:cNvSpPr/>
          <p:nvPr userDrawn="1"/>
        </p:nvSpPr>
        <p:spPr>
          <a:xfrm>
            <a:off x="7490"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9" name="Rectangle 8">
            <a:extLst>
              <a:ext uri="{FF2B5EF4-FFF2-40B4-BE49-F238E27FC236}">
                <a16:creationId xmlns:a16="http://schemas.microsoft.com/office/drawing/2014/main" id="{F5A9DED1-ECD1-4E25-A9F1-B6AF0EF3D3F3}"/>
              </a:ext>
            </a:extLst>
          </p:cNvPr>
          <p:cNvSpPr/>
          <p:nvPr userDrawn="1"/>
        </p:nvSpPr>
        <p:spPr>
          <a:xfrm>
            <a:off x="9149414"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0" name="Rectangle 9">
            <a:extLst>
              <a:ext uri="{FF2B5EF4-FFF2-40B4-BE49-F238E27FC236}">
                <a16:creationId xmlns:a16="http://schemas.microsoft.com/office/drawing/2014/main" id="{7D3AD07D-4D0D-4DC8-A62B-1BD2024ECA1D}"/>
              </a:ext>
            </a:extLst>
          </p:cNvPr>
          <p:cNvSpPr/>
          <p:nvPr userDrawn="1"/>
        </p:nvSpPr>
        <p:spPr>
          <a:xfrm>
            <a:off x="6105159"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Tree>
    <p:extLst>
      <p:ext uri="{BB962C8B-B14F-4D97-AF65-F5344CB8AC3E}">
        <p14:creationId xmlns:p14="http://schemas.microsoft.com/office/powerpoint/2010/main" val="172717846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Angled image+featured content (left) ">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799C6CA-CACC-40BA-A825-A176D22A874B}"/>
              </a:ext>
            </a:extLst>
          </p:cNvPr>
          <p:cNvGraphicFramePr>
            <a:graphicFrameLocks noChangeAspect="1"/>
          </p:cNvGraphicFramePr>
          <p:nvPr userDrawn="1">
            <p:custDataLst>
              <p:tags r:id="rId2"/>
            </p:custDataLst>
            <p:extLst>
              <p:ext uri="{D42A27DB-BD31-4B8C-83A1-F6EECF244321}">
                <p14:modId xmlns:p14="http://schemas.microsoft.com/office/powerpoint/2010/main" val="5809365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0" name="think-cell Slide" r:id="rId5" imgW="473" imgH="474" progId="TCLayout.ActiveDocument.1">
                  <p:embed/>
                </p:oleObj>
              </mc:Choice>
              <mc:Fallback>
                <p:oleObj name="think-cell Slide" r:id="rId5" imgW="473" imgH="474" progId="TCLayout.ActiveDocument.1">
                  <p:embed/>
                  <p:pic>
                    <p:nvPicPr>
                      <p:cNvPr id="3" name="Object 2" hidden="1">
                        <a:extLst>
                          <a:ext uri="{FF2B5EF4-FFF2-40B4-BE49-F238E27FC236}">
                            <a16:creationId xmlns:a16="http://schemas.microsoft.com/office/drawing/2014/main" id="{8799C6CA-CACC-40BA-A825-A176D22A874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00FC0C89-C1CE-4776-A3D4-6245EB1A333E}"/>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Verdana" panose="020B0604030504040204" pitchFamily="34" charset="0"/>
              <a:ea typeface="+mj-ea"/>
              <a:cs typeface="+mj-cs"/>
              <a:sym typeface="Verdana" panose="020B0604030504040204" pitchFamily="34" charset="0"/>
            </a:endParaRPr>
          </a:p>
        </p:txBody>
      </p:sp>
      <p:sp>
        <p:nvSpPr>
          <p:cNvPr id="4" name="CuadroTexto 64">
            <a:extLst>
              <a:ext uri="{FF2B5EF4-FFF2-40B4-BE49-F238E27FC236}">
                <a16:creationId xmlns:a16="http://schemas.microsoft.com/office/drawing/2014/main" id="{CC2249F8-C077-487B-9BA3-4B911902A356}"/>
              </a:ext>
            </a:extLst>
          </p:cNvPr>
          <p:cNvSpPr txBox="1"/>
          <p:nvPr userDrawn="1"/>
        </p:nvSpPr>
        <p:spPr>
          <a:xfrm>
            <a:off x="10882303" y="6449284"/>
            <a:ext cx="936214" cy="138499"/>
          </a:xfrm>
          <a:prstGeom prst="rect">
            <a:avLst/>
          </a:prstGeom>
          <a:noFill/>
        </p:spPr>
        <p:txBody>
          <a:bodyPr wrap="square" lIns="0" tIns="0" rIns="0" bIns="0" rtlCol="0">
            <a:spAutoFit/>
          </a:bodyPr>
          <a:lstStyle/>
          <a:p>
            <a:pPr algn="r"/>
            <a:fld id="{A4EEDD72-1D6A-6B46-BCFA-C211F73E9379}" type="slidenum">
              <a:rPr lang="es-ES" sz="900" b="1" smtClean="0">
                <a:solidFill>
                  <a:schemeClr val="bg1"/>
                </a:solidFill>
                <a:latin typeface="Verdana" panose="020B0604030504040204" pitchFamily="34" charset="0"/>
                <a:ea typeface="Verdana" panose="020B0604030504040204" pitchFamily="34" charset="0"/>
                <a:cs typeface="Verdana" panose="020B0604030504040204" pitchFamily="34" charset="0"/>
              </a:rPr>
              <a:pPr algn="r"/>
              <a:t>‹N›</a:t>
            </a:fld>
            <a:endParaRPr lang="es-ES" sz="90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9" name="CuadroTexto 64">
            <a:extLst>
              <a:ext uri="{FF2B5EF4-FFF2-40B4-BE49-F238E27FC236}">
                <a16:creationId xmlns:a16="http://schemas.microsoft.com/office/drawing/2014/main" id="{08E9C9DD-93B5-4058-A8FA-3D88D1252332}"/>
              </a:ext>
            </a:extLst>
          </p:cNvPr>
          <p:cNvSpPr txBox="1"/>
          <p:nvPr userDrawn="1"/>
        </p:nvSpPr>
        <p:spPr>
          <a:xfrm>
            <a:off x="11034703" y="6601684"/>
            <a:ext cx="936214" cy="138499"/>
          </a:xfrm>
          <a:prstGeom prst="rect">
            <a:avLst/>
          </a:prstGeom>
          <a:noFill/>
        </p:spPr>
        <p:txBody>
          <a:bodyPr wrap="square" lIns="0" tIns="0" rIns="0" bIns="0" rtlCol="0">
            <a:spAutoFit/>
          </a:bodyPr>
          <a:lstStyle/>
          <a:p>
            <a:pPr algn="r"/>
            <a:fld id="{A4EEDD72-1D6A-6B46-BCFA-C211F73E9379}" type="slidenum">
              <a:rPr lang="es-ES" sz="900" b="1" smtClean="0">
                <a:solidFill>
                  <a:schemeClr val="accent1"/>
                </a:solidFill>
                <a:latin typeface="Verdana" panose="020B0604030504040204" pitchFamily="34" charset="0"/>
                <a:ea typeface="Verdana" panose="020B0604030504040204" pitchFamily="34" charset="0"/>
                <a:cs typeface="Verdana" panose="020B0604030504040204" pitchFamily="34" charset="0"/>
              </a:rPr>
              <a:pPr algn="r"/>
              <a:t>‹N›</a:t>
            </a:fld>
            <a:endParaRPr lang="es-ES" sz="900" b="1" dirty="0">
              <a:solidFill>
                <a:schemeClr val="accent1"/>
              </a:solidFill>
              <a:latin typeface="Verdana" panose="020B0604030504040204" pitchFamily="34" charset="0"/>
              <a:ea typeface="Verdana" panose="020B0604030504040204" pitchFamily="34" charset="0"/>
              <a:cs typeface="Verdana" panose="020B0604030504040204" pitchFamily="34" charset="0"/>
            </a:endParaRPr>
          </a:p>
        </p:txBody>
      </p:sp>
      <p:sp>
        <p:nvSpPr>
          <p:cNvPr id="12" name="Marcador de texto 2">
            <a:extLst>
              <a:ext uri="{FF2B5EF4-FFF2-40B4-BE49-F238E27FC236}">
                <a16:creationId xmlns:a16="http://schemas.microsoft.com/office/drawing/2014/main" id="{CF8B2027-CADA-4A55-866F-0018F2D74C47}"/>
              </a:ext>
            </a:extLst>
          </p:cNvPr>
          <p:cNvSpPr>
            <a:spLocks noGrp="1"/>
          </p:cNvSpPr>
          <p:nvPr>
            <p:ph type="body" idx="10" hasCustomPrompt="1"/>
          </p:nvPr>
        </p:nvSpPr>
        <p:spPr>
          <a:xfrm>
            <a:off x="368790" y="722639"/>
            <a:ext cx="8067556" cy="324000"/>
          </a:xfrm>
          <a:prstGeom prst="rect">
            <a:avLst/>
          </a:prstGeom>
        </p:spPr>
        <p:txBody>
          <a:bodyPr lIns="0" tIns="0" rIns="0" bIns="0" anchor="t"/>
          <a:lstStyle>
            <a:lvl1pPr marL="0" indent="0">
              <a:lnSpc>
                <a:spcPct val="100000"/>
              </a:lnSpc>
              <a:spcBef>
                <a:spcPts val="0"/>
              </a:spcBef>
              <a:buNone/>
              <a:defRPr sz="2000" b="0">
                <a:solidFill>
                  <a:srgbClr val="000000"/>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err="1"/>
              <a:t>Subtitle</a:t>
            </a:r>
            <a:endParaRPr lang="es-ES" dirty="0"/>
          </a:p>
        </p:txBody>
      </p:sp>
      <p:sp>
        <p:nvSpPr>
          <p:cNvPr id="13" name="Title 4">
            <a:extLst>
              <a:ext uri="{FF2B5EF4-FFF2-40B4-BE49-F238E27FC236}">
                <a16:creationId xmlns:a16="http://schemas.microsoft.com/office/drawing/2014/main" id="{67CC2087-C2AD-4503-B547-64C2129C7361}"/>
              </a:ext>
            </a:extLst>
          </p:cNvPr>
          <p:cNvSpPr>
            <a:spLocks noGrp="1"/>
          </p:cNvSpPr>
          <p:nvPr>
            <p:ph type="title"/>
          </p:nvPr>
        </p:nvSpPr>
        <p:spPr>
          <a:xfrm>
            <a:off x="367200" y="252000"/>
            <a:ext cx="8068775" cy="432000"/>
          </a:xfrm>
        </p:spPr>
        <p:txBody>
          <a:bodyPr/>
          <a:lstStyle/>
          <a:p>
            <a:r>
              <a:rPr lang="en-US"/>
              <a:t>Click to edit Master title style</a:t>
            </a:r>
          </a:p>
        </p:txBody>
      </p:sp>
      <p:sp>
        <p:nvSpPr>
          <p:cNvPr id="14" name="Text Placeholder 12" descr="Body text will be presented like this">
            <a:extLst>
              <a:ext uri="{FF2B5EF4-FFF2-40B4-BE49-F238E27FC236}">
                <a16:creationId xmlns:a16="http://schemas.microsoft.com/office/drawing/2014/main" id="{01B223B4-02BB-4FF0-8A80-1EAB225C9DB4}"/>
              </a:ext>
            </a:extLst>
          </p:cNvPr>
          <p:cNvSpPr>
            <a:spLocks noGrp="1"/>
          </p:cNvSpPr>
          <p:nvPr>
            <p:ph type="body" sz="quarter" idx="14" hasCustomPrompt="1"/>
          </p:nvPr>
        </p:nvSpPr>
        <p:spPr>
          <a:xfrm>
            <a:off x="947738" y="1951367"/>
            <a:ext cx="5148262" cy="872838"/>
          </a:xfrm>
          <a:prstGeom prst="rect">
            <a:avLst/>
          </a:prstGeom>
        </p:spPr>
        <p:txBody>
          <a:bodyPr wrap="square" lIns="0" tIns="0" rIns="0" bIns="0"/>
          <a:lstStyle>
            <a:lvl1pPr marL="0" indent="0" algn="l">
              <a:lnSpc>
                <a:spcPct val="110000"/>
              </a:lnSpc>
              <a:spcBef>
                <a:spcPts val="0"/>
              </a:spcBef>
              <a:buNone/>
              <a:defRPr sz="1400" b="0">
                <a:latin typeface="+mn-lt"/>
              </a:defRPr>
            </a:lvl1pPr>
            <a:lvl2pPr marL="0" indent="0">
              <a:lnSpc>
                <a:spcPct val="120000"/>
              </a:lnSpc>
              <a:defRPr sz="1200"/>
            </a:lvl2pPr>
            <a:lvl3pPr>
              <a:defRPr sz="1600"/>
            </a:lvl3pPr>
            <a:lvl4pPr>
              <a:defRPr sz="1600"/>
            </a:lvl4pPr>
            <a:lvl5pPr>
              <a:defRPr sz="1600"/>
            </a:lvl5pPr>
          </a:lstStyle>
          <a:p>
            <a:pPr lvl="0"/>
            <a:r>
              <a:rPr lang="en-US" dirty="0"/>
              <a:t>Click to edit Master text styles</a:t>
            </a:r>
          </a:p>
        </p:txBody>
      </p:sp>
      <p:sp>
        <p:nvSpPr>
          <p:cNvPr id="15" name="Marcador de texto 5">
            <a:extLst>
              <a:ext uri="{FF2B5EF4-FFF2-40B4-BE49-F238E27FC236}">
                <a16:creationId xmlns:a16="http://schemas.microsoft.com/office/drawing/2014/main" id="{11953EB9-C648-4B79-853F-4D9A8D37AB21}"/>
              </a:ext>
            </a:extLst>
          </p:cNvPr>
          <p:cNvSpPr>
            <a:spLocks noGrp="1"/>
          </p:cNvSpPr>
          <p:nvPr>
            <p:ph type="body" sz="quarter" idx="28" hasCustomPrompt="1"/>
          </p:nvPr>
        </p:nvSpPr>
        <p:spPr>
          <a:xfrm>
            <a:off x="947738" y="1584167"/>
            <a:ext cx="2628000" cy="239712"/>
          </a:xfrm>
          <a:prstGeom prst="rect">
            <a:avLst/>
          </a:prstGeom>
        </p:spPr>
        <p:txBody>
          <a:bodyPr lIns="0" tIns="0" rIns="0" bIns="0"/>
          <a:lstStyle>
            <a:lvl1pPr marL="0" indent="0" algn="l">
              <a:lnSpc>
                <a:spcPct val="110000"/>
              </a:lnSpc>
              <a:buNone/>
              <a:defRPr sz="1600" b="1">
                <a:latin typeface="+mj-lt"/>
              </a:defRPr>
            </a:lvl1pPr>
            <a:lvl2pPr indent="0">
              <a:lnSpc>
                <a:spcPct val="110000"/>
              </a:lnSpc>
              <a:buNone/>
              <a:defRPr sz="1000" b="1">
                <a:latin typeface="+mj-lt"/>
              </a:defRPr>
            </a:lvl2pPr>
            <a:lvl3pPr indent="0">
              <a:lnSpc>
                <a:spcPct val="110000"/>
              </a:lnSpc>
              <a:buNone/>
              <a:defRPr sz="1000" b="1">
                <a:latin typeface="+mj-lt"/>
              </a:defRPr>
            </a:lvl3pPr>
            <a:lvl4pPr indent="0">
              <a:lnSpc>
                <a:spcPct val="110000"/>
              </a:lnSpc>
              <a:buNone/>
              <a:defRPr sz="1000" b="1">
                <a:latin typeface="+mj-lt"/>
              </a:defRPr>
            </a:lvl4pPr>
            <a:lvl5pPr indent="0">
              <a:lnSpc>
                <a:spcPct val="110000"/>
              </a:lnSpc>
              <a:buNone/>
              <a:defRPr sz="1000" b="1">
                <a:latin typeface="+mj-lt"/>
              </a:defRPr>
            </a:lvl5pPr>
          </a:lstStyle>
          <a:p>
            <a:pPr lvl="0"/>
            <a:r>
              <a:rPr lang="es-ES" dirty="0" err="1"/>
              <a:t>Title</a:t>
            </a:r>
            <a:endParaRPr lang="en-GB" dirty="0"/>
          </a:p>
        </p:txBody>
      </p:sp>
      <p:sp>
        <p:nvSpPr>
          <p:cNvPr id="16" name="Text Placeholder 12" descr="Body text will be presented like this">
            <a:extLst>
              <a:ext uri="{FF2B5EF4-FFF2-40B4-BE49-F238E27FC236}">
                <a16:creationId xmlns:a16="http://schemas.microsoft.com/office/drawing/2014/main" id="{EB4ED9F0-E546-4459-8513-5347A1A90CF2}"/>
              </a:ext>
            </a:extLst>
          </p:cNvPr>
          <p:cNvSpPr>
            <a:spLocks noGrp="1"/>
          </p:cNvSpPr>
          <p:nvPr>
            <p:ph type="body" sz="quarter" idx="29" hasCustomPrompt="1"/>
          </p:nvPr>
        </p:nvSpPr>
        <p:spPr>
          <a:xfrm>
            <a:off x="947738" y="3495142"/>
            <a:ext cx="5148262" cy="872838"/>
          </a:xfrm>
          <a:prstGeom prst="rect">
            <a:avLst/>
          </a:prstGeom>
        </p:spPr>
        <p:txBody>
          <a:bodyPr wrap="square" lIns="0" tIns="0" rIns="0" bIns="0"/>
          <a:lstStyle>
            <a:lvl1pPr marL="0" indent="0" algn="l">
              <a:lnSpc>
                <a:spcPct val="110000"/>
              </a:lnSpc>
              <a:spcBef>
                <a:spcPts val="0"/>
              </a:spcBef>
              <a:buNone/>
              <a:defRPr sz="1400" b="0">
                <a:latin typeface="+mn-lt"/>
              </a:defRPr>
            </a:lvl1pPr>
            <a:lvl2pPr marL="0" indent="0">
              <a:lnSpc>
                <a:spcPct val="120000"/>
              </a:lnSpc>
              <a:defRPr sz="1200"/>
            </a:lvl2pPr>
            <a:lvl3pPr>
              <a:defRPr sz="1600"/>
            </a:lvl3pPr>
            <a:lvl4pPr>
              <a:defRPr sz="1600"/>
            </a:lvl4pPr>
            <a:lvl5pPr>
              <a:defRPr sz="1600"/>
            </a:lvl5pPr>
          </a:lstStyle>
          <a:p>
            <a:pPr lvl="0"/>
            <a:r>
              <a:rPr lang="en-US" dirty="0"/>
              <a:t>Click to edit Master text styles</a:t>
            </a:r>
          </a:p>
        </p:txBody>
      </p:sp>
      <p:sp>
        <p:nvSpPr>
          <p:cNvPr id="17" name="Marcador de texto 5">
            <a:extLst>
              <a:ext uri="{FF2B5EF4-FFF2-40B4-BE49-F238E27FC236}">
                <a16:creationId xmlns:a16="http://schemas.microsoft.com/office/drawing/2014/main" id="{2003E94C-F30A-4344-AE01-6B928467B6F5}"/>
              </a:ext>
            </a:extLst>
          </p:cNvPr>
          <p:cNvSpPr>
            <a:spLocks noGrp="1"/>
          </p:cNvSpPr>
          <p:nvPr>
            <p:ph type="body" sz="quarter" idx="30" hasCustomPrompt="1"/>
          </p:nvPr>
        </p:nvSpPr>
        <p:spPr>
          <a:xfrm>
            <a:off x="947738" y="3127942"/>
            <a:ext cx="2628000" cy="239712"/>
          </a:xfrm>
          <a:prstGeom prst="rect">
            <a:avLst/>
          </a:prstGeom>
        </p:spPr>
        <p:txBody>
          <a:bodyPr lIns="0" tIns="0" rIns="0" bIns="0"/>
          <a:lstStyle>
            <a:lvl1pPr marL="0" indent="0" algn="l">
              <a:lnSpc>
                <a:spcPct val="110000"/>
              </a:lnSpc>
              <a:buNone/>
              <a:defRPr sz="1600" b="1">
                <a:latin typeface="+mj-lt"/>
              </a:defRPr>
            </a:lvl1pPr>
            <a:lvl2pPr indent="0">
              <a:lnSpc>
                <a:spcPct val="110000"/>
              </a:lnSpc>
              <a:buNone/>
              <a:defRPr sz="1000" b="1">
                <a:latin typeface="+mj-lt"/>
              </a:defRPr>
            </a:lvl2pPr>
            <a:lvl3pPr indent="0">
              <a:lnSpc>
                <a:spcPct val="110000"/>
              </a:lnSpc>
              <a:buNone/>
              <a:defRPr sz="1000" b="1">
                <a:latin typeface="+mj-lt"/>
              </a:defRPr>
            </a:lvl3pPr>
            <a:lvl4pPr indent="0">
              <a:lnSpc>
                <a:spcPct val="110000"/>
              </a:lnSpc>
              <a:buNone/>
              <a:defRPr sz="1000" b="1">
                <a:latin typeface="+mj-lt"/>
              </a:defRPr>
            </a:lvl4pPr>
            <a:lvl5pPr indent="0">
              <a:lnSpc>
                <a:spcPct val="110000"/>
              </a:lnSpc>
              <a:buNone/>
              <a:defRPr sz="1000" b="1">
                <a:latin typeface="+mj-lt"/>
              </a:defRPr>
            </a:lvl5pPr>
          </a:lstStyle>
          <a:p>
            <a:pPr lvl="0"/>
            <a:r>
              <a:rPr lang="es-ES" dirty="0" err="1"/>
              <a:t>Title</a:t>
            </a:r>
            <a:endParaRPr lang="en-GB" dirty="0"/>
          </a:p>
        </p:txBody>
      </p:sp>
      <p:sp>
        <p:nvSpPr>
          <p:cNvPr id="18" name="Text Placeholder 12" descr="Body text will be presented like this">
            <a:extLst>
              <a:ext uri="{FF2B5EF4-FFF2-40B4-BE49-F238E27FC236}">
                <a16:creationId xmlns:a16="http://schemas.microsoft.com/office/drawing/2014/main" id="{ABCB863E-CD12-4AE9-AE7D-E5C529E91156}"/>
              </a:ext>
            </a:extLst>
          </p:cNvPr>
          <p:cNvSpPr>
            <a:spLocks noGrp="1"/>
          </p:cNvSpPr>
          <p:nvPr>
            <p:ph type="body" sz="quarter" idx="31" hasCustomPrompt="1"/>
          </p:nvPr>
        </p:nvSpPr>
        <p:spPr>
          <a:xfrm>
            <a:off x="947738" y="5038917"/>
            <a:ext cx="5148262" cy="872838"/>
          </a:xfrm>
          <a:prstGeom prst="rect">
            <a:avLst/>
          </a:prstGeom>
        </p:spPr>
        <p:txBody>
          <a:bodyPr wrap="square" lIns="0" tIns="0" rIns="0" bIns="0"/>
          <a:lstStyle>
            <a:lvl1pPr marL="0" indent="0" algn="l">
              <a:lnSpc>
                <a:spcPct val="110000"/>
              </a:lnSpc>
              <a:spcBef>
                <a:spcPts val="0"/>
              </a:spcBef>
              <a:buNone/>
              <a:defRPr sz="1400" b="0">
                <a:latin typeface="+mn-lt"/>
              </a:defRPr>
            </a:lvl1pPr>
            <a:lvl2pPr marL="0" indent="0">
              <a:lnSpc>
                <a:spcPct val="120000"/>
              </a:lnSpc>
              <a:defRPr sz="1200"/>
            </a:lvl2pPr>
            <a:lvl3pPr>
              <a:defRPr sz="1600"/>
            </a:lvl3pPr>
            <a:lvl4pPr>
              <a:defRPr sz="1600"/>
            </a:lvl4pPr>
            <a:lvl5pPr>
              <a:defRPr sz="1600"/>
            </a:lvl5pPr>
          </a:lstStyle>
          <a:p>
            <a:pPr lvl="0"/>
            <a:r>
              <a:rPr lang="en-US" dirty="0"/>
              <a:t>Click to edit Master text styles</a:t>
            </a:r>
          </a:p>
        </p:txBody>
      </p:sp>
      <p:sp>
        <p:nvSpPr>
          <p:cNvPr id="19" name="Marcador de texto 5">
            <a:extLst>
              <a:ext uri="{FF2B5EF4-FFF2-40B4-BE49-F238E27FC236}">
                <a16:creationId xmlns:a16="http://schemas.microsoft.com/office/drawing/2014/main" id="{F0FC943F-19E3-40EB-A742-E957821227BC}"/>
              </a:ext>
            </a:extLst>
          </p:cNvPr>
          <p:cNvSpPr>
            <a:spLocks noGrp="1"/>
          </p:cNvSpPr>
          <p:nvPr>
            <p:ph type="body" sz="quarter" idx="32" hasCustomPrompt="1"/>
          </p:nvPr>
        </p:nvSpPr>
        <p:spPr>
          <a:xfrm>
            <a:off x="947738" y="4671717"/>
            <a:ext cx="2628000" cy="239712"/>
          </a:xfrm>
          <a:prstGeom prst="rect">
            <a:avLst/>
          </a:prstGeom>
        </p:spPr>
        <p:txBody>
          <a:bodyPr lIns="0" tIns="0" rIns="0" bIns="0"/>
          <a:lstStyle>
            <a:lvl1pPr marL="0" indent="0" algn="l">
              <a:lnSpc>
                <a:spcPct val="110000"/>
              </a:lnSpc>
              <a:buNone/>
              <a:defRPr sz="1600" b="1">
                <a:latin typeface="+mj-lt"/>
              </a:defRPr>
            </a:lvl1pPr>
            <a:lvl2pPr indent="0">
              <a:lnSpc>
                <a:spcPct val="110000"/>
              </a:lnSpc>
              <a:buNone/>
              <a:defRPr sz="1000" b="1">
                <a:latin typeface="+mj-lt"/>
              </a:defRPr>
            </a:lvl2pPr>
            <a:lvl3pPr indent="0">
              <a:lnSpc>
                <a:spcPct val="110000"/>
              </a:lnSpc>
              <a:buNone/>
              <a:defRPr sz="1000" b="1">
                <a:latin typeface="+mj-lt"/>
              </a:defRPr>
            </a:lvl3pPr>
            <a:lvl4pPr indent="0">
              <a:lnSpc>
                <a:spcPct val="110000"/>
              </a:lnSpc>
              <a:buNone/>
              <a:defRPr sz="1000" b="1">
                <a:latin typeface="+mj-lt"/>
              </a:defRPr>
            </a:lvl4pPr>
            <a:lvl5pPr indent="0">
              <a:lnSpc>
                <a:spcPct val="110000"/>
              </a:lnSpc>
              <a:buNone/>
              <a:defRPr sz="1000" b="1">
                <a:latin typeface="+mj-lt"/>
              </a:defRPr>
            </a:lvl5pPr>
          </a:lstStyle>
          <a:p>
            <a:pPr lvl="0"/>
            <a:r>
              <a:rPr lang="es-ES" dirty="0" err="1"/>
              <a:t>Title</a:t>
            </a:r>
            <a:endParaRPr lang="en-GB" dirty="0"/>
          </a:p>
        </p:txBody>
      </p:sp>
      <p:pic>
        <p:nvPicPr>
          <p:cNvPr id="20" name="Graphic 10">
            <a:extLst>
              <a:ext uri="{FF2B5EF4-FFF2-40B4-BE49-F238E27FC236}">
                <a16:creationId xmlns:a16="http://schemas.microsoft.com/office/drawing/2014/main" id="{35F9E0C5-8FB9-4FF5-B107-1BFE331BD34B}"/>
              </a:ext>
            </a:extLst>
          </p:cNvPr>
          <p:cNvPicPr>
            <a:picLocks noChangeAspect="1"/>
          </p:cNvPicPr>
          <p:nvPr userDrawn="1"/>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70517" y="6420188"/>
            <a:ext cx="675863" cy="162467"/>
          </a:xfrm>
          <a:prstGeom prst="rect">
            <a:avLst/>
          </a:prstGeom>
        </p:spPr>
      </p:pic>
      <p:sp>
        <p:nvSpPr>
          <p:cNvPr id="21" name="Marcador de posición de imagen 2">
            <a:extLst>
              <a:ext uri="{FF2B5EF4-FFF2-40B4-BE49-F238E27FC236}">
                <a16:creationId xmlns:a16="http://schemas.microsoft.com/office/drawing/2014/main" id="{9D2999F6-7E2A-41F3-97C5-28E6F6F4EDC9}"/>
              </a:ext>
            </a:extLst>
          </p:cNvPr>
          <p:cNvSpPr>
            <a:spLocks noGrp="1"/>
          </p:cNvSpPr>
          <p:nvPr>
            <p:ph type="pic" sz="quarter" idx="12" hasCustomPrompt="1"/>
          </p:nvPr>
        </p:nvSpPr>
        <p:spPr>
          <a:xfrm>
            <a:off x="6538529" y="-14050"/>
            <a:ext cx="5670915" cy="6877222"/>
          </a:xfrm>
          <a:custGeom>
            <a:avLst/>
            <a:gdLst>
              <a:gd name="connsiteX0" fmla="*/ 0 w 4592124"/>
              <a:gd name="connsiteY0" fmla="*/ 0 h 6858000"/>
              <a:gd name="connsiteX1" fmla="*/ 4592124 w 4592124"/>
              <a:gd name="connsiteY1" fmla="*/ 0 h 6858000"/>
              <a:gd name="connsiteX2" fmla="*/ 4592124 w 4592124"/>
              <a:gd name="connsiteY2" fmla="*/ 6858000 h 6858000"/>
              <a:gd name="connsiteX3" fmla="*/ 0 w 4592124"/>
              <a:gd name="connsiteY3" fmla="*/ 6858000 h 6858000"/>
              <a:gd name="connsiteX4" fmla="*/ 0 w 4592124"/>
              <a:gd name="connsiteY4" fmla="*/ 0 h 6858000"/>
              <a:gd name="connsiteX0" fmla="*/ 2549525 w 4592124"/>
              <a:gd name="connsiteY0" fmla="*/ 1058 h 6858000"/>
              <a:gd name="connsiteX1" fmla="*/ 4592124 w 4592124"/>
              <a:gd name="connsiteY1" fmla="*/ 0 h 6858000"/>
              <a:gd name="connsiteX2" fmla="*/ 4592124 w 4592124"/>
              <a:gd name="connsiteY2" fmla="*/ 6858000 h 6858000"/>
              <a:gd name="connsiteX3" fmla="*/ 0 w 4592124"/>
              <a:gd name="connsiteY3" fmla="*/ 6858000 h 6858000"/>
              <a:gd name="connsiteX4" fmla="*/ 2549525 w 4592124"/>
              <a:gd name="connsiteY4" fmla="*/ 1058 h 6858000"/>
              <a:gd name="connsiteX0" fmla="*/ 2549525 w 4592124"/>
              <a:gd name="connsiteY0" fmla="*/ 0 h 6856942"/>
              <a:gd name="connsiteX1" fmla="*/ 4592124 w 4592124"/>
              <a:gd name="connsiteY1" fmla="*/ 1371762 h 6856942"/>
              <a:gd name="connsiteX2" fmla="*/ 4592124 w 4592124"/>
              <a:gd name="connsiteY2" fmla="*/ 6856942 h 6856942"/>
              <a:gd name="connsiteX3" fmla="*/ 0 w 4592124"/>
              <a:gd name="connsiteY3" fmla="*/ 6856942 h 6856942"/>
              <a:gd name="connsiteX4" fmla="*/ 2549525 w 4592124"/>
              <a:gd name="connsiteY4" fmla="*/ 0 h 6856942"/>
              <a:gd name="connsiteX0" fmla="*/ 2045812 w 4592124"/>
              <a:gd name="connsiteY0" fmla="*/ 1058 h 5485180"/>
              <a:gd name="connsiteX1" fmla="*/ 4592124 w 4592124"/>
              <a:gd name="connsiteY1" fmla="*/ 0 h 5485180"/>
              <a:gd name="connsiteX2" fmla="*/ 4592124 w 4592124"/>
              <a:gd name="connsiteY2" fmla="*/ 5485180 h 5485180"/>
              <a:gd name="connsiteX3" fmla="*/ 0 w 4592124"/>
              <a:gd name="connsiteY3" fmla="*/ 5485180 h 5485180"/>
              <a:gd name="connsiteX4" fmla="*/ 2045812 w 4592124"/>
              <a:gd name="connsiteY4" fmla="*/ 1058 h 5485180"/>
              <a:gd name="connsiteX0" fmla="*/ 2028628 w 4592124"/>
              <a:gd name="connsiteY0" fmla="*/ 36027 h 5485180"/>
              <a:gd name="connsiteX1" fmla="*/ 4592124 w 4592124"/>
              <a:gd name="connsiteY1" fmla="*/ 0 h 5485180"/>
              <a:gd name="connsiteX2" fmla="*/ 4592124 w 4592124"/>
              <a:gd name="connsiteY2" fmla="*/ 5485180 h 5485180"/>
              <a:gd name="connsiteX3" fmla="*/ 0 w 4592124"/>
              <a:gd name="connsiteY3" fmla="*/ 5485180 h 5485180"/>
              <a:gd name="connsiteX4" fmla="*/ 2028628 w 4592124"/>
              <a:gd name="connsiteY4" fmla="*/ 36027 h 5485180"/>
              <a:gd name="connsiteX0" fmla="*/ 2028628 w 4592124"/>
              <a:gd name="connsiteY0" fmla="*/ 4509 h 5453662"/>
              <a:gd name="connsiteX1" fmla="*/ 4568296 w 4592124"/>
              <a:gd name="connsiteY1" fmla="*/ 0 h 5453662"/>
              <a:gd name="connsiteX2" fmla="*/ 4592124 w 4592124"/>
              <a:gd name="connsiteY2" fmla="*/ 5453662 h 5453662"/>
              <a:gd name="connsiteX3" fmla="*/ 0 w 4592124"/>
              <a:gd name="connsiteY3" fmla="*/ 5453662 h 5453662"/>
              <a:gd name="connsiteX4" fmla="*/ 2028628 w 4592124"/>
              <a:gd name="connsiteY4" fmla="*/ 4509 h 5453662"/>
              <a:gd name="connsiteX0" fmla="*/ 2028628 w 4743341"/>
              <a:gd name="connsiteY0" fmla="*/ 4509 h 5460656"/>
              <a:gd name="connsiteX1" fmla="*/ 4568296 w 4743341"/>
              <a:gd name="connsiteY1" fmla="*/ 0 h 5460656"/>
              <a:gd name="connsiteX2" fmla="*/ 4743341 w 4743341"/>
              <a:gd name="connsiteY2" fmla="*/ 5460656 h 5460656"/>
              <a:gd name="connsiteX3" fmla="*/ 0 w 4743341"/>
              <a:gd name="connsiteY3" fmla="*/ 5453662 h 5460656"/>
              <a:gd name="connsiteX4" fmla="*/ 2028628 w 4743341"/>
              <a:gd name="connsiteY4" fmla="*/ 4509 h 5460656"/>
              <a:gd name="connsiteX0" fmla="*/ 2028628 w 4760755"/>
              <a:gd name="connsiteY0" fmla="*/ 4509 h 5460656"/>
              <a:gd name="connsiteX1" fmla="*/ 4760755 w 4760755"/>
              <a:gd name="connsiteY1" fmla="*/ 0 h 5460656"/>
              <a:gd name="connsiteX2" fmla="*/ 4743341 w 4760755"/>
              <a:gd name="connsiteY2" fmla="*/ 5460656 h 5460656"/>
              <a:gd name="connsiteX3" fmla="*/ 0 w 4760755"/>
              <a:gd name="connsiteY3" fmla="*/ 5453662 h 5460656"/>
              <a:gd name="connsiteX4" fmla="*/ 2028628 w 4760755"/>
              <a:gd name="connsiteY4" fmla="*/ 4509 h 5460656"/>
              <a:gd name="connsiteX0" fmla="*/ 2042201 w 4774328"/>
              <a:gd name="connsiteY0" fmla="*/ 4509 h 5467473"/>
              <a:gd name="connsiteX1" fmla="*/ 4774328 w 4774328"/>
              <a:gd name="connsiteY1" fmla="*/ 0 h 5467473"/>
              <a:gd name="connsiteX2" fmla="*/ 4756914 w 4774328"/>
              <a:gd name="connsiteY2" fmla="*/ 5460656 h 5467473"/>
              <a:gd name="connsiteX3" fmla="*/ 0 w 4774328"/>
              <a:gd name="connsiteY3" fmla="*/ 5467473 h 5467473"/>
              <a:gd name="connsiteX4" fmla="*/ 2042201 w 4774328"/>
              <a:gd name="connsiteY4" fmla="*/ 4509 h 5467473"/>
              <a:gd name="connsiteX0" fmla="*/ 2042201 w 4774328"/>
              <a:gd name="connsiteY0" fmla="*/ 4509 h 5474466"/>
              <a:gd name="connsiteX1" fmla="*/ 4774328 w 4774328"/>
              <a:gd name="connsiteY1" fmla="*/ 0 h 5474466"/>
              <a:gd name="connsiteX2" fmla="*/ 4765962 w 4774328"/>
              <a:gd name="connsiteY2" fmla="*/ 5474466 h 5474466"/>
              <a:gd name="connsiteX3" fmla="*/ 0 w 4774328"/>
              <a:gd name="connsiteY3" fmla="*/ 5467473 h 5474466"/>
              <a:gd name="connsiteX4" fmla="*/ 2042201 w 4774328"/>
              <a:gd name="connsiteY4" fmla="*/ 4509 h 5474466"/>
              <a:gd name="connsiteX0" fmla="*/ 2042201 w 4778853"/>
              <a:gd name="connsiteY0" fmla="*/ 0 h 5469957"/>
              <a:gd name="connsiteX1" fmla="*/ 4778853 w 4778853"/>
              <a:gd name="connsiteY1" fmla="*/ 4698 h 5469957"/>
              <a:gd name="connsiteX2" fmla="*/ 4765962 w 4778853"/>
              <a:gd name="connsiteY2" fmla="*/ 5469957 h 5469957"/>
              <a:gd name="connsiteX3" fmla="*/ 0 w 4778853"/>
              <a:gd name="connsiteY3" fmla="*/ 5462964 h 5469957"/>
              <a:gd name="connsiteX4" fmla="*/ 2042201 w 4778853"/>
              <a:gd name="connsiteY4" fmla="*/ 0 h 5469957"/>
              <a:gd name="connsiteX0" fmla="*/ 2042201 w 4781135"/>
              <a:gd name="connsiteY0" fmla="*/ 0 h 5462964"/>
              <a:gd name="connsiteX1" fmla="*/ 4778853 w 4781135"/>
              <a:gd name="connsiteY1" fmla="*/ 4698 h 5462964"/>
              <a:gd name="connsiteX2" fmla="*/ 4779535 w 4781135"/>
              <a:gd name="connsiteY2" fmla="*/ 5460751 h 5462964"/>
              <a:gd name="connsiteX3" fmla="*/ 0 w 4781135"/>
              <a:gd name="connsiteY3" fmla="*/ 5462964 h 5462964"/>
              <a:gd name="connsiteX4" fmla="*/ 2042201 w 4781135"/>
              <a:gd name="connsiteY4" fmla="*/ 0 h 5462964"/>
              <a:gd name="connsiteX0" fmla="*/ 2046725 w 4781135"/>
              <a:gd name="connsiteY0" fmla="*/ 0 h 5467567"/>
              <a:gd name="connsiteX1" fmla="*/ 4778853 w 4781135"/>
              <a:gd name="connsiteY1" fmla="*/ 9301 h 5467567"/>
              <a:gd name="connsiteX2" fmla="*/ 4779535 w 4781135"/>
              <a:gd name="connsiteY2" fmla="*/ 5465354 h 5467567"/>
              <a:gd name="connsiteX3" fmla="*/ 0 w 4781135"/>
              <a:gd name="connsiteY3" fmla="*/ 5467567 h 5467567"/>
              <a:gd name="connsiteX4" fmla="*/ 2046725 w 4781135"/>
              <a:gd name="connsiteY4" fmla="*/ 0 h 5467567"/>
              <a:gd name="connsiteX0" fmla="*/ 2046725 w 4779604"/>
              <a:gd name="connsiteY0" fmla="*/ 2821 h 5470388"/>
              <a:gd name="connsiteX1" fmla="*/ 4433343 w 4779604"/>
              <a:gd name="connsiteY1" fmla="*/ 0 h 5470388"/>
              <a:gd name="connsiteX2" fmla="*/ 4779535 w 4779604"/>
              <a:gd name="connsiteY2" fmla="*/ 5468175 h 5470388"/>
              <a:gd name="connsiteX3" fmla="*/ 0 w 4779604"/>
              <a:gd name="connsiteY3" fmla="*/ 5470388 h 5470388"/>
              <a:gd name="connsiteX4" fmla="*/ 2046725 w 4779604"/>
              <a:gd name="connsiteY4" fmla="*/ 2821 h 5470388"/>
              <a:gd name="connsiteX0" fmla="*/ 2046725 w 4433343"/>
              <a:gd name="connsiteY0" fmla="*/ 2821 h 5470388"/>
              <a:gd name="connsiteX1" fmla="*/ 4433343 w 4433343"/>
              <a:gd name="connsiteY1" fmla="*/ 0 h 5470388"/>
              <a:gd name="connsiteX2" fmla="*/ 4426082 w 4433343"/>
              <a:gd name="connsiteY2" fmla="*/ 5468175 h 5470388"/>
              <a:gd name="connsiteX3" fmla="*/ 0 w 4433343"/>
              <a:gd name="connsiteY3" fmla="*/ 5470388 h 5470388"/>
              <a:gd name="connsiteX4" fmla="*/ 2046725 w 4433343"/>
              <a:gd name="connsiteY4" fmla="*/ 2821 h 5470388"/>
              <a:gd name="connsiteX0" fmla="*/ 2046725 w 4433343"/>
              <a:gd name="connsiteY0" fmla="*/ 2821 h 5470388"/>
              <a:gd name="connsiteX1" fmla="*/ 4433343 w 4433343"/>
              <a:gd name="connsiteY1" fmla="*/ 0 h 5470388"/>
              <a:gd name="connsiteX2" fmla="*/ 4426082 w 4433343"/>
              <a:gd name="connsiteY2" fmla="*/ 5468175 h 5470388"/>
              <a:gd name="connsiteX3" fmla="*/ 0 w 4433343"/>
              <a:gd name="connsiteY3" fmla="*/ 5470388 h 5470388"/>
              <a:gd name="connsiteX4" fmla="*/ 2046725 w 4433343"/>
              <a:gd name="connsiteY4" fmla="*/ 2821 h 5470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3343" h="5470388">
                <a:moveTo>
                  <a:pt x="2046725" y="2821"/>
                </a:moveTo>
                <a:lnTo>
                  <a:pt x="4433343" y="0"/>
                </a:lnTo>
                <a:cubicBezTo>
                  <a:pt x="4427538" y="1820219"/>
                  <a:pt x="4431887" y="3647956"/>
                  <a:pt x="4426082" y="5468175"/>
                </a:cubicBezTo>
                <a:lnTo>
                  <a:pt x="0" y="5470388"/>
                </a:lnTo>
                <a:lnTo>
                  <a:pt x="2046725" y="2821"/>
                </a:lnTo>
                <a:close/>
              </a:path>
            </a:pathLst>
          </a:custGeom>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F9900"/>
                </a:solidFill>
                <a:prstDash val="solid"/>
                <a:round/>
                <a:headEnd type="none" w="med" len="med"/>
                <a:tailEnd type="none" w="med" len="med"/>
              </a14:hiddenLine>
            </a:ext>
          </a:extLst>
        </p:spPr>
        <p:txBody>
          <a:bodyPr anchor="ctr"/>
          <a:lstStyle>
            <a:lvl1pPr marL="228600" marR="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a:solidFill>
                  <a:srgbClr val="FFFFFF"/>
                </a:solidFill>
              </a:defRPr>
            </a:lvl1pPr>
          </a:lstStyle>
          <a:p>
            <a:pPr marL="228600" marR="0" lvl="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Drag picture to placeholder </a:t>
            </a:r>
            <a:br>
              <a:rPr lang="en-US" dirty="0"/>
            </a:br>
            <a:r>
              <a:rPr lang="en-US" dirty="0"/>
              <a:t>or click icon to add</a:t>
            </a:r>
          </a:p>
        </p:txBody>
      </p:sp>
      <p:sp>
        <p:nvSpPr>
          <p:cNvPr id="23" name="Rectangle 22">
            <a:extLst>
              <a:ext uri="{FF2B5EF4-FFF2-40B4-BE49-F238E27FC236}">
                <a16:creationId xmlns:a16="http://schemas.microsoft.com/office/drawing/2014/main" id="{7D0DFB76-E40E-4BC4-B5DC-DCD645ACC8BF}"/>
              </a:ext>
            </a:extLst>
          </p:cNvPr>
          <p:cNvSpPr/>
          <p:nvPr userDrawn="1"/>
        </p:nvSpPr>
        <p:spPr>
          <a:xfrm>
            <a:off x="3051745"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4" name="Rectangle 23">
            <a:extLst>
              <a:ext uri="{FF2B5EF4-FFF2-40B4-BE49-F238E27FC236}">
                <a16:creationId xmlns:a16="http://schemas.microsoft.com/office/drawing/2014/main" id="{A6432175-90E4-40EE-B292-F80AF0363540}"/>
              </a:ext>
            </a:extLst>
          </p:cNvPr>
          <p:cNvSpPr/>
          <p:nvPr userDrawn="1"/>
        </p:nvSpPr>
        <p:spPr>
          <a:xfrm>
            <a:off x="7490"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5" name="Rectangle 24">
            <a:extLst>
              <a:ext uri="{FF2B5EF4-FFF2-40B4-BE49-F238E27FC236}">
                <a16:creationId xmlns:a16="http://schemas.microsoft.com/office/drawing/2014/main" id="{F691BC1F-8BED-4FA8-94A8-E07ADD007964}"/>
              </a:ext>
            </a:extLst>
          </p:cNvPr>
          <p:cNvSpPr/>
          <p:nvPr userDrawn="1"/>
        </p:nvSpPr>
        <p:spPr>
          <a:xfrm>
            <a:off x="9149414"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6" name="Rectangle 25">
            <a:extLst>
              <a:ext uri="{FF2B5EF4-FFF2-40B4-BE49-F238E27FC236}">
                <a16:creationId xmlns:a16="http://schemas.microsoft.com/office/drawing/2014/main" id="{69B1766B-1A6C-4A98-B489-8781DE0A150C}"/>
              </a:ext>
            </a:extLst>
          </p:cNvPr>
          <p:cNvSpPr/>
          <p:nvPr userDrawn="1"/>
        </p:nvSpPr>
        <p:spPr>
          <a:xfrm>
            <a:off x="6105159"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Tree>
    <p:extLst>
      <p:ext uri="{BB962C8B-B14F-4D97-AF65-F5344CB8AC3E}">
        <p14:creationId xmlns:p14="http://schemas.microsoft.com/office/powerpoint/2010/main" val="218369314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1_Quote">
    <p:bg>
      <p:bgPr>
        <a:gradFill flip="none" rotWithShape="1">
          <a:gsLst>
            <a:gs pos="0">
              <a:schemeClr val="accent1"/>
            </a:gs>
            <a:gs pos="100000">
              <a:schemeClr val="accent2"/>
            </a:gs>
          </a:gsLst>
          <a:lin ang="5400000" scaled="1"/>
          <a:tileRect/>
        </a:gra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F3107E2-3D7C-4EA6-A3AE-B45AC3CE498F}"/>
              </a:ext>
            </a:extLst>
          </p:cNvPr>
          <p:cNvGraphicFramePr>
            <a:graphicFrameLocks noChangeAspect="1"/>
          </p:cNvGraphicFramePr>
          <p:nvPr userDrawn="1">
            <p:custDataLst>
              <p:tags r:id="rId2"/>
            </p:custDataLst>
            <p:extLst>
              <p:ext uri="{D42A27DB-BD31-4B8C-83A1-F6EECF244321}">
                <p14:modId xmlns:p14="http://schemas.microsoft.com/office/powerpoint/2010/main" val="21100676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4" name="think-cell Slide" r:id="rId4" imgW="473" imgH="474" progId="TCLayout.ActiveDocument.1">
                  <p:embed/>
                </p:oleObj>
              </mc:Choice>
              <mc:Fallback>
                <p:oleObj name="think-cell Slide" r:id="rId4" imgW="473" imgH="474" progId="TCLayout.ActiveDocument.1">
                  <p:embed/>
                  <p:pic>
                    <p:nvPicPr>
                      <p:cNvPr id="5" name="Object 4" hidden="1">
                        <a:extLst>
                          <a:ext uri="{FF2B5EF4-FFF2-40B4-BE49-F238E27FC236}">
                            <a16:creationId xmlns:a16="http://schemas.microsoft.com/office/drawing/2014/main" id="{5F3107E2-3D7C-4EA6-A3AE-B45AC3CE498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Título 1">
            <a:extLst>
              <a:ext uri="{FF2B5EF4-FFF2-40B4-BE49-F238E27FC236}">
                <a16:creationId xmlns:a16="http://schemas.microsoft.com/office/drawing/2014/main" id="{4BFB3231-EC8D-AC43-B9D1-D6556772F6F4}"/>
              </a:ext>
            </a:extLst>
          </p:cNvPr>
          <p:cNvSpPr>
            <a:spLocks noGrp="1"/>
          </p:cNvSpPr>
          <p:nvPr userDrawn="1">
            <p:ph type="ctrTitle"/>
          </p:nvPr>
        </p:nvSpPr>
        <p:spPr>
          <a:xfrm>
            <a:off x="1524000" y="3189051"/>
            <a:ext cx="9144000" cy="553998"/>
          </a:xfrm>
          <a:prstGeom prst="rect">
            <a:avLst/>
          </a:prstGeom>
        </p:spPr>
        <p:txBody>
          <a:bodyPr anchor="ctr">
            <a:spAutoFit/>
          </a:bodyPr>
          <a:lstStyle>
            <a:lvl1pPr algn="ctr">
              <a:lnSpc>
                <a:spcPct val="100000"/>
              </a:lnSpc>
              <a:defRPr sz="3600" b="0">
                <a:solidFill>
                  <a:schemeClr val="bg1"/>
                </a:solidFill>
                <a:latin typeface="+mn-lt"/>
              </a:defRPr>
            </a:lvl1pPr>
          </a:lstStyle>
          <a:p>
            <a:endParaRPr lang="es-ES" dirty="0"/>
          </a:p>
        </p:txBody>
      </p:sp>
      <p:sp>
        <p:nvSpPr>
          <p:cNvPr id="6" name="CuadroTexto 64">
            <a:extLst>
              <a:ext uri="{FF2B5EF4-FFF2-40B4-BE49-F238E27FC236}">
                <a16:creationId xmlns:a16="http://schemas.microsoft.com/office/drawing/2014/main" id="{5D5E7AF8-5D93-47BD-AFBA-EB4A85F3DADD}"/>
              </a:ext>
            </a:extLst>
          </p:cNvPr>
          <p:cNvSpPr txBox="1"/>
          <p:nvPr userDrawn="1"/>
        </p:nvSpPr>
        <p:spPr>
          <a:xfrm>
            <a:off x="10882303" y="6449284"/>
            <a:ext cx="936214" cy="138499"/>
          </a:xfrm>
          <a:prstGeom prst="rect">
            <a:avLst/>
          </a:prstGeom>
          <a:noFill/>
        </p:spPr>
        <p:txBody>
          <a:bodyPr wrap="square" lIns="0" tIns="0" rIns="0" bIns="0" rtlCol="0">
            <a:spAutoFit/>
          </a:bodyPr>
          <a:lstStyle/>
          <a:p>
            <a:pPr algn="r"/>
            <a:fld id="{A4EEDD72-1D6A-6B46-BCFA-C211F73E9379}" type="slidenum">
              <a:rPr lang="es-ES" sz="900" b="1" smtClean="0">
                <a:solidFill>
                  <a:srgbClr val="FFFFFF"/>
                </a:solidFill>
                <a:latin typeface="+mj-lt"/>
                <a:ea typeface="Verdana" panose="020B0604030504040204" pitchFamily="34" charset="0"/>
                <a:cs typeface="Verdana" panose="020B0604030504040204" pitchFamily="34" charset="0"/>
              </a:rPr>
              <a:pPr algn="r"/>
              <a:t>‹N›</a:t>
            </a:fld>
            <a:endParaRPr lang="es-ES" sz="900" b="1" dirty="0">
              <a:solidFill>
                <a:srgbClr val="FFFFFF"/>
              </a:solidFill>
              <a:latin typeface="+mj-lt"/>
              <a:ea typeface="Verdana" panose="020B0604030504040204" pitchFamily="34" charset="0"/>
              <a:cs typeface="Verdana" panose="020B0604030504040204" pitchFamily="34" charset="0"/>
            </a:endParaRPr>
          </a:p>
        </p:txBody>
      </p:sp>
      <p:sp>
        <p:nvSpPr>
          <p:cNvPr id="7" name="Text Placeholder 3">
            <a:extLst>
              <a:ext uri="{FF2B5EF4-FFF2-40B4-BE49-F238E27FC236}">
                <a16:creationId xmlns:a16="http://schemas.microsoft.com/office/drawing/2014/main" id="{AD7427BE-A42A-403B-9DFB-7967AFEB320F}"/>
              </a:ext>
            </a:extLst>
          </p:cNvPr>
          <p:cNvSpPr>
            <a:spLocks noGrp="1"/>
          </p:cNvSpPr>
          <p:nvPr>
            <p:ph type="body" sz="quarter" idx="10" hasCustomPrompt="1"/>
          </p:nvPr>
        </p:nvSpPr>
        <p:spPr>
          <a:xfrm>
            <a:off x="2684125" y="4896548"/>
            <a:ext cx="6823749" cy="360000"/>
          </a:xfrm>
        </p:spPr>
        <p:txBody>
          <a:bodyPr/>
          <a:lstStyle>
            <a:lvl1pPr algn="ctr">
              <a:lnSpc>
                <a:spcPct val="100000"/>
              </a:lnSpc>
              <a:spcBef>
                <a:spcPts val="0"/>
              </a:spcBef>
              <a:defRPr sz="2000">
                <a:solidFill>
                  <a:schemeClr val="bg1"/>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Source</a:t>
            </a:r>
          </a:p>
        </p:txBody>
      </p:sp>
      <p:sp>
        <p:nvSpPr>
          <p:cNvPr id="8" name="Rectangle 7">
            <a:extLst>
              <a:ext uri="{FF2B5EF4-FFF2-40B4-BE49-F238E27FC236}">
                <a16:creationId xmlns:a16="http://schemas.microsoft.com/office/drawing/2014/main" id="{930CB340-568D-4891-8AA1-41A91180907B}"/>
              </a:ext>
            </a:extLst>
          </p:cNvPr>
          <p:cNvSpPr/>
          <p:nvPr userDrawn="1"/>
        </p:nvSpPr>
        <p:spPr>
          <a:xfrm>
            <a:off x="3051745"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9" name="Rectangle 8">
            <a:extLst>
              <a:ext uri="{FF2B5EF4-FFF2-40B4-BE49-F238E27FC236}">
                <a16:creationId xmlns:a16="http://schemas.microsoft.com/office/drawing/2014/main" id="{74001E89-B6DE-4CF4-B2EA-0B37655319AC}"/>
              </a:ext>
            </a:extLst>
          </p:cNvPr>
          <p:cNvSpPr/>
          <p:nvPr userDrawn="1"/>
        </p:nvSpPr>
        <p:spPr>
          <a:xfrm>
            <a:off x="7490"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0" name="Rectangle 9">
            <a:extLst>
              <a:ext uri="{FF2B5EF4-FFF2-40B4-BE49-F238E27FC236}">
                <a16:creationId xmlns:a16="http://schemas.microsoft.com/office/drawing/2014/main" id="{A07162EC-CC32-433F-AC01-78629E33234E}"/>
              </a:ext>
            </a:extLst>
          </p:cNvPr>
          <p:cNvSpPr/>
          <p:nvPr userDrawn="1"/>
        </p:nvSpPr>
        <p:spPr>
          <a:xfrm>
            <a:off x="9149414"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3" name="Rectangle 12">
            <a:extLst>
              <a:ext uri="{FF2B5EF4-FFF2-40B4-BE49-F238E27FC236}">
                <a16:creationId xmlns:a16="http://schemas.microsoft.com/office/drawing/2014/main" id="{65A75312-1E3B-46CA-A8ED-BAB9A1043BEB}"/>
              </a:ext>
            </a:extLst>
          </p:cNvPr>
          <p:cNvSpPr/>
          <p:nvPr userDrawn="1"/>
        </p:nvSpPr>
        <p:spPr>
          <a:xfrm>
            <a:off x="6105159"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4" name="Freeform: Shape 629">
            <a:extLst>
              <a:ext uri="{FF2B5EF4-FFF2-40B4-BE49-F238E27FC236}">
                <a16:creationId xmlns:a16="http://schemas.microsoft.com/office/drawing/2014/main" id="{D3D5EEB8-8CD4-498D-80DD-A871EBF134A5}"/>
              </a:ext>
            </a:extLst>
          </p:cNvPr>
          <p:cNvSpPr/>
          <p:nvPr userDrawn="1"/>
        </p:nvSpPr>
        <p:spPr>
          <a:xfrm>
            <a:off x="5798502" y="1481812"/>
            <a:ext cx="594995" cy="591616"/>
          </a:xfrm>
          <a:custGeom>
            <a:avLst/>
            <a:gdLst>
              <a:gd name="connsiteX0" fmla="*/ 113583 w 151443"/>
              <a:gd name="connsiteY0" fmla="*/ 67978 h 150583"/>
              <a:gd name="connsiteX1" fmla="*/ 113583 w 151443"/>
              <a:gd name="connsiteY1" fmla="*/ 52489 h 150583"/>
              <a:gd name="connsiteX2" fmla="*/ 98095 w 151443"/>
              <a:gd name="connsiteY2" fmla="*/ 52489 h 150583"/>
              <a:gd name="connsiteX3" fmla="*/ 98095 w 151443"/>
              <a:gd name="connsiteY3" fmla="*/ 67978 h 150583"/>
              <a:gd name="connsiteX4" fmla="*/ 113583 w 151443"/>
              <a:gd name="connsiteY4" fmla="*/ 67978 h 150583"/>
              <a:gd name="connsiteX5" fmla="*/ 83466 w 151443"/>
              <a:gd name="connsiteY5" fmla="*/ 67978 h 150583"/>
              <a:gd name="connsiteX6" fmla="*/ 83466 w 151443"/>
              <a:gd name="connsiteY6" fmla="*/ 52489 h 150583"/>
              <a:gd name="connsiteX7" fmla="*/ 68838 w 151443"/>
              <a:gd name="connsiteY7" fmla="*/ 52489 h 150583"/>
              <a:gd name="connsiteX8" fmla="*/ 68838 w 151443"/>
              <a:gd name="connsiteY8" fmla="*/ 67978 h 150583"/>
              <a:gd name="connsiteX9" fmla="*/ 83466 w 151443"/>
              <a:gd name="connsiteY9" fmla="*/ 67978 h 150583"/>
              <a:gd name="connsiteX10" fmla="*/ 53349 w 151443"/>
              <a:gd name="connsiteY10" fmla="*/ 67978 h 150583"/>
              <a:gd name="connsiteX11" fmla="*/ 53349 w 151443"/>
              <a:gd name="connsiteY11" fmla="*/ 52489 h 150583"/>
              <a:gd name="connsiteX12" fmla="*/ 37861 w 151443"/>
              <a:gd name="connsiteY12" fmla="*/ 52489 h 150583"/>
              <a:gd name="connsiteX13" fmla="*/ 37861 w 151443"/>
              <a:gd name="connsiteY13" fmla="*/ 67978 h 150583"/>
              <a:gd name="connsiteX14" fmla="*/ 53349 w 151443"/>
              <a:gd name="connsiteY14" fmla="*/ 67978 h 150583"/>
              <a:gd name="connsiteX15" fmla="*/ 136816 w 151443"/>
              <a:gd name="connsiteY15" fmla="*/ 0 h 150583"/>
              <a:gd name="connsiteX16" fmla="*/ 147141 w 151443"/>
              <a:gd name="connsiteY16" fmla="*/ 4302 h 150583"/>
              <a:gd name="connsiteX17" fmla="*/ 151444 w 151443"/>
              <a:gd name="connsiteY17" fmla="*/ 14628 h 150583"/>
              <a:gd name="connsiteX18" fmla="*/ 151444 w 151443"/>
              <a:gd name="connsiteY18" fmla="*/ 105839 h 150583"/>
              <a:gd name="connsiteX19" fmla="*/ 147141 w 151443"/>
              <a:gd name="connsiteY19" fmla="*/ 116164 h 150583"/>
              <a:gd name="connsiteX20" fmla="*/ 136816 w 151443"/>
              <a:gd name="connsiteY20" fmla="*/ 120467 h 150583"/>
              <a:gd name="connsiteX21" fmla="*/ 30117 w 151443"/>
              <a:gd name="connsiteY21" fmla="*/ 120467 h 150583"/>
              <a:gd name="connsiteX22" fmla="*/ 0 w 151443"/>
              <a:gd name="connsiteY22" fmla="*/ 150583 h 150583"/>
              <a:gd name="connsiteX23" fmla="*/ 0 w 151443"/>
              <a:gd name="connsiteY23" fmla="*/ 14628 h 150583"/>
              <a:gd name="connsiteX24" fmla="*/ 4302 w 151443"/>
              <a:gd name="connsiteY24" fmla="*/ 4302 h 150583"/>
              <a:gd name="connsiteX25" fmla="*/ 14628 w 151443"/>
              <a:gd name="connsiteY25" fmla="*/ 0 h 150583"/>
              <a:gd name="connsiteX26" fmla="*/ 136816 w 151443"/>
              <a:gd name="connsiteY26" fmla="*/ 0 h 150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443" h="150583">
                <a:moveTo>
                  <a:pt x="113583" y="67978"/>
                </a:moveTo>
                <a:lnTo>
                  <a:pt x="113583" y="52489"/>
                </a:lnTo>
                <a:lnTo>
                  <a:pt x="98095" y="52489"/>
                </a:lnTo>
                <a:lnTo>
                  <a:pt x="98095" y="67978"/>
                </a:lnTo>
                <a:lnTo>
                  <a:pt x="113583" y="67978"/>
                </a:lnTo>
                <a:close/>
                <a:moveTo>
                  <a:pt x="83466" y="67978"/>
                </a:moveTo>
                <a:lnTo>
                  <a:pt x="83466" y="52489"/>
                </a:lnTo>
                <a:lnTo>
                  <a:pt x="68838" y="52489"/>
                </a:lnTo>
                <a:lnTo>
                  <a:pt x="68838" y="67978"/>
                </a:lnTo>
                <a:lnTo>
                  <a:pt x="83466" y="67978"/>
                </a:lnTo>
                <a:close/>
                <a:moveTo>
                  <a:pt x="53349" y="67978"/>
                </a:moveTo>
                <a:lnTo>
                  <a:pt x="53349" y="52489"/>
                </a:lnTo>
                <a:lnTo>
                  <a:pt x="37861" y="52489"/>
                </a:lnTo>
                <a:lnTo>
                  <a:pt x="37861" y="67978"/>
                </a:lnTo>
                <a:lnTo>
                  <a:pt x="53349" y="67978"/>
                </a:lnTo>
                <a:close/>
                <a:moveTo>
                  <a:pt x="136816" y="0"/>
                </a:moveTo>
                <a:cubicBezTo>
                  <a:pt x="141118" y="0"/>
                  <a:pt x="144559" y="1721"/>
                  <a:pt x="147141" y="4302"/>
                </a:cubicBezTo>
                <a:cubicBezTo>
                  <a:pt x="150583" y="6884"/>
                  <a:pt x="151444" y="10326"/>
                  <a:pt x="151444" y="14628"/>
                </a:cubicBezTo>
                <a:lnTo>
                  <a:pt x="151444" y="105839"/>
                </a:lnTo>
                <a:cubicBezTo>
                  <a:pt x="151444" y="110141"/>
                  <a:pt x="149723" y="113583"/>
                  <a:pt x="147141" y="116164"/>
                </a:cubicBezTo>
                <a:cubicBezTo>
                  <a:pt x="144559" y="119606"/>
                  <a:pt x="141118" y="120467"/>
                  <a:pt x="136816" y="120467"/>
                </a:cubicBezTo>
                <a:lnTo>
                  <a:pt x="30117" y="120467"/>
                </a:lnTo>
                <a:lnTo>
                  <a:pt x="0" y="150583"/>
                </a:lnTo>
                <a:lnTo>
                  <a:pt x="0" y="14628"/>
                </a:lnTo>
                <a:cubicBezTo>
                  <a:pt x="0" y="10326"/>
                  <a:pt x="1721" y="6884"/>
                  <a:pt x="4302" y="4302"/>
                </a:cubicBezTo>
                <a:cubicBezTo>
                  <a:pt x="7745" y="860"/>
                  <a:pt x="11186" y="0"/>
                  <a:pt x="14628" y="0"/>
                </a:cubicBezTo>
                <a:lnTo>
                  <a:pt x="136816" y="0"/>
                </a:lnTo>
                <a:close/>
              </a:path>
            </a:pathLst>
          </a:custGeom>
          <a:solidFill>
            <a:schemeClr val="bg1"/>
          </a:solidFill>
          <a:ln w="8603" cap="flat">
            <a:noFill/>
            <a:prstDash val="solid"/>
            <a:miter/>
          </a:ln>
        </p:spPr>
        <p:txBody>
          <a:bodyPr rtlCol="0" anchor="ctr"/>
          <a:lstStyle/>
          <a:p>
            <a:endParaRPr lang="fr-FR"/>
          </a:p>
        </p:txBody>
      </p:sp>
    </p:spTree>
    <p:extLst>
      <p:ext uri="{BB962C8B-B14F-4D97-AF65-F5344CB8AC3E}">
        <p14:creationId xmlns:p14="http://schemas.microsoft.com/office/powerpoint/2010/main" val="29741341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Quote v3">
    <p:bg>
      <p:bgPr>
        <a:solidFill>
          <a:schemeClr val="accent3"/>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0443958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388"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6" cstate="email">
            <a:extLst>
              <a:ext uri="{28A0092B-C50C-407E-A947-70E740481C1C}">
                <a14:useLocalDpi xmlns:a14="http://schemas.microsoft.com/office/drawing/2010/main"/>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gradFill>
            <a:gsLst>
              <a:gs pos="0">
                <a:schemeClr val="accent2"/>
              </a:gs>
              <a:gs pos="100000">
                <a:schemeClr val="accent1"/>
              </a:gs>
            </a:gsLst>
            <a:lin ang="16200000" scaled="1"/>
          </a:gra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
        <p:nvSpPr>
          <p:cNvPr id="8" name="CuadroTexto 64">
            <a:extLst>
              <a:ext uri="{FF2B5EF4-FFF2-40B4-BE49-F238E27FC236}">
                <a16:creationId xmlns:a16="http://schemas.microsoft.com/office/drawing/2014/main" id="{BF62935D-CD44-4AD8-8E70-8E658A45D5CA}"/>
              </a:ext>
            </a:extLst>
          </p:cNvPr>
          <p:cNvSpPr txBox="1"/>
          <p:nvPr userDrawn="1"/>
        </p:nvSpPr>
        <p:spPr>
          <a:xfrm>
            <a:off x="10882303" y="6449284"/>
            <a:ext cx="936214" cy="138499"/>
          </a:xfrm>
          <a:prstGeom prst="rect">
            <a:avLst/>
          </a:prstGeom>
          <a:noFill/>
        </p:spPr>
        <p:txBody>
          <a:bodyPr wrap="square" lIns="0" tIns="0" rIns="0" bIns="0" rtlCol="0">
            <a:spAutoFit/>
          </a:bodyPr>
          <a:lstStyle/>
          <a:p>
            <a:pPr algn="r"/>
            <a:fld id="{A4EEDD72-1D6A-6B46-BCFA-C211F73E9379}" type="slidenum">
              <a:rPr lang="es-ES" sz="900" b="1" smtClean="0">
                <a:solidFill>
                  <a:srgbClr val="FFFFFF"/>
                </a:solidFill>
                <a:latin typeface="+mj-lt"/>
                <a:ea typeface="Verdana" panose="020B0604030504040204" pitchFamily="34" charset="0"/>
                <a:cs typeface="Verdana" panose="020B0604030504040204" pitchFamily="34" charset="0"/>
              </a:rPr>
              <a:pPr algn="r"/>
              <a:t>‹N›</a:t>
            </a:fld>
            <a:endParaRPr lang="es-ES" sz="900" b="1" dirty="0">
              <a:solidFill>
                <a:srgbClr val="FFFFFF"/>
              </a:solidFill>
              <a:latin typeface="+mj-lt"/>
              <a:ea typeface="Verdana" panose="020B0604030504040204" pitchFamily="34" charset="0"/>
              <a:cs typeface="Verdana" panose="020B0604030504040204" pitchFamily="34" charset="0"/>
            </a:endParaRPr>
          </a:p>
        </p:txBody>
      </p:sp>
      <p:sp>
        <p:nvSpPr>
          <p:cNvPr id="11" name="Título 1">
            <a:extLst>
              <a:ext uri="{FF2B5EF4-FFF2-40B4-BE49-F238E27FC236}">
                <a16:creationId xmlns:a16="http://schemas.microsoft.com/office/drawing/2014/main" id="{D7D82C40-0E38-4916-A8E6-6F79691B3689}"/>
              </a:ext>
            </a:extLst>
          </p:cNvPr>
          <p:cNvSpPr>
            <a:spLocks noGrp="1"/>
          </p:cNvSpPr>
          <p:nvPr>
            <p:ph type="ctrTitle"/>
          </p:nvPr>
        </p:nvSpPr>
        <p:spPr>
          <a:xfrm>
            <a:off x="965874" y="3463482"/>
            <a:ext cx="10261600" cy="553998"/>
          </a:xfrm>
          <a:prstGeom prst="rect">
            <a:avLst/>
          </a:prstGeom>
        </p:spPr>
        <p:txBody>
          <a:bodyPr wrap="square" anchor="b" anchorCtr="0">
            <a:spAutoFit/>
          </a:bodyPr>
          <a:lstStyle>
            <a:lvl1pPr algn="l">
              <a:lnSpc>
                <a:spcPct val="100000"/>
              </a:lnSpc>
              <a:defRPr sz="3600" b="0">
                <a:solidFill>
                  <a:schemeClr val="bg1"/>
                </a:solidFill>
                <a:latin typeface="+mn-lt"/>
              </a:defRPr>
            </a:lvl1pPr>
          </a:lstStyle>
          <a:p>
            <a:endParaRPr lang="es-ES" dirty="0"/>
          </a:p>
        </p:txBody>
      </p:sp>
      <p:sp>
        <p:nvSpPr>
          <p:cNvPr id="4" name="Text Placeholder 3">
            <a:extLst>
              <a:ext uri="{FF2B5EF4-FFF2-40B4-BE49-F238E27FC236}">
                <a16:creationId xmlns:a16="http://schemas.microsoft.com/office/drawing/2014/main" id="{0D083BCE-E4A9-44F7-B19A-085C87DAFDB5}"/>
              </a:ext>
            </a:extLst>
          </p:cNvPr>
          <p:cNvSpPr>
            <a:spLocks noGrp="1"/>
          </p:cNvSpPr>
          <p:nvPr>
            <p:ph type="body" sz="quarter" idx="10" hasCustomPrompt="1"/>
          </p:nvPr>
        </p:nvSpPr>
        <p:spPr>
          <a:xfrm>
            <a:off x="965874" y="6045199"/>
            <a:ext cx="10261600" cy="360000"/>
          </a:xfrm>
        </p:spPr>
        <p:txBody>
          <a:bodyPr/>
          <a:lstStyle>
            <a:lvl1pPr>
              <a:lnSpc>
                <a:spcPct val="100000"/>
              </a:lnSpc>
              <a:spcBef>
                <a:spcPts val="0"/>
              </a:spcBef>
              <a:defRPr sz="2000">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Source</a:t>
            </a:r>
          </a:p>
        </p:txBody>
      </p:sp>
      <p:sp>
        <p:nvSpPr>
          <p:cNvPr id="9" name="Rectangle 8">
            <a:extLst>
              <a:ext uri="{FF2B5EF4-FFF2-40B4-BE49-F238E27FC236}">
                <a16:creationId xmlns:a16="http://schemas.microsoft.com/office/drawing/2014/main" id="{E1BC8C59-3BFA-4463-A730-C3619E962F5A}"/>
              </a:ext>
            </a:extLst>
          </p:cNvPr>
          <p:cNvSpPr/>
          <p:nvPr userDrawn="1"/>
        </p:nvSpPr>
        <p:spPr>
          <a:xfrm>
            <a:off x="3051745"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0" name="Rectangle 9">
            <a:extLst>
              <a:ext uri="{FF2B5EF4-FFF2-40B4-BE49-F238E27FC236}">
                <a16:creationId xmlns:a16="http://schemas.microsoft.com/office/drawing/2014/main" id="{E882D3B5-8179-4C26-AF37-E7B0C355FB7A}"/>
              </a:ext>
            </a:extLst>
          </p:cNvPr>
          <p:cNvSpPr/>
          <p:nvPr userDrawn="1"/>
        </p:nvSpPr>
        <p:spPr>
          <a:xfrm>
            <a:off x="7490"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2" name="Rectangle 11">
            <a:extLst>
              <a:ext uri="{FF2B5EF4-FFF2-40B4-BE49-F238E27FC236}">
                <a16:creationId xmlns:a16="http://schemas.microsoft.com/office/drawing/2014/main" id="{21C1860E-14DF-4D88-A6C6-32A8565188A3}"/>
              </a:ext>
            </a:extLst>
          </p:cNvPr>
          <p:cNvSpPr/>
          <p:nvPr userDrawn="1"/>
        </p:nvSpPr>
        <p:spPr>
          <a:xfrm>
            <a:off x="9149414"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3" name="Rectangle 12">
            <a:extLst>
              <a:ext uri="{FF2B5EF4-FFF2-40B4-BE49-F238E27FC236}">
                <a16:creationId xmlns:a16="http://schemas.microsoft.com/office/drawing/2014/main" id="{B1BD4D62-7BE1-4207-8E9E-571DC561B7DD}"/>
              </a:ext>
            </a:extLst>
          </p:cNvPr>
          <p:cNvSpPr/>
          <p:nvPr userDrawn="1"/>
        </p:nvSpPr>
        <p:spPr>
          <a:xfrm>
            <a:off x="6105159"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Tree>
    <p:extLst>
      <p:ext uri="{BB962C8B-B14F-4D97-AF65-F5344CB8AC3E}">
        <p14:creationId xmlns:p14="http://schemas.microsoft.com/office/powerpoint/2010/main" val="27220346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Quote 4">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799C6CA-CACC-40BA-A825-A176D22A874B}"/>
              </a:ext>
            </a:extLst>
          </p:cNvPr>
          <p:cNvGraphicFramePr>
            <a:graphicFrameLocks noChangeAspect="1"/>
          </p:cNvGraphicFramePr>
          <p:nvPr userDrawn="1">
            <p:custDataLst>
              <p:tags r:id="rId2"/>
            </p:custDataLst>
            <p:extLst>
              <p:ext uri="{D42A27DB-BD31-4B8C-83A1-F6EECF244321}">
                <p14:modId xmlns:p14="http://schemas.microsoft.com/office/powerpoint/2010/main" val="6725166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2" name="think-cell Slide" r:id="rId5" imgW="473" imgH="474" progId="TCLayout.ActiveDocument.1">
                  <p:embed/>
                </p:oleObj>
              </mc:Choice>
              <mc:Fallback>
                <p:oleObj name="think-cell Slide" r:id="rId5" imgW="473" imgH="474" progId="TCLayout.ActiveDocument.1">
                  <p:embed/>
                  <p:pic>
                    <p:nvPicPr>
                      <p:cNvPr id="3" name="Object 2" hidden="1">
                        <a:extLst>
                          <a:ext uri="{FF2B5EF4-FFF2-40B4-BE49-F238E27FC236}">
                            <a16:creationId xmlns:a16="http://schemas.microsoft.com/office/drawing/2014/main" id="{8799C6CA-CACC-40BA-A825-A176D22A874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00FC0C89-C1CE-4776-A3D4-6245EB1A333E}"/>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Verdana" panose="020B0604030504040204" pitchFamily="34" charset="0"/>
              <a:ea typeface="+mj-ea"/>
              <a:cs typeface="+mj-cs"/>
              <a:sym typeface="Verdana" panose="020B0604030504040204" pitchFamily="34" charset="0"/>
            </a:endParaRPr>
          </a:p>
        </p:txBody>
      </p:sp>
      <p:sp>
        <p:nvSpPr>
          <p:cNvPr id="9" name="Marcador de posición de imagen 2">
            <a:extLst>
              <a:ext uri="{FF2B5EF4-FFF2-40B4-BE49-F238E27FC236}">
                <a16:creationId xmlns:a16="http://schemas.microsoft.com/office/drawing/2014/main" id="{31CC0BB2-D270-45FA-B36D-7DA74555A1CE}"/>
              </a:ext>
            </a:extLst>
          </p:cNvPr>
          <p:cNvSpPr>
            <a:spLocks noGrp="1"/>
          </p:cNvSpPr>
          <p:nvPr>
            <p:ph type="pic" sz="quarter" idx="12" hasCustomPrompt="1"/>
          </p:nvPr>
        </p:nvSpPr>
        <p:spPr>
          <a:xfrm>
            <a:off x="0" y="0"/>
            <a:ext cx="6096000" cy="6858000"/>
          </a:xfrm>
          <a:prstGeom prst="rect">
            <a:avLst/>
          </a:prstGeom>
        </p:spPr>
        <p:txBody>
          <a:bodyPr anchor="ctr"/>
          <a:lstStyle>
            <a:lvl1pPr marL="228600" marR="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a:solidFill>
                  <a:srgbClr val="FFFFFF"/>
                </a:solidFill>
              </a:defRPr>
            </a:lvl1pPr>
          </a:lstStyle>
          <a:p>
            <a:pPr marL="228600" marR="0" lvl="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Drag picture to placeholder </a:t>
            </a:r>
            <a:br>
              <a:rPr lang="en-US" dirty="0"/>
            </a:br>
            <a:r>
              <a:rPr lang="en-US" dirty="0"/>
              <a:t>or click icon to add</a:t>
            </a:r>
          </a:p>
        </p:txBody>
      </p:sp>
      <p:sp>
        <p:nvSpPr>
          <p:cNvPr id="10" name="CuadroTexto 64">
            <a:extLst>
              <a:ext uri="{FF2B5EF4-FFF2-40B4-BE49-F238E27FC236}">
                <a16:creationId xmlns:a16="http://schemas.microsoft.com/office/drawing/2014/main" id="{A837BAC7-8936-49B2-AA16-4D8D20EFE2F7}"/>
              </a:ext>
            </a:extLst>
          </p:cNvPr>
          <p:cNvSpPr txBox="1"/>
          <p:nvPr userDrawn="1"/>
        </p:nvSpPr>
        <p:spPr>
          <a:xfrm>
            <a:off x="10882303" y="6449284"/>
            <a:ext cx="936214" cy="138499"/>
          </a:xfrm>
          <a:prstGeom prst="rect">
            <a:avLst/>
          </a:prstGeom>
          <a:noFill/>
        </p:spPr>
        <p:txBody>
          <a:bodyPr wrap="square" lIns="0" tIns="0" rIns="0" bIns="0" rtlCol="0">
            <a:spAutoFit/>
          </a:bodyPr>
          <a:lstStyle/>
          <a:p>
            <a:pPr algn="r"/>
            <a:fld id="{A4EEDD72-1D6A-6B46-BCFA-C211F73E9379}" type="slidenum">
              <a:rPr lang="es-ES" sz="900" b="1" smtClean="0">
                <a:solidFill>
                  <a:schemeClr val="bg1"/>
                </a:solidFill>
                <a:latin typeface="Verdana" panose="020B0604030504040204" pitchFamily="34" charset="0"/>
                <a:ea typeface="Verdana" panose="020B0604030504040204" pitchFamily="34" charset="0"/>
                <a:cs typeface="Verdana" panose="020B0604030504040204" pitchFamily="34" charset="0"/>
              </a:rPr>
              <a:pPr algn="r"/>
              <a:t>‹N›</a:t>
            </a:fld>
            <a:endParaRPr lang="es-ES" sz="90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8" name="CuadroTexto 64">
            <a:extLst>
              <a:ext uri="{FF2B5EF4-FFF2-40B4-BE49-F238E27FC236}">
                <a16:creationId xmlns:a16="http://schemas.microsoft.com/office/drawing/2014/main" id="{6D9740EA-CDAD-4A7D-AE29-2A54AF22C3DE}"/>
              </a:ext>
            </a:extLst>
          </p:cNvPr>
          <p:cNvSpPr txBox="1"/>
          <p:nvPr userDrawn="1"/>
        </p:nvSpPr>
        <p:spPr>
          <a:xfrm>
            <a:off x="10878986" y="6452363"/>
            <a:ext cx="936214" cy="138499"/>
          </a:xfrm>
          <a:prstGeom prst="rect">
            <a:avLst/>
          </a:prstGeom>
          <a:noFill/>
        </p:spPr>
        <p:txBody>
          <a:bodyPr wrap="square" lIns="0" tIns="0" rIns="0" bIns="0" rtlCol="0">
            <a:spAutoFit/>
          </a:bodyPr>
          <a:lstStyle/>
          <a:p>
            <a:pPr algn="r"/>
            <a:fld id="{A4EEDD72-1D6A-6B46-BCFA-C211F73E9379}" type="slidenum">
              <a:rPr lang="es-ES" sz="900" b="1" smtClean="0">
                <a:solidFill>
                  <a:schemeClr val="accent1"/>
                </a:solidFill>
                <a:latin typeface="+mj-lt"/>
                <a:ea typeface="Verdana" panose="020B0604030504040204" pitchFamily="34" charset="0"/>
                <a:cs typeface="Verdana" panose="020B0604030504040204" pitchFamily="34" charset="0"/>
              </a:rPr>
              <a:pPr algn="r"/>
              <a:t>‹N›</a:t>
            </a:fld>
            <a:endParaRPr lang="es-ES" sz="900" b="1" dirty="0">
              <a:solidFill>
                <a:schemeClr val="accent1"/>
              </a:solidFill>
              <a:latin typeface="+mj-lt"/>
              <a:ea typeface="Verdana" panose="020B0604030504040204" pitchFamily="34" charset="0"/>
              <a:cs typeface="Verdana" panose="020B0604030504040204" pitchFamily="34" charset="0"/>
            </a:endParaRPr>
          </a:p>
        </p:txBody>
      </p:sp>
      <p:sp>
        <p:nvSpPr>
          <p:cNvPr id="12" name="Title 4">
            <a:extLst>
              <a:ext uri="{FF2B5EF4-FFF2-40B4-BE49-F238E27FC236}">
                <a16:creationId xmlns:a16="http://schemas.microsoft.com/office/drawing/2014/main" id="{5227E7B1-E64E-4361-8C90-AF5798192F42}"/>
              </a:ext>
            </a:extLst>
          </p:cNvPr>
          <p:cNvSpPr>
            <a:spLocks noGrp="1"/>
          </p:cNvSpPr>
          <p:nvPr>
            <p:ph type="title" hasCustomPrompt="1"/>
          </p:nvPr>
        </p:nvSpPr>
        <p:spPr>
          <a:xfrm>
            <a:off x="6481822" y="2561095"/>
            <a:ext cx="5333377" cy="432000"/>
          </a:xfrm>
        </p:spPr>
        <p:txBody>
          <a:bodyPr/>
          <a:lstStyle>
            <a:lvl1pPr algn="ctr">
              <a:defRPr b="0"/>
            </a:lvl1pPr>
          </a:lstStyle>
          <a:p>
            <a:r>
              <a:rPr lang="en-US" dirty="0"/>
              <a:t>Quote here</a:t>
            </a:r>
          </a:p>
        </p:txBody>
      </p:sp>
      <p:sp>
        <p:nvSpPr>
          <p:cNvPr id="16" name="Text Placeholder 2">
            <a:extLst>
              <a:ext uri="{FF2B5EF4-FFF2-40B4-BE49-F238E27FC236}">
                <a16:creationId xmlns:a16="http://schemas.microsoft.com/office/drawing/2014/main" id="{2B4A3C47-8BF5-4E1C-B387-76F2FF1A261A}"/>
              </a:ext>
            </a:extLst>
          </p:cNvPr>
          <p:cNvSpPr>
            <a:spLocks noGrp="1"/>
          </p:cNvSpPr>
          <p:nvPr>
            <p:ph type="body" sz="quarter" idx="11" hasCustomPrompt="1"/>
          </p:nvPr>
        </p:nvSpPr>
        <p:spPr>
          <a:xfrm>
            <a:off x="6481822" y="2993095"/>
            <a:ext cx="5333377" cy="432000"/>
          </a:xfrm>
          <a:prstGeom prst="rect">
            <a:avLst/>
          </a:prstGeom>
        </p:spPr>
        <p:txBody>
          <a:bodyPr/>
          <a:lstStyle>
            <a:lvl1pPr marL="0" marR="0" indent="0" algn="ctr" defTabSz="914400"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lang="en-US" sz="1600" b="0" i="0" kern="1200" dirty="0" smtClean="0">
                <a:solidFill>
                  <a:schemeClr val="tx1"/>
                </a:solidFill>
                <a:latin typeface="+mn-lt"/>
                <a:ea typeface="+mn-ea"/>
                <a:cs typeface="+mn-cs"/>
              </a:defRPr>
            </a:lvl1pPr>
          </a:lstStyle>
          <a:p>
            <a:pPr lvl="0"/>
            <a:r>
              <a:rPr lang="en-US" dirty="0"/>
              <a:t>Edit Master text styles</a:t>
            </a:r>
          </a:p>
        </p:txBody>
      </p:sp>
      <p:sp>
        <p:nvSpPr>
          <p:cNvPr id="11" name="Rectangle 10">
            <a:extLst>
              <a:ext uri="{FF2B5EF4-FFF2-40B4-BE49-F238E27FC236}">
                <a16:creationId xmlns:a16="http://schemas.microsoft.com/office/drawing/2014/main" id="{2E689FA1-ED57-4DE7-AD72-44501952A3A7}"/>
              </a:ext>
            </a:extLst>
          </p:cNvPr>
          <p:cNvSpPr/>
          <p:nvPr userDrawn="1"/>
        </p:nvSpPr>
        <p:spPr>
          <a:xfrm>
            <a:off x="3051745"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3" name="Rectangle 12">
            <a:extLst>
              <a:ext uri="{FF2B5EF4-FFF2-40B4-BE49-F238E27FC236}">
                <a16:creationId xmlns:a16="http://schemas.microsoft.com/office/drawing/2014/main" id="{F7D21606-4344-4432-AC59-03FC4004F02E}"/>
              </a:ext>
            </a:extLst>
          </p:cNvPr>
          <p:cNvSpPr/>
          <p:nvPr userDrawn="1"/>
        </p:nvSpPr>
        <p:spPr>
          <a:xfrm>
            <a:off x="7490"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4" name="Rectangle 13">
            <a:extLst>
              <a:ext uri="{FF2B5EF4-FFF2-40B4-BE49-F238E27FC236}">
                <a16:creationId xmlns:a16="http://schemas.microsoft.com/office/drawing/2014/main" id="{FFC38A49-1DF9-419A-8DDC-4FD8111EA738}"/>
              </a:ext>
            </a:extLst>
          </p:cNvPr>
          <p:cNvSpPr/>
          <p:nvPr userDrawn="1"/>
        </p:nvSpPr>
        <p:spPr>
          <a:xfrm>
            <a:off x="9149414"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7" name="Rectangle 16">
            <a:extLst>
              <a:ext uri="{FF2B5EF4-FFF2-40B4-BE49-F238E27FC236}">
                <a16:creationId xmlns:a16="http://schemas.microsoft.com/office/drawing/2014/main" id="{8FABE439-925F-4BB0-8FB8-6BE3D6426232}"/>
              </a:ext>
            </a:extLst>
          </p:cNvPr>
          <p:cNvSpPr/>
          <p:nvPr userDrawn="1"/>
        </p:nvSpPr>
        <p:spPr>
          <a:xfrm>
            <a:off x="6105159"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8" name="Freeform: Shape 629">
            <a:extLst>
              <a:ext uri="{FF2B5EF4-FFF2-40B4-BE49-F238E27FC236}">
                <a16:creationId xmlns:a16="http://schemas.microsoft.com/office/drawing/2014/main" id="{BA8D9A59-D2D9-4CD5-9FF1-A45654E6EC45}"/>
              </a:ext>
            </a:extLst>
          </p:cNvPr>
          <p:cNvSpPr/>
          <p:nvPr userDrawn="1"/>
        </p:nvSpPr>
        <p:spPr>
          <a:xfrm>
            <a:off x="8851012" y="1518720"/>
            <a:ext cx="594995" cy="591616"/>
          </a:xfrm>
          <a:custGeom>
            <a:avLst/>
            <a:gdLst>
              <a:gd name="connsiteX0" fmla="*/ 113583 w 151443"/>
              <a:gd name="connsiteY0" fmla="*/ 67978 h 150583"/>
              <a:gd name="connsiteX1" fmla="*/ 113583 w 151443"/>
              <a:gd name="connsiteY1" fmla="*/ 52489 h 150583"/>
              <a:gd name="connsiteX2" fmla="*/ 98095 w 151443"/>
              <a:gd name="connsiteY2" fmla="*/ 52489 h 150583"/>
              <a:gd name="connsiteX3" fmla="*/ 98095 w 151443"/>
              <a:gd name="connsiteY3" fmla="*/ 67978 h 150583"/>
              <a:gd name="connsiteX4" fmla="*/ 113583 w 151443"/>
              <a:gd name="connsiteY4" fmla="*/ 67978 h 150583"/>
              <a:gd name="connsiteX5" fmla="*/ 83466 w 151443"/>
              <a:gd name="connsiteY5" fmla="*/ 67978 h 150583"/>
              <a:gd name="connsiteX6" fmla="*/ 83466 w 151443"/>
              <a:gd name="connsiteY6" fmla="*/ 52489 h 150583"/>
              <a:gd name="connsiteX7" fmla="*/ 68838 w 151443"/>
              <a:gd name="connsiteY7" fmla="*/ 52489 h 150583"/>
              <a:gd name="connsiteX8" fmla="*/ 68838 w 151443"/>
              <a:gd name="connsiteY8" fmla="*/ 67978 h 150583"/>
              <a:gd name="connsiteX9" fmla="*/ 83466 w 151443"/>
              <a:gd name="connsiteY9" fmla="*/ 67978 h 150583"/>
              <a:gd name="connsiteX10" fmla="*/ 53349 w 151443"/>
              <a:gd name="connsiteY10" fmla="*/ 67978 h 150583"/>
              <a:gd name="connsiteX11" fmla="*/ 53349 w 151443"/>
              <a:gd name="connsiteY11" fmla="*/ 52489 h 150583"/>
              <a:gd name="connsiteX12" fmla="*/ 37861 w 151443"/>
              <a:gd name="connsiteY12" fmla="*/ 52489 h 150583"/>
              <a:gd name="connsiteX13" fmla="*/ 37861 w 151443"/>
              <a:gd name="connsiteY13" fmla="*/ 67978 h 150583"/>
              <a:gd name="connsiteX14" fmla="*/ 53349 w 151443"/>
              <a:gd name="connsiteY14" fmla="*/ 67978 h 150583"/>
              <a:gd name="connsiteX15" fmla="*/ 136816 w 151443"/>
              <a:gd name="connsiteY15" fmla="*/ 0 h 150583"/>
              <a:gd name="connsiteX16" fmla="*/ 147141 w 151443"/>
              <a:gd name="connsiteY16" fmla="*/ 4302 h 150583"/>
              <a:gd name="connsiteX17" fmla="*/ 151444 w 151443"/>
              <a:gd name="connsiteY17" fmla="*/ 14628 h 150583"/>
              <a:gd name="connsiteX18" fmla="*/ 151444 w 151443"/>
              <a:gd name="connsiteY18" fmla="*/ 105839 h 150583"/>
              <a:gd name="connsiteX19" fmla="*/ 147141 w 151443"/>
              <a:gd name="connsiteY19" fmla="*/ 116164 h 150583"/>
              <a:gd name="connsiteX20" fmla="*/ 136816 w 151443"/>
              <a:gd name="connsiteY20" fmla="*/ 120467 h 150583"/>
              <a:gd name="connsiteX21" fmla="*/ 30117 w 151443"/>
              <a:gd name="connsiteY21" fmla="*/ 120467 h 150583"/>
              <a:gd name="connsiteX22" fmla="*/ 0 w 151443"/>
              <a:gd name="connsiteY22" fmla="*/ 150583 h 150583"/>
              <a:gd name="connsiteX23" fmla="*/ 0 w 151443"/>
              <a:gd name="connsiteY23" fmla="*/ 14628 h 150583"/>
              <a:gd name="connsiteX24" fmla="*/ 4302 w 151443"/>
              <a:gd name="connsiteY24" fmla="*/ 4302 h 150583"/>
              <a:gd name="connsiteX25" fmla="*/ 14628 w 151443"/>
              <a:gd name="connsiteY25" fmla="*/ 0 h 150583"/>
              <a:gd name="connsiteX26" fmla="*/ 136816 w 151443"/>
              <a:gd name="connsiteY26" fmla="*/ 0 h 150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1443" h="150583">
                <a:moveTo>
                  <a:pt x="113583" y="67978"/>
                </a:moveTo>
                <a:lnTo>
                  <a:pt x="113583" y="52489"/>
                </a:lnTo>
                <a:lnTo>
                  <a:pt x="98095" y="52489"/>
                </a:lnTo>
                <a:lnTo>
                  <a:pt x="98095" y="67978"/>
                </a:lnTo>
                <a:lnTo>
                  <a:pt x="113583" y="67978"/>
                </a:lnTo>
                <a:close/>
                <a:moveTo>
                  <a:pt x="83466" y="67978"/>
                </a:moveTo>
                <a:lnTo>
                  <a:pt x="83466" y="52489"/>
                </a:lnTo>
                <a:lnTo>
                  <a:pt x="68838" y="52489"/>
                </a:lnTo>
                <a:lnTo>
                  <a:pt x="68838" y="67978"/>
                </a:lnTo>
                <a:lnTo>
                  <a:pt x="83466" y="67978"/>
                </a:lnTo>
                <a:close/>
                <a:moveTo>
                  <a:pt x="53349" y="67978"/>
                </a:moveTo>
                <a:lnTo>
                  <a:pt x="53349" y="52489"/>
                </a:lnTo>
                <a:lnTo>
                  <a:pt x="37861" y="52489"/>
                </a:lnTo>
                <a:lnTo>
                  <a:pt x="37861" y="67978"/>
                </a:lnTo>
                <a:lnTo>
                  <a:pt x="53349" y="67978"/>
                </a:lnTo>
                <a:close/>
                <a:moveTo>
                  <a:pt x="136816" y="0"/>
                </a:moveTo>
                <a:cubicBezTo>
                  <a:pt x="141118" y="0"/>
                  <a:pt x="144559" y="1721"/>
                  <a:pt x="147141" y="4302"/>
                </a:cubicBezTo>
                <a:cubicBezTo>
                  <a:pt x="150583" y="6884"/>
                  <a:pt x="151444" y="10326"/>
                  <a:pt x="151444" y="14628"/>
                </a:cubicBezTo>
                <a:lnTo>
                  <a:pt x="151444" y="105839"/>
                </a:lnTo>
                <a:cubicBezTo>
                  <a:pt x="151444" y="110141"/>
                  <a:pt x="149723" y="113583"/>
                  <a:pt x="147141" y="116164"/>
                </a:cubicBezTo>
                <a:cubicBezTo>
                  <a:pt x="144559" y="119606"/>
                  <a:pt x="141118" y="120467"/>
                  <a:pt x="136816" y="120467"/>
                </a:cubicBezTo>
                <a:lnTo>
                  <a:pt x="30117" y="120467"/>
                </a:lnTo>
                <a:lnTo>
                  <a:pt x="0" y="150583"/>
                </a:lnTo>
                <a:lnTo>
                  <a:pt x="0" y="14628"/>
                </a:lnTo>
                <a:cubicBezTo>
                  <a:pt x="0" y="10326"/>
                  <a:pt x="1721" y="6884"/>
                  <a:pt x="4302" y="4302"/>
                </a:cubicBezTo>
                <a:cubicBezTo>
                  <a:pt x="7745" y="860"/>
                  <a:pt x="11186" y="0"/>
                  <a:pt x="14628" y="0"/>
                </a:cubicBezTo>
                <a:lnTo>
                  <a:pt x="136816" y="0"/>
                </a:lnTo>
                <a:close/>
              </a:path>
            </a:pathLst>
          </a:custGeom>
          <a:solidFill>
            <a:schemeClr val="accent1"/>
          </a:solidFill>
          <a:ln w="8603" cap="flat">
            <a:noFill/>
            <a:prstDash val="solid"/>
            <a:miter/>
          </a:ln>
        </p:spPr>
        <p:txBody>
          <a:bodyPr rtlCol="0" anchor="ctr"/>
          <a:lstStyle/>
          <a:p>
            <a:endParaRPr lang="fr-FR"/>
          </a:p>
        </p:txBody>
      </p:sp>
    </p:spTree>
    <p:extLst>
      <p:ext uri="{BB962C8B-B14F-4D97-AF65-F5344CB8AC3E}">
        <p14:creationId xmlns:p14="http://schemas.microsoft.com/office/powerpoint/2010/main" val="10198540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Agenda Color Picture">
    <p:bg>
      <p:bgPr>
        <a:gradFill flip="none" rotWithShape="1">
          <a:gsLst>
            <a:gs pos="0">
              <a:schemeClr val="accent1"/>
            </a:gs>
            <a:gs pos="100000">
              <a:schemeClr val="accent2"/>
            </a:gs>
          </a:gsLst>
          <a:lin ang="5400000" scaled="1"/>
          <a:tileRect/>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799C6CA-CACC-40BA-A825-A176D22A874B}"/>
              </a:ext>
            </a:extLst>
          </p:cNvPr>
          <p:cNvGraphicFramePr>
            <a:graphicFrameLocks noChangeAspect="1"/>
          </p:cNvGraphicFramePr>
          <p:nvPr userDrawn="1">
            <p:custDataLst>
              <p:tags r:id="rId2"/>
            </p:custDataLst>
            <p:extLst>
              <p:ext uri="{D42A27DB-BD31-4B8C-83A1-F6EECF244321}">
                <p14:modId xmlns:p14="http://schemas.microsoft.com/office/powerpoint/2010/main" val="11828988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6" name="think-cell Slide" r:id="rId5" imgW="473" imgH="474" progId="TCLayout.ActiveDocument.1">
                  <p:embed/>
                </p:oleObj>
              </mc:Choice>
              <mc:Fallback>
                <p:oleObj name="think-cell Slide" r:id="rId5" imgW="473" imgH="474" progId="TCLayout.ActiveDocument.1">
                  <p:embed/>
                  <p:pic>
                    <p:nvPicPr>
                      <p:cNvPr id="3" name="Object 2" hidden="1">
                        <a:extLst>
                          <a:ext uri="{FF2B5EF4-FFF2-40B4-BE49-F238E27FC236}">
                            <a16:creationId xmlns:a16="http://schemas.microsoft.com/office/drawing/2014/main" id="{8799C6CA-CACC-40BA-A825-A176D22A874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00FC0C89-C1CE-4776-A3D4-6245EB1A333E}"/>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Verdana" panose="020B0604030504040204" pitchFamily="34" charset="0"/>
              <a:ea typeface="+mj-ea"/>
              <a:cs typeface="+mj-cs"/>
              <a:sym typeface="Verdana" panose="020B0604030504040204" pitchFamily="34" charset="0"/>
            </a:endParaRPr>
          </a:p>
        </p:txBody>
      </p:sp>
      <p:sp>
        <p:nvSpPr>
          <p:cNvPr id="4" name="CuadroTexto 64">
            <a:extLst>
              <a:ext uri="{FF2B5EF4-FFF2-40B4-BE49-F238E27FC236}">
                <a16:creationId xmlns:a16="http://schemas.microsoft.com/office/drawing/2014/main" id="{CC2249F8-C077-487B-9BA3-4B911902A356}"/>
              </a:ext>
            </a:extLst>
          </p:cNvPr>
          <p:cNvSpPr txBox="1"/>
          <p:nvPr userDrawn="1"/>
        </p:nvSpPr>
        <p:spPr>
          <a:xfrm>
            <a:off x="10882303" y="6449284"/>
            <a:ext cx="936214" cy="138499"/>
          </a:xfrm>
          <a:prstGeom prst="rect">
            <a:avLst/>
          </a:prstGeom>
          <a:noFill/>
        </p:spPr>
        <p:txBody>
          <a:bodyPr wrap="square" lIns="0" tIns="0" rIns="0" bIns="0" rtlCol="0">
            <a:spAutoFit/>
          </a:bodyPr>
          <a:lstStyle/>
          <a:p>
            <a:pPr algn="r"/>
            <a:fld id="{A4EEDD72-1D6A-6B46-BCFA-C211F73E9379}" type="slidenum">
              <a:rPr lang="es-ES" sz="900" b="1" smtClean="0">
                <a:solidFill>
                  <a:schemeClr val="bg1"/>
                </a:solidFill>
                <a:latin typeface="Verdana" panose="020B0604030504040204" pitchFamily="34" charset="0"/>
                <a:ea typeface="Verdana" panose="020B0604030504040204" pitchFamily="34" charset="0"/>
                <a:cs typeface="Verdana" panose="020B0604030504040204" pitchFamily="34" charset="0"/>
              </a:rPr>
              <a:pPr algn="r"/>
              <a:t>‹N›</a:t>
            </a:fld>
            <a:endParaRPr lang="es-ES" sz="90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5" name="Text Placeholder 2">
            <a:extLst>
              <a:ext uri="{FF2B5EF4-FFF2-40B4-BE49-F238E27FC236}">
                <a16:creationId xmlns:a16="http://schemas.microsoft.com/office/drawing/2014/main" id="{CF579A3E-7345-456E-9716-B8A1EB859964}"/>
              </a:ext>
            </a:extLst>
          </p:cNvPr>
          <p:cNvSpPr>
            <a:spLocks noGrp="1"/>
          </p:cNvSpPr>
          <p:nvPr>
            <p:ph type="body" sz="quarter" idx="11" hasCustomPrompt="1"/>
          </p:nvPr>
        </p:nvSpPr>
        <p:spPr>
          <a:xfrm>
            <a:off x="367200" y="1396800"/>
            <a:ext cx="5731200" cy="4752000"/>
          </a:xfrm>
          <a:prstGeom prst="rect">
            <a:avLst/>
          </a:prstGeom>
        </p:spPr>
        <p:txBody>
          <a:bodyPr/>
          <a:lstStyle>
            <a:lvl1pPr marL="228600" marR="0" indent="-228600" algn="l" defTabSz="914400" rtl="0" eaLnBrk="1" fontAlgn="auto" latinLnBrk="0" hangingPunct="1">
              <a:lnSpc>
                <a:spcPct val="90000"/>
              </a:lnSpc>
              <a:spcBef>
                <a:spcPts val="1000"/>
              </a:spcBef>
              <a:spcAft>
                <a:spcPts val="0"/>
              </a:spcAft>
              <a:buClr>
                <a:schemeClr val="bg1"/>
              </a:buClr>
              <a:buSzTx/>
              <a:buFont typeface="Arial" panose="020B0604020202020204" pitchFamily="34" charset="0"/>
              <a:buChar char="•"/>
              <a:tabLst/>
              <a:defRPr lang="en-US" sz="1400" b="0" i="0" kern="1200" dirty="0" smtClean="0">
                <a:solidFill>
                  <a:srgbClr val="FFFFFF"/>
                </a:solidFill>
                <a:latin typeface="+mn-lt"/>
                <a:ea typeface="+mn-ea"/>
                <a:cs typeface="+mn-cs"/>
              </a:defRPr>
            </a:lvl1pPr>
          </a:lstStyle>
          <a:p>
            <a:pPr lvl="0"/>
            <a:r>
              <a:rPr lang="en-US" dirty="0"/>
              <a:t>Edit Master text styles</a:t>
            </a:r>
          </a:p>
          <a:p>
            <a:pPr lvl="0"/>
            <a:r>
              <a:rPr lang="en-US" dirty="0"/>
              <a:t>Edit Master text styles</a:t>
            </a:r>
          </a:p>
        </p:txBody>
      </p:sp>
      <p:sp>
        <p:nvSpPr>
          <p:cNvPr id="6" name="Text Placeholder 5">
            <a:extLst>
              <a:ext uri="{FF2B5EF4-FFF2-40B4-BE49-F238E27FC236}">
                <a16:creationId xmlns:a16="http://schemas.microsoft.com/office/drawing/2014/main" id="{EC806392-A3AF-4A5A-84AF-59D8296F851F}"/>
              </a:ext>
            </a:extLst>
          </p:cNvPr>
          <p:cNvSpPr>
            <a:spLocks noGrp="1"/>
          </p:cNvSpPr>
          <p:nvPr>
            <p:ph type="body" sz="quarter" idx="13" hasCustomPrompt="1"/>
          </p:nvPr>
        </p:nvSpPr>
        <p:spPr>
          <a:xfrm>
            <a:off x="367200" y="254622"/>
            <a:ext cx="6440488" cy="642938"/>
          </a:xfrm>
        </p:spPr>
        <p:txBody>
          <a:bodyPr/>
          <a:lstStyle>
            <a:lvl1pPr marL="0" algn="l" defTabSz="914400" rtl="0" eaLnBrk="1" latinLnBrk="0" hangingPunct="1">
              <a:lnSpc>
                <a:spcPct val="90000"/>
              </a:lnSpc>
              <a:spcBef>
                <a:spcPct val="0"/>
              </a:spcBef>
              <a:buNone/>
              <a:defRPr lang="en-US" sz="2400" b="1" i="0" kern="1200" dirty="0" smtClean="0">
                <a:solidFill>
                  <a:schemeClr val="bg1"/>
                </a:solidFill>
                <a:latin typeface="+mj-lt"/>
                <a:ea typeface="+mj-ea"/>
                <a:cs typeface="+mj-cs"/>
              </a:defRPr>
            </a:lvl1pPr>
            <a:lvl2pPr marL="0" indent="0" algn="l" defTabSz="914400" rtl="0" eaLnBrk="1" latinLnBrk="0" hangingPunct="1">
              <a:lnSpc>
                <a:spcPct val="90000"/>
              </a:lnSpc>
              <a:spcBef>
                <a:spcPct val="0"/>
              </a:spcBef>
              <a:buNone/>
              <a:defRPr lang="en-US" sz="2400" b="1" i="0" kern="1200" dirty="0" smtClean="0">
                <a:solidFill>
                  <a:schemeClr val="bg1"/>
                </a:solidFill>
                <a:latin typeface="+mj-lt"/>
                <a:ea typeface="+mj-ea"/>
                <a:cs typeface="+mj-cs"/>
              </a:defRPr>
            </a:lvl2pPr>
          </a:lstStyle>
          <a:p>
            <a:pPr lvl="0"/>
            <a:r>
              <a:rPr lang="en-US" dirty="0"/>
              <a:t>Click to edit Master title styles</a:t>
            </a:r>
          </a:p>
        </p:txBody>
      </p:sp>
      <p:sp>
        <p:nvSpPr>
          <p:cNvPr id="8" name="Marcador de posición de imagen 2">
            <a:extLst>
              <a:ext uri="{FF2B5EF4-FFF2-40B4-BE49-F238E27FC236}">
                <a16:creationId xmlns:a16="http://schemas.microsoft.com/office/drawing/2014/main" id="{E4F1106D-AF6F-42F7-98D6-A03790982A38}"/>
              </a:ext>
            </a:extLst>
          </p:cNvPr>
          <p:cNvSpPr>
            <a:spLocks noGrp="1"/>
          </p:cNvSpPr>
          <p:nvPr>
            <p:ph type="pic" sz="quarter" idx="12" hasCustomPrompt="1"/>
          </p:nvPr>
        </p:nvSpPr>
        <p:spPr>
          <a:xfrm>
            <a:off x="6538529" y="-14050"/>
            <a:ext cx="5670915" cy="6877222"/>
          </a:xfrm>
          <a:custGeom>
            <a:avLst/>
            <a:gdLst>
              <a:gd name="connsiteX0" fmla="*/ 0 w 4592124"/>
              <a:gd name="connsiteY0" fmla="*/ 0 h 6858000"/>
              <a:gd name="connsiteX1" fmla="*/ 4592124 w 4592124"/>
              <a:gd name="connsiteY1" fmla="*/ 0 h 6858000"/>
              <a:gd name="connsiteX2" fmla="*/ 4592124 w 4592124"/>
              <a:gd name="connsiteY2" fmla="*/ 6858000 h 6858000"/>
              <a:gd name="connsiteX3" fmla="*/ 0 w 4592124"/>
              <a:gd name="connsiteY3" fmla="*/ 6858000 h 6858000"/>
              <a:gd name="connsiteX4" fmla="*/ 0 w 4592124"/>
              <a:gd name="connsiteY4" fmla="*/ 0 h 6858000"/>
              <a:gd name="connsiteX0" fmla="*/ 2549525 w 4592124"/>
              <a:gd name="connsiteY0" fmla="*/ 1058 h 6858000"/>
              <a:gd name="connsiteX1" fmla="*/ 4592124 w 4592124"/>
              <a:gd name="connsiteY1" fmla="*/ 0 h 6858000"/>
              <a:gd name="connsiteX2" fmla="*/ 4592124 w 4592124"/>
              <a:gd name="connsiteY2" fmla="*/ 6858000 h 6858000"/>
              <a:gd name="connsiteX3" fmla="*/ 0 w 4592124"/>
              <a:gd name="connsiteY3" fmla="*/ 6858000 h 6858000"/>
              <a:gd name="connsiteX4" fmla="*/ 2549525 w 4592124"/>
              <a:gd name="connsiteY4" fmla="*/ 1058 h 6858000"/>
              <a:gd name="connsiteX0" fmla="*/ 2549525 w 4592124"/>
              <a:gd name="connsiteY0" fmla="*/ 0 h 6856942"/>
              <a:gd name="connsiteX1" fmla="*/ 4592124 w 4592124"/>
              <a:gd name="connsiteY1" fmla="*/ 1371762 h 6856942"/>
              <a:gd name="connsiteX2" fmla="*/ 4592124 w 4592124"/>
              <a:gd name="connsiteY2" fmla="*/ 6856942 h 6856942"/>
              <a:gd name="connsiteX3" fmla="*/ 0 w 4592124"/>
              <a:gd name="connsiteY3" fmla="*/ 6856942 h 6856942"/>
              <a:gd name="connsiteX4" fmla="*/ 2549525 w 4592124"/>
              <a:gd name="connsiteY4" fmla="*/ 0 h 6856942"/>
              <a:gd name="connsiteX0" fmla="*/ 2045812 w 4592124"/>
              <a:gd name="connsiteY0" fmla="*/ 1058 h 5485180"/>
              <a:gd name="connsiteX1" fmla="*/ 4592124 w 4592124"/>
              <a:gd name="connsiteY1" fmla="*/ 0 h 5485180"/>
              <a:gd name="connsiteX2" fmla="*/ 4592124 w 4592124"/>
              <a:gd name="connsiteY2" fmla="*/ 5485180 h 5485180"/>
              <a:gd name="connsiteX3" fmla="*/ 0 w 4592124"/>
              <a:gd name="connsiteY3" fmla="*/ 5485180 h 5485180"/>
              <a:gd name="connsiteX4" fmla="*/ 2045812 w 4592124"/>
              <a:gd name="connsiteY4" fmla="*/ 1058 h 5485180"/>
              <a:gd name="connsiteX0" fmla="*/ 2028628 w 4592124"/>
              <a:gd name="connsiteY0" fmla="*/ 36027 h 5485180"/>
              <a:gd name="connsiteX1" fmla="*/ 4592124 w 4592124"/>
              <a:gd name="connsiteY1" fmla="*/ 0 h 5485180"/>
              <a:gd name="connsiteX2" fmla="*/ 4592124 w 4592124"/>
              <a:gd name="connsiteY2" fmla="*/ 5485180 h 5485180"/>
              <a:gd name="connsiteX3" fmla="*/ 0 w 4592124"/>
              <a:gd name="connsiteY3" fmla="*/ 5485180 h 5485180"/>
              <a:gd name="connsiteX4" fmla="*/ 2028628 w 4592124"/>
              <a:gd name="connsiteY4" fmla="*/ 36027 h 5485180"/>
              <a:gd name="connsiteX0" fmla="*/ 2028628 w 4592124"/>
              <a:gd name="connsiteY0" fmla="*/ 4509 h 5453662"/>
              <a:gd name="connsiteX1" fmla="*/ 4568296 w 4592124"/>
              <a:gd name="connsiteY1" fmla="*/ 0 h 5453662"/>
              <a:gd name="connsiteX2" fmla="*/ 4592124 w 4592124"/>
              <a:gd name="connsiteY2" fmla="*/ 5453662 h 5453662"/>
              <a:gd name="connsiteX3" fmla="*/ 0 w 4592124"/>
              <a:gd name="connsiteY3" fmla="*/ 5453662 h 5453662"/>
              <a:gd name="connsiteX4" fmla="*/ 2028628 w 4592124"/>
              <a:gd name="connsiteY4" fmla="*/ 4509 h 5453662"/>
              <a:gd name="connsiteX0" fmla="*/ 2028628 w 4743341"/>
              <a:gd name="connsiteY0" fmla="*/ 4509 h 5460656"/>
              <a:gd name="connsiteX1" fmla="*/ 4568296 w 4743341"/>
              <a:gd name="connsiteY1" fmla="*/ 0 h 5460656"/>
              <a:gd name="connsiteX2" fmla="*/ 4743341 w 4743341"/>
              <a:gd name="connsiteY2" fmla="*/ 5460656 h 5460656"/>
              <a:gd name="connsiteX3" fmla="*/ 0 w 4743341"/>
              <a:gd name="connsiteY3" fmla="*/ 5453662 h 5460656"/>
              <a:gd name="connsiteX4" fmla="*/ 2028628 w 4743341"/>
              <a:gd name="connsiteY4" fmla="*/ 4509 h 5460656"/>
              <a:gd name="connsiteX0" fmla="*/ 2028628 w 4760755"/>
              <a:gd name="connsiteY0" fmla="*/ 4509 h 5460656"/>
              <a:gd name="connsiteX1" fmla="*/ 4760755 w 4760755"/>
              <a:gd name="connsiteY1" fmla="*/ 0 h 5460656"/>
              <a:gd name="connsiteX2" fmla="*/ 4743341 w 4760755"/>
              <a:gd name="connsiteY2" fmla="*/ 5460656 h 5460656"/>
              <a:gd name="connsiteX3" fmla="*/ 0 w 4760755"/>
              <a:gd name="connsiteY3" fmla="*/ 5453662 h 5460656"/>
              <a:gd name="connsiteX4" fmla="*/ 2028628 w 4760755"/>
              <a:gd name="connsiteY4" fmla="*/ 4509 h 5460656"/>
              <a:gd name="connsiteX0" fmla="*/ 2042201 w 4774328"/>
              <a:gd name="connsiteY0" fmla="*/ 4509 h 5467473"/>
              <a:gd name="connsiteX1" fmla="*/ 4774328 w 4774328"/>
              <a:gd name="connsiteY1" fmla="*/ 0 h 5467473"/>
              <a:gd name="connsiteX2" fmla="*/ 4756914 w 4774328"/>
              <a:gd name="connsiteY2" fmla="*/ 5460656 h 5467473"/>
              <a:gd name="connsiteX3" fmla="*/ 0 w 4774328"/>
              <a:gd name="connsiteY3" fmla="*/ 5467473 h 5467473"/>
              <a:gd name="connsiteX4" fmla="*/ 2042201 w 4774328"/>
              <a:gd name="connsiteY4" fmla="*/ 4509 h 5467473"/>
              <a:gd name="connsiteX0" fmla="*/ 2042201 w 4774328"/>
              <a:gd name="connsiteY0" fmla="*/ 4509 h 5474466"/>
              <a:gd name="connsiteX1" fmla="*/ 4774328 w 4774328"/>
              <a:gd name="connsiteY1" fmla="*/ 0 h 5474466"/>
              <a:gd name="connsiteX2" fmla="*/ 4765962 w 4774328"/>
              <a:gd name="connsiteY2" fmla="*/ 5474466 h 5474466"/>
              <a:gd name="connsiteX3" fmla="*/ 0 w 4774328"/>
              <a:gd name="connsiteY3" fmla="*/ 5467473 h 5474466"/>
              <a:gd name="connsiteX4" fmla="*/ 2042201 w 4774328"/>
              <a:gd name="connsiteY4" fmla="*/ 4509 h 5474466"/>
              <a:gd name="connsiteX0" fmla="*/ 2042201 w 4778853"/>
              <a:gd name="connsiteY0" fmla="*/ 0 h 5469957"/>
              <a:gd name="connsiteX1" fmla="*/ 4778853 w 4778853"/>
              <a:gd name="connsiteY1" fmla="*/ 4698 h 5469957"/>
              <a:gd name="connsiteX2" fmla="*/ 4765962 w 4778853"/>
              <a:gd name="connsiteY2" fmla="*/ 5469957 h 5469957"/>
              <a:gd name="connsiteX3" fmla="*/ 0 w 4778853"/>
              <a:gd name="connsiteY3" fmla="*/ 5462964 h 5469957"/>
              <a:gd name="connsiteX4" fmla="*/ 2042201 w 4778853"/>
              <a:gd name="connsiteY4" fmla="*/ 0 h 5469957"/>
              <a:gd name="connsiteX0" fmla="*/ 2042201 w 4781135"/>
              <a:gd name="connsiteY0" fmla="*/ 0 h 5462964"/>
              <a:gd name="connsiteX1" fmla="*/ 4778853 w 4781135"/>
              <a:gd name="connsiteY1" fmla="*/ 4698 h 5462964"/>
              <a:gd name="connsiteX2" fmla="*/ 4779535 w 4781135"/>
              <a:gd name="connsiteY2" fmla="*/ 5460751 h 5462964"/>
              <a:gd name="connsiteX3" fmla="*/ 0 w 4781135"/>
              <a:gd name="connsiteY3" fmla="*/ 5462964 h 5462964"/>
              <a:gd name="connsiteX4" fmla="*/ 2042201 w 4781135"/>
              <a:gd name="connsiteY4" fmla="*/ 0 h 5462964"/>
              <a:gd name="connsiteX0" fmla="*/ 2046725 w 4781135"/>
              <a:gd name="connsiteY0" fmla="*/ 0 h 5467567"/>
              <a:gd name="connsiteX1" fmla="*/ 4778853 w 4781135"/>
              <a:gd name="connsiteY1" fmla="*/ 9301 h 5467567"/>
              <a:gd name="connsiteX2" fmla="*/ 4779535 w 4781135"/>
              <a:gd name="connsiteY2" fmla="*/ 5465354 h 5467567"/>
              <a:gd name="connsiteX3" fmla="*/ 0 w 4781135"/>
              <a:gd name="connsiteY3" fmla="*/ 5467567 h 5467567"/>
              <a:gd name="connsiteX4" fmla="*/ 2046725 w 4781135"/>
              <a:gd name="connsiteY4" fmla="*/ 0 h 5467567"/>
              <a:gd name="connsiteX0" fmla="*/ 2046725 w 4779604"/>
              <a:gd name="connsiteY0" fmla="*/ 2821 h 5470388"/>
              <a:gd name="connsiteX1" fmla="*/ 4433343 w 4779604"/>
              <a:gd name="connsiteY1" fmla="*/ 0 h 5470388"/>
              <a:gd name="connsiteX2" fmla="*/ 4779535 w 4779604"/>
              <a:gd name="connsiteY2" fmla="*/ 5468175 h 5470388"/>
              <a:gd name="connsiteX3" fmla="*/ 0 w 4779604"/>
              <a:gd name="connsiteY3" fmla="*/ 5470388 h 5470388"/>
              <a:gd name="connsiteX4" fmla="*/ 2046725 w 4779604"/>
              <a:gd name="connsiteY4" fmla="*/ 2821 h 5470388"/>
              <a:gd name="connsiteX0" fmla="*/ 2046725 w 4433343"/>
              <a:gd name="connsiteY0" fmla="*/ 2821 h 5470388"/>
              <a:gd name="connsiteX1" fmla="*/ 4433343 w 4433343"/>
              <a:gd name="connsiteY1" fmla="*/ 0 h 5470388"/>
              <a:gd name="connsiteX2" fmla="*/ 4426082 w 4433343"/>
              <a:gd name="connsiteY2" fmla="*/ 5468175 h 5470388"/>
              <a:gd name="connsiteX3" fmla="*/ 0 w 4433343"/>
              <a:gd name="connsiteY3" fmla="*/ 5470388 h 5470388"/>
              <a:gd name="connsiteX4" fmla="*/ 2046725 w 4433343"/>
              <a:gd name="connsiteY4" fmla="*/ 2821 h 5470388"/>
              <a:gd name="connsiteX0" fmla="*/ 2046725 w 4433343"/>
              <a:gd name="connsiteY0" fmla="*/ 2821 h 5470388"/>
              <a:gd name="connsiteX1" fmla="*/ 4433343 w 4433343"/>
              <a:gd name="connsiteY1" fmla="*/ 0 h 5470388"/>
              <a:gd name="connsiteX2" fmla="*/ 4426082 w 4433343"/>
              <a:gd name="connsiteY2" fmla="*/ 5468175 h 5470388"/>
              <a:gd name="connsiteX3" fmla="*/ 0 w 4433343"/>
              <a:gd name="connsiteY3" fmla="*/ 5470388 h 5470388"/>
              <a:gd name="connsiteX4" fmla="*/ 2046725 w 4433343"/>
              <a:gd name="connsiteY4" fmla="*/ 2821 h 5470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3343" h="5470388">
                <a:moveTo>
                  <a:pt x="2046725" y="2821"/>
                </a:moveTo>
                <a:lnTo>
                  <a:pt x="4433343" y="0"/>
                </a:lnTo>
                <a:cubicBezTo>
                  <a:pt x="4427538" y="1820219"/>
                  <a:pt x="4431887" y="3647956"/>
                  <a:pt x="4426082" y="5468175"/>
                </a:cubicBezTo>
                <a:lnTo>
                  <a:pt x="0" y="5470388"/>
                </a:lnTo>
                <a:lnTo>
                  <a:pt x="2046725" y="2821"/>
                </a:lnTo>
                <a:close/>
              </a:path>
            </a:pathLst>
          </a:custGeom>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F9900"/>
                </a:solidFill>
                <a:prstDash val="solid"/>
                <a:round/>
                <a:headEnd type="none" w="med" len="med"/>
                <a:tailEnd type="none" w="med" len="med"/>
              </a14:hiddenLine>
            </a:ext>
          </a:extLst>
        </p:spPr>
        <p:txBody>
          <a:bodyPr anchor="ctr"/>
          <a:lstStyle>
            <a:lvl1pPr marL="228600" marR="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a:solidFill>
                  <a:srgbClr val="FFFFFF"/>
                </a:solidFill>
              </a:defRPr>
            </a:lvl1pPr>
          </a:lstStyle>
          <a:p>
            <a:pPr marL="228600" marR="0" lvl="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Drag picture to placeholder </a:t>
            </a:r>
            <a:br>
              <a:rPr lang="en-US" dirty="0"/>
            </a:br>
            <a:r>
              <a:rPr lang="en-US" dirty="0"/>
              <a:t>or click icon to add</a:t>
            </a:r>
          </a:p>
        </p:txBody>
      </p:sp>
      <p:sp>
        <p:nvSpPr>
          <p:cNvPr id="9" name="Rectangle 8">
            <a:extLst>
              <a:ext uri="{FF2B5EF4-FFF2-40B4-BE49-F238E27FC236}">
                <a16:creationId xmlns:a16="http://schemas.microsoft.com/office/drawing/2014/main" id="{1239AA17-8738-4D9F-9EE6-683BA57CA59D}"/>
              </a:ext>
            </a:extLst>
          </p:cNvPr>
          <p:cNvSpPr/>
          <p:nvPr userDrawn="1"/>
        </p:nvSpPr>
        <p:spPr>
          <a:xfrm>
            <a:off x="3051745"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1" name="Rectangle 10">
            <a:extLst>
              <a:ext uri="{FF2B5EF4-FFF2-40B4-BE49-F238E27FC236}">
                <a16:creationId xmlns:a16="http://schemas.microsoft.com/office/drawing/2014/main" id="{2E3E47A5-4CE4-4B30-A14D-C86E5C96AAF8}"/>
              </a:ext>
            </a:extLst>
          </p:cNvPr>
          <p:cNvSpPr/>
          <p:nvPr userDrawn="1"/>
        </p:nvSpPr>
        <p:spPr>
          <a:xfrm>
            <a:off x="7490"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2" name="Rectangle 11">
            <a:extLst>
              <a:ext uri="{FF2B5EF4-FFF2-40B4-BE49-F238E27FC236}">
                <a16:creationId xmlns:a16="http://schemas.microsoft.com/office/drawing/2014/main" id="{FFF40FDF-A4AC-4ACE-945C-2AB94EF41ECC}"/>
              </a:ext>
            </a:extLst>
          </p:cNvPr>
          <p:cNvSpPr/>
          <p:nvPr userDrawn="1"/>
        </p:nvSpPr>
        <p:spPr>
          <a:xfrm>
            <a:off x="9149414"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3" name="Rectangle 12">
            <a:extLst>
              <a:ext uri="{FF2B5EF4-FFF2-40B4-BE49-F238E27FC236}">
                <a16:creationId xmlns:a16="http://schemas.microsoft.com/office/drawing/2014/main" id="{2EC79A2F-8581-4F78-B2C7-3586C093528A}"/>
              </a:ext>
            </a:extLst>
          </p:cNvPr>
          <p:cNvSpPr/>
          <p:nvPr userDrawn="1"/>
        </p:nvSpPr>
        <p:spPr>
          <a:xfrm>
            <a:off x="6105159"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pic>
        <p:nvPicPr>
          <p:cNvPr id="14" name="Graphic 10">
            <a:extLst>
              <a:ext uri="{FF2B5EF4-FFF2-40B4-BE49-F238E27FC236}">
                <a16:creationId xmlns:a16="http://schemas.microsoft.com/office/drawing/2014/main" id="{8EA8F761-4189-420E-96C9-460A6A4EC63F}"/>
              </a:ext>
            </a:extLst>
          </p:cNvPr>
          <p:cNvPicPr>
            <a:picLocks noChangeAspect="1"/>
          </p:cNvPicPr>
          <p:nvPr userDrawn="1"/>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70517" y="6420188"/>
            <a:ext cx="675863" cy="162467"/>
          </a:xfrm>
          <a:prstGeom prst="rect">
            <a:avLst/>
          </a:prstGeom>
        </p:spPr>
      </p:pic>
    </p:spTree>
    <p:extLst>
      <p:ext uri="{BB962C8B-B14F-4D97-AF65-F5344CB8AC3E}">
        <p14:creationId xmlns:p14="http://schemas.microsoft.com/office/powerpoint/2010/main" val="28366110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2_Title Slide Simple">
    <p:bg>
      <p:bgPr>
        <a:gradFill flip="none" rotWithShape="1">
          <a:gsLst>
            <a:gs pos="0">
              <a:schemeClr val="accent1"/>
            </a:gs>
            <a:gs pos="100000">
              <a:schemeClr val="accent2"/>
            </a:gs>
          </a:gsLst>
          <a:lin ang="5400000" scaled="1"/>
          <a:tileRect/>
        </a:gra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F3107E2-3D7C-4EA6-A3AE-B45AC3CE498F}"/>
              </a:ext>
            </a:extLst>
          </p:cNvPr>
          <p:cNvGraphicFramePr>
            <a:graphicFrameLocks noChangeAspect="1"/>
          </p:cNvGraphicFramePr>
          <p:nvPr userDrawn="1">
            <p:custDataLst>
              <p:tags r:id="rId2"/>
            </p:custDataLst>
            <p:extLst>
              <p:ext uri="{D42A27DB-BD31-4B8C-83A1-F6EECF244321}">
                <p14:modId xmlns:p14="http://schemas.microsoft.com/office/powerpoint/2010/main" val="345155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6" name="think-cell Slide" r:id="rId4" imgW="473" imgH="474" progId="TCLayout.ActiveDocument.1">
                  <p:embed/>
                </p:oleObj>
              </mc:Choice>
              <mc:Fallback>
                <p:oleObj name="think-cell Slide" r:id="rId4" imgW="473" imgH="474" progId="TCLayout.ActiveDocument.1">
                  <p:embed/>
                  <p:pic>
                    <p:nvPicPr>
                      <p:cNvPr id="5" name="Object 4" hidden="1">
                        <a:extLst>
                          <a:ext uri="{FF2B5EF4-FFF2-40B4-BE49-F238E27FC236}">
                            <a16:creationId xmlns:a16="http://schemas.microsoft.com/office/drawing/2014/main" id="{5F3107E2-3D7C-4EA6-A3AE-B45AC3CE498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Picture 7">
            <a:extLst>
              <a:ext uri="{FF2B5EF4-FFF2-40B4-BE49-F238E27FC236}">
                <a16:creationId xmlns:a16="http://schemas.microsoft.com/office/drawing/2014/main" id="{588F6A14-7494-EC4A-867C-864E07DD2DFD}"/>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698500" y="532355"/>
            <a:ext cx="2412941" cy="591595"/>
          </a:xfrm>
          <a:prstGeom prst="rect">
            <a:avLst/>
          </a:prstGeom>
        </p:spPr>
      </p:pic>
      <p:sp>
        <p:nvSpPr>
          <p:cNvPr id="11" name="Título 1">
            <a:extLst>
              <a:ext uri="{FF2B5EF4-FFF2-40B4-BE49-F238E27FC236}">
                <a16:creationId xmlns:a16="http://schemas.microsoft.com/office/drawing/2014/main" id="{4BFB3231-EC8D-AC43-B9D1-D6556772F6F4}"/>
              </a:ext>
            </a:extLst>
          </p:cNvPr>
          <p:cNvSpPr>
            <a:spLocks noGrp="1"/>
          </p:cNvSpPr>
          <p:nvPr>
            <p:ph type="ctrTitle" hasCustomPrompt="1"/>
          </p:nvPr>
        </p:nvSpPr>
        <p:spPr>
          <a:xfrm>
            <a:off x="698500" y="2924496"/>
            <a:ext cx="5397500" cy="636702"/>
          </a:xfrm>
          <a:prstGeom prst="rect">
            <a:avLst/>
          </a:prstGeom>
        </p:spPr>
        <p:txBody>
          <a:bodyPr anchor="t"/>
          <a:lstStyle>
            <a:lvl1pPr algn="l">
              <a:lnSpc>
                <a:spcPct val="100000"/>
              </a:lnSpc>
              <a:defRPr sz="3600" b="1">
                <a:solidFill>
                  <a:schemeClr val="bg1"/>
                </a:solidFill>
                <a:latin typeface="+mj-lt"/>
              </a:defRPr>
            </a:lvl1pPr>
          </a:lstStyle>
          <a:p>
            <a:r>
              <a:rPr lang="es-ES" dirty="0" err="1"/>
              <a:t>Presentation</a:t>
            </a:r>
            <a:r>
              <a:rPr lang="es-ES" dirty="0"/>
              <a:t> </a:t>
            </a:r>
            <a:r>
              <a:rPr lang="es-ES" dirty="0" err="1"/>
              <a:t>title</a:t>
            </a:r>
            <a:r>
              <a:rPr lang="es-ES" dirty="0"/>
              <a:t> </a:t>
            </a:r>
            <a:r>
              <a:rPr lang="es-ES" dirty="0" err="1"/>
              <a:t>goes</a:t>
            </a:r>
            <a:r>
              <a:rPr lang="es-ES" dirty="0"/>
              <a:t> </a:t>
            </a:r>
            <a:r>
              <a:rPr lang="es-ES" dirty="0" err="1"/>
              <a:t>here</a:t>
            </a:r>
            <a:endParaRPr lang="es-ES" dirty="0"/>
          </a:p>
        </p:txBody>
      </p:sp>
      <p:sp>
        <p:nvSpPr>
          <p:cNvPr id="13" name="Subtítulo 2">
            <a:extLst>
              <a:ext uri="{FF2B5EF4-FFF2-40B4-BE49-F238E27FC236}">
                <a16:creationId xmlns:a16="http://schemas.microsoft.com/office/drawing/2014/main" id="{EA5FD70C-DAB3-DD4D-8618-2EAF4E482F89}"/>
              </a:ext>
            </a:extLst>
          </p:cNvPr>
          <p:cNvSpPr>
            <a:spLocks noGrp="1"/>
          </p:cNvSpPr>
          <p:nvPr>
            <p:ph type="subTitle" idx="1" hasCustomPrompt="1"/>
          </p:nvPr>
        </p:nvSpPr>
        <p:spPr>
          <a:xfrm>
            <a:off x="698500" y="4336157"/>
            <a:ext cx="5397500" cy="814028"/>
          </a:xfrm>
          <a:prstGeom prst="rect">
            <a:avLst/>
          </a:prstGeom>
        </p:spPr>
        <p:txBody>
          <a:bodyPr anchor="t"/>
          <a:lstStyle>
            <a:lvl1pPr marL="0" indent="0" algn="l">
              <a:lnSpc>
                <a:spcPct val="100000"/>
              </a:lnSpc>
              <a:buNone/>
              <a:defRPr sz="2400" b="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err="1"/>
              <a:t>Subtitle</a:t>
            </a:r>
            <a:r>
              <a:rPr lang="es-ES" dirty="0"/>
              <a:t> </a:t>
            </a:r>
            <a:r>
              <a:rPr lang="es-ES" dirty="0" err="1"/>
              <a:t>goes</a:t>
            </a:r>
            <a:r>
              <a:rPr lang="es-ES" dirty="0"/>
              <a:t> </a:t>
            </a:r>
            <a:r>
              <a:rPr lang="es-ES" dirty="0" err="1"/>
              <a:t>here</a:t>
            </a:r>
            <a:endParaRPr lang="es-ES" dirty="0"/>
          </a:p>
        </p:txBody>
      </p:sp>
      <p:sp>
        <p:nvSpPr>
          <p:cNvPr id="14" name="Marcador de texto 10">
            <a:extLst>
              <a:ext uri="{FF2B5EF4-FFF2-40B4-BE49-F238E27FC236}">
                <a16:creationId xmlns:a16="http://schemas.microsoft.com/office/drawing/2014/main" id="{E2245453-498C-BF41-952E-3A5616970131}"/>
              </a:ext>
            </a:extLst>
          </p:cNvPr>
          <p:cNvSpPr>
            <a:spLocks noGrp="1"/>
          </p:cNvSpPr>
          <p:nvPr>
            <p:ph type="body" sz="quarter" idx="10" hasCustomPrompt="1"/>
          </p:nvPr>
        </p:nvSpPr>
        <p:spPr>
          <a:xfrm>
            <a:off x="698500" y="5734050"/>
            <a:ext cx="5397500" cy="674688"/>
          </a:xfrm>
          <a:prstGeom prst="rect">
            <a:avLst/>
          </a:prstGeom>
        </p:spPr>
        <p:txBody>
          <a:bodyPr/>
          <a:lstStyle>
            <a:lvl1pPr algn="l">
              <a:lnSpc>
                <a:spcPct val="140000"/>
              </a:lnSpc>
              <a:spcBef>
                <a:spcPts val="0"/>
              </a:spcBef>
              <a:buFontTx/>
              <a:buNone/>
              <a:defRPr sz="1200">
                <a:solidFill>
                  <a:schemeClr val="bg1"/>
                </a:solidFill>
              </a:defRPr>
            </a:lvl1pPr>
            <a:lvl2pPr algn="ctr">
              <a:buFontTx/>
              <a:buNone/>
              <a:defRPr sz="1200">
                <a:solidFill>
                  <a:schemeClr val="bg1"/>
                </a:solidFill>
              </a:defRPr>
            </a:lvl2pPr>
            <a:lvl3pPr algn="ctr">
              <a:buFontTx/>
              <a:buNone/>
              <a:defRPr sz="1200">
                <a:solidFill>
                  <a:schemeClr val="bg1"/>
                </a:solidFill>
              </a:defRPr>
            </a:lvl3pPr>
            <a:lvl4pPr algn="ctr">
              <a:buFontTx/>
              <a:buNone/>
              <a:defRPr sz="1200">
                <a:solidFill>
                  <a:schemeClr val="bg1"/>
                </a:solidFill>
              </a:defRPr>
            </a:lvl4pPr>
            <a:lvl5pPr algn="ctr">
              <a:buFontTx/>
              <a:buNone/>
              <a:defRPr sz="1200">
                <a:solidFill>
                  <a:schemeClr val="bg1"/>
                </a:solidFill>
              </a:defRPr>
            </a:lvl5pPr>
          </a:lstStyle>
          <a:p>
            <a:pPr lvl="0"/>
            <a:r>
              <a:rPr lang="es-ES" dirty="0" err="1"/>
              <a:t>Name</a:t>
            </a:r>
            <a:r>
              <a:rPr lang="es-ES" dirty="0"/>
              <a:t> </a:t>
            </a:r>
            <a:br>
              <a:rPr lang="es-ES" dirty="0"/>
            </a:br>
            <a:r>
              <a:rPr lang="es-ES" dirty="0"/>
              <a:t>Job </a:t>
            </a:r>
            <a:r>
              <a:rPr lang="es-ES" dirty="0" err="1"/>
              <a:t>Title</a:t>
            </a:r>
            <a:endParaRPr lang="es-ES" dirty="0"/>
          </a:p>
        </p:txBody>
      </p:sp>
      <p:sp>
        <p:nvSpPr>
          <p:cNvPr id="19" name="Marcador de posición de imagen 2">
            <a:extLst>
              <a:ext uri="{FF2B5EF4-FFF2-40B4-BE49-F238E27FC236}">
                <a16:creationId xmlns:a16="http://schemas.microsoft.com/office/drawing/2014/main" id="{1827C2A2-0134-4391-96A1-5B941A0E6401}"/>
              </a:ext>
            </a:extLst>
          </p:cNvPr>
          <p:cNvSpPr>
            <a:spLocks noGrp="1"/>
          </p:cNvSpPr>
          <p:nvPr>
            <p:ph type="pic" sz="quarter" idx="12" hasCustomPrompt="1"/>
          </p:nvPr>
        </p:nvSpPr>
        <p:spPr>
          <a:xfrm>
            <a:off x="6538529" y="-14050"/>
            <a:ext cx="5670915" cy="6877222"/>
          </a:xfrm>
          <a:custGeom>
            <a:avLst/>
            <a:gdLst>
              <a:gd name="connsiteX0" fmla="*/ 0 w 4592124"/>
              <a:gd name="connsiteY0" fmla="*/ 0 h 6858000"/>
              <a:gd name="connsiteX1" fmla="*/ 4592124 w 4592124"/>
              <a:gd name="connsiteY1" fmla="*/ 0 h 6858000"/>
              <a:gd name="connsiteX2" fmla="*/ 4592124 w 4592124"/>
              <a:gd name="connsiteY2" fmla="*/ 6858000 h 6858000"/>
              <a:gd name="connsiteX3" fmla="*/ 0 w 4592124"/>
              <a:gd name="connsiteY3" fmla="*/ 6858000 h 6858000"/>
              <a:gd name="connsiteX4" fmla="*/ 0 w 4592124"/>
              <a:gd name="connsiteY4" fmla="*/ 0 h 6858000"/>
              <a:gd name="connsiteX0" fmla="*/ 2549525 w 4592124"/>
              <a:gd name="connsiteY0" fmla="*/ 1058 h 6858000"/>
              <a:gd name="connsiteX1" fmla="*/ 4592124 w 4592124"/>
              <a:gd name="connsiteY1" fmla="*/ 0 h 6858000"/>
              <a:gd name="connsiteX2" fmla="*/ 4592124 w 4592124"/>
              <a:gd name="connsiteY2" fmla="*/ 6858000 h 6858000"/>
              <a:gd name="connsiteX3" fmla="*/ 0 w 4592124"/>
              <a:gd name="connsiteY3" fmla="*/ 6858000 h 6858000"/>
              <a:gd name="connsiteX4" fmla="*/ 2549525 w 4592124"/>
              <a:gd name="connsiteY4" fmla="*/ 1058 h 6858000"/>
              <a:gd name="connsiteX0" fmla="*/ 2549525 w 4592124"/>
              <a:gd name="connsiteY0" fmla="*/ 0 h 6856942"/>
              <a:gd name="connsiteX1" fmla="*/ 4592124 w 4592124"/>
              <a:gd name="connsiteY1" fmla="*/ 1371762 h 6856942"/>
              <a:gd name="connsiteX2" fmla="*/ 4592124 w 4592124"/>
              <a:gd name="connsiteY2" fmla="*/ 6856942 h 6856942"/>
              <a:gd name="connsiteX3" fmla="*/ 0 w 4592124"/>
              <a:gd name="connsiteY3" fmla="*/ 6856942 h 6856942"/>
              <a:gd name="connsiteX4" fmla="*/ 2549525 w 4592124"/>
              <a:gd name="connsiteY4" fmla="*/ 0 h 6856942"/>
              <a:gd name="connsiteX0" fmla="*/ 2045812 w 4592124"/>
              <a:gd name="connsiteY0" fmla="*/ 1058 h 5485180"/>
              <a:gd name="connsiteX1" fmla="*/ 4592124 w 4592124"/>
              <a:gd name="connsiteY1" fmla="*/ 0 h 5485180"/>
              <a:gd name="connsiteX2" fmla="*/ 4592124 w 4592124"/>
              <a:gd name="connsiteY2" fmla="*/ 5485180 h 5485180"/>
              <a:gd name="connsiteX3" fmla="*/ 0 w 4592124"/>
              <a:gd name="connsiteY3" fmla="*/ 5485180 h 5485180"/>
              <a:gd name="connsiteX4" fmla="*/ 2045812 w 4592124"/>
              <a:gd name="connsiteY4" fmla="*/ 1058 h 5485180"/>
              <a:gd name="connsiteX0" fmla="*/ 2028628 w 4592124"/>
              <a:gd name="connsiteY0" fmla="*/ 36027 h 5485180"/>
              <a:gd name="connsiteX1" fmla="*/ 4592124 w 4592124"/>
              <a:gd name="connsiteY1" fmla="*/ 0 h 5485180"/>
              <a:gd name="connsiteX2" fmla="*/ 4592124 w 4592124"/>
              <a:gd name="connsiteY2" fmla="*/ 5485180 h 5485180"/>
              <a:gd name="connsiteX3" fmla="*/ 0 w 4592124"/>
              <a:gd name="connsiteY3" fmla="*/ 5485180 h 5485180"/>
              <a:gd name="connsiteX4" fmla="*/ 2028628 w 4592124"/>
              <a:gd name="connsiteY4" fmla="*/ 36027 h 5485180"/>
              <a:gd name="connsiteX0" fmla="*/ 2028628 w 4592124"/>
              <a:gd name="connsiteY0" fmla="*/ 4509 h 5453662"/>
              <a:gd name="connsiteX1" fmla="*/ 4568296 w 4592124"/>
              <a:gd name="connsiteY1" fmla="*/ 0 h 5453662"/>
              <a:gd name="connsiteX2" fmla="*/ 4592124 w 4592124"/>
              <a:gd name="connsiteY2" fmla="*/ 5453662 h 5453662"/>
              <a:gd name="connsiteX3" fmla="*/ 0 w 4592124"/>
              <a:gd name="connsiteY3" fmla="*/ 5453662 h 5453662"/>
              <a:gd name="connsiteX4" fmla="*/ 2028628 w 4592124"/>
              <a:gd name="connsiteY4" fmla="*/ 4509 h 5453662"/>
              <a:gd name="connsiteX0" fmla="*/ 2028628 w 4743341"/>
              <a:gd name="connsiteY0" fmla="*/ 4509 h 5460656"/>
              <a:gd name="connsiteX1" fmla="*/ 4568296 w 4743341"/>
              <a:gd name="connsiteY1" fmla="*/ 0 h 5460656"/>
              <a:gd name="connsiteX2" fmla="*/ 4743341 w 4743341"/>
              <a:gd name="connsiteY2" fmla="*/ 5460656 h 5460656"/>
              <a:gd name="connsiteX3" fmla="*/ 0 w 4743341"/>
              <a:gd name="connsiteY3" fmla="*/ 5453662 h 5460656"/>
              <a:gd name="connsiteX4" fmla="*/ 2028628 w 4743341"/>
              <a:gd name="connsiteY4" fmla="*/ 4509 h 5460656"/>
              <a:gd name="connsiteX0" fmla="*/ 2028628 w 4760755"/>
              <a:gd name="connsiteY0" fmla="*/ 4509 h 5460656"/>
              <a:gd name="connsiteX1" fmla="*/ 4760755 w 4760755"/>
              <a:gd name="connsiteY1" fmla="*/ 0 h 5460656"/>
              <a:gd name="connsiteX2" fmla="*/ 4743341 w 4760755"/>
              <a:gd name="connsiteY2" fmla="*/ 5460656 h 5460656"/>
              <a:gd name="connsiteX3" fmla="*/ 0 w 4760755"/>
              <a:gd name="connsiteY3" fmla="*/ 5453662 h 5460656"/>
              <a:gd name="connsiteX4" fmla="*/ 2028628 w 4760755"/>
              <a:gd name="connsiteY4" fmla="*/ 4509 h 5460656"/>
              <a:gd name="connsiteX0" fmla="*/ 2042201 w 4774328"/>
              <a:gd name="connsiteY0" fmla="*/ 4509 h 5467473"/>
              <a:gd name="connsiteX1" fmla="*/ 4774328 w 4774328"/>
              <a:gd name="connsiteY1" fmla="*/ 0 h 5467473"/>
              <a:gd name="connsiteX2" fmla="*/ 4756914 w 4774328"/>
              <a:gd name="connsiteY2" fmla="*/ 5460656 h 5467473"/>
              <a:gd name="connsiteX3" fmla="*/ 0 w 4774328"/>
              <a:gd name="connsiteY3" fmla="*/ 5467473 h 5467473"/>
              <a:gd name="connsiteX4" fmla="*/ 2042201 w 4774328"/>
              <a:gd name="connsiteY4" fmla="*/ 4509 h 5467473"/>
              <a:gd name="connsiteX0" fmla="*/ 2042201 w 4774328"/>
              <a:gd name="connsiteY0" fmla="*/ 4509 h 5474466"/>
              <a:gd name="connsiteX1" fmla="*/ 4774328 w 4774328"/>
              <a:gd name="connsiteY1" fmla="*/ 0 h 5474466"/>
              <a:gd name="connsiteX2" fmla="*/ 4765962 w 4774328"/>
              <a:gd name="connsiteY2" fmla="*/ 5474466 h 5474466"/>
              <a:gd name="connsiteX3" fmla="*/ 0 w 4774328"/>
              <a:gd name="connsiteY3" fmla="*/ 5467473 h 5474466"/>
              <a:gd name="connsiteX4" fmla="*/ 2042201 w 4774328"/>
              <a:gd name="connsiteY4" fmla="*/ 4509 h 5474466"/>
              <a:gd name="connsiteX0" fmla="*/ 2042201 w 4778853"/>
              <a:gd name="connsiteY0" fmla="*/ 0 h 5469957"/>
              <a:gd name="connsiteX1" fmla="*/ 4778853 w 4778853"/>
              <a:gd name="connsiteY1" fmla="*/ 4698 h 5469957"/>
              <a:gd name="connsiteX2" fmla="*/ 4765962 w 4778853"/>
              <a:gd name="connsiteY2" fmla="*/ 5469957 h 5469957"/>
              <a:gd name="connsiteX3" fmla="*/ 0 w 4778853"/>
              <a:gd name="connsiteY3" fmla="*/ 5462964 h 5469957"/>
              <a:gd name="connsiteX4" fmla="*/ 2042201 w 4778853"/>
              <a:gd name="connsiteY4" fmla="*/ 0 h 5469957"/>
              <a:gd name="connsiteX0" fmla="*/ 2042201 w 4781135"/>
              <a:gd name="connsiteY0" fmla="*/ 0 h 5462964"/>
              <a:gd name="connsiteX1" fmla="*/ 4778853 w 4781135"/>
              <a:gd name="connsiteY1" fmla="*/ 4698 h 5462964"/>
              <a:gd name="connsiteX2" fmla="*/ 4779535 w 4781135"/>
              <a:gd name="connsiteY2" fmla="*/ 5460751 h 5462964"/>
              <a:gd name="connsiteX3" fmla="*/ 0 w 4781135"/>
              <a:gd name="connsiteY3" fmla="*/ 5462964 h 5462964"/>
              <a:gd name="connsiteX4" fmla="*/ 2042201 w 4781135"/>
              <a:gd name="connsiteY4" fmla="*/ 0 h 5462964"/>
              <a:gd name="connsiteX0" fmla="*/ 2046725 w 4781135"/>
              <a:gd name="connsiteY0" fmla="*/ 0 h 5467567"/>
              <a:gd name="connsiteX1" fmla="*/ 4778853 w 4781135"/>
              <a:gd name="connsiteY1" fmla="*/ 9301 h 5467567"/>
              <a:gd name="connsiteX2" fmla="*/ 4779535 w 4781135"/>
              <a:gd name="connsiteY2" fmla="*/ 5465354 h 5467567"/>
              <a:gd name="connsiteX3" fmla="*/ 0 w 4781135"/>
              <a:gd name="connsiteY3" fmla="*/ 5467567 h 5467567"/>
              <a:gd name="connsiteX4" fmla="*/ 2046725 w 4781135"/>
              <a:gd name="connsiteY4" fmla="*/ 0 h 5467567"/>
              <a:gd name="connsiteX0" fmla="*/ 2046725 w 4779604"/>
              <a:gd name="connsiteY0" fmla="*/ 2821 h 5470388"/>
              <a:gd name="connsiteX1" fmla="*/ 4433343 w 4779604"/>
              <a:gd name="connsiteY1" fmla="*/ 0 h 5470388"/>
              <a:gd name="connsiteX2" fmla="*/ 4779535 w 4779604"/>
              <a:gd name="connsiteY2" fmla="*/ 5468175 h 5470388"/>
              <a:gd name="connsiteX3" fmla="*/ 0 w 4779604"/>
              <a:gd name="connsiteY3" fmla="*/ 5470388 h 5470388"/>
              <a:gd name="connsiteX4" fmla="*/ 2046725 w 4779604"/>
              <a:gd name="connsiteY4" fmla="*/ 2821 h 5470388"/>
              <a:gd name="connsiteX0" fmla="*/ 2046725 w 4433343"/>
              <a:gd name="connsiteY0" fmla="*/ 2821 h 5470388"/>
              <a:gd name="connsiteX1" fmla="*/ 4433343 w 4433343"/>
              <a:gd name="connsiteY1" fmla="*/ 0 h 5470388"/>
              <a:gd name="connsiteX2" fmla="*/ 4426082 w 4433343"/>
              <a:gd name="connsiteY2" fmla="*/ 5468175 h 5470388"/>
              <a:gd name="connsiteX3" fmla="*/ 0 w 4433343"/>
              <a:gd name="connsiteY3" fmla="*/ 5470388 h 5470388"/>
              <a:gd name="connsiteX4" fmla="*/ 2046725 w 4433343"/>
              <a:gd name="connsiteY4" fmla="*/ 2821 h 5470388"/>
              <a:gd name="connsiteX0" fmla="*/ 2046725 w 4433343"/>
              <a:gd name="connsiteY0" fmla="*/ 2821 h 5470388"/>
              <a:gd name="connsiteX1" fmla="*/ 4433343 w 4433343"/>
              <a:gd name="connsiteY1" fmla="*/ 0 h 5470388"/>
              <a:gd name="connsiteX2" fmla="*/ 4426082 w 4433343"/>
              <a:gd name="connsiteY2" fmla="*/ 5468175 h 5470388"/>
              <a:gd name="connsiteX3" fmla="*/ 0 w 4433343"/>
              <a:gd name="connsiteY3" fmla="*/ 5470388 h 5470388"/>
              <a:gd name="connsiteX4" fmla="*/ 2046725 w 4433343"/>
              <a:gd name="connsiteY4" fmla="*/ 2821 h 5470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3343" h="5470388">
                <a:moveTo>
                  <a:pt x="2046725" y="2821"/>
                </a:moveTo>
                <a:lnTo>
                  <a:pt x="4433343" y="0"/>
                </a:lnTo>
                <a:cubicBezTo>
                  <a:pt x="4427538" y="1820219"/>
                  <a:pt x="4431887" y="3647956"/>
                  <a:pt x="4426082" y="5468175"/>
                </a:cubicBezTo>
                <a:lnTo>
                  <a:pt x="0" y="5470388"/>
                </a:lnTo>
                <a:lnTo>
                  <a:pt x="2046725" y="2821"/>
                </a:lnTo>
                <a:close/>
              </a:path>
            </a:pathLst>
          </a:custGeom>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F9900"/>
                </a:solidFill>
                <a:prstDash val="solid"/>
                <a:round/>
                <a:headEnd type="none" w="med" len="med"/>
                <a:tailEnd type="none" w="med" len="med"/>
              </a14:hiddenLine>
            </a:ext>
          </a:extLst>
        </p:spPr>
        <p:txBody>
          <a:bodyPr anchor="ctr"/>
          <a:lstStyle>
            <a:lvl1pPr marL="228600" marR="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a:solidFill>
                  <a:srgbClr val="FFFFFF"/>
                </a:solidFill>
              </a:defRPr>
            </a:lvl1pPr>
          </a:lstStyle>
          <a:p>
            <a:pPr marL="228600" marR="0" lvl="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Drag picture to placeholder </a:t>
            </a:r>
            <a:br>
              <a:rPr lang="en-US" dirty="0"/>
            </a:br>
            <a:r>
              <a:rPr lang="en-US" dirty="0"/>
              <a:t>or click icon to add</a:t>
            </a:r>
          </a:p>
        </p:txBody>
      </p:sp>
      <p:sp>
        <p:nvSpPr>
          <p:cNvPr id="18" name="Rectangle 17">
            <a:extLst>
              <a:ext uri="{FF2B5EF4-FFF2-40B4-BE49-F238E27FC236}">
                <a16:creationId xmlns:a16="http://schemas.microsoft.com/office/drawing/2014/main" id="{FDBFD6D7-D8CF-4E13-8EC2-8A937ABF2342}"/>
              </a:ext>
            </a:extLst>
          </p:cNvPr>
          <p:cNvSpPr/>
          <p:nvPr userDrawn="1"/>
        </p:nvSpPr>
        <p:spPr>
          <a:xfrm>
            <a:off x="3051745"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0" name="Rectangle 19">
            <a:extLst>
              <a:ext uri="{FF2B5EF4-FFF2-40B4-BE49-F238E27FC236}">
                <a16:creationId xmlns:a16="http://schemas.microsoft.com/office/drawing/2014/main" id="{FE1FB4FA-95BE-468B-BFE7-E073740D98C9}"/>
              </a:ext>
            </a:extLst>
          </p:cNvPr>
          <p:cNvSpPr/>
          <p:nvPr userDrawn="1"/>
        </p:nvSpPr>
        <p:spPr>
          <a:xfrm>
            <a:off x="7490"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1" name="Rectangle 20">
            <a:extLst>
              <a:ext uri="{FF2B5EF4-FFF2-40B4-BE49-F238E27FC236}">
                <a16:creationId xmlns:a16="http://schemas.microsoft.com/office/drawing/2014/main" id="{2DFA3AF9-3B29-475E-A8CB-9EE6D80472C1}"/>
              </a:ext>
            </a:extLst>
          </p:cNvPr>
          <p:cNvSpPr/>
          <p:nvPr userDrawn="1"/>
        </p:nvSpPr>
        <p:spPr>
          <a:xfrm>
            <a:off x="9149414"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2" name="Rectangle 21">
            <a:extLst>
              <a:ext uri="{FF2B5EF4-FFF2-40B4-BE49-F238E27FC236}">
                <a16:creationId xmlns:a16="http://schemas.microsoft.com/office/drawing/2014/main" id="{029189E1-7B64-442A-907F-CC6700ED630B}"/>
              </a:ext>
            </a:extLst>
          </p:cNvPr>
          <p:cNvSpPr/>
          <p:nvPr userDrawn="1"/>
        </p:nvSpPr>
        <p:spPr>
          <a:xfrm>
            <a:off x="6105159"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Tree>
    <p:extLst>
      <p:ext uri="{BB962C8B-B14F-4D97-AF65-F5344CB8AC3E}">
        <p14:creationId xmlns:p14="http://schemas.microsoft.com/office/powerpoint/2010/main" val="230389118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_Content+ White +Picture (right)">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799C6CA-CACC-40BA-A825-A176D22A874B}"/>
              </a:ext>
            </a:extLst>
          </p:cNvPr>
          <p:cNvGraphicFramePr>
            <a:graphicFrameLocks noChangeAspect="1"/>
          </p:cNvGraphicFramePr>
          <p:nvPr userDrawn="1">
            <p:custDataLst>
              <p:tags r:id="rId2"/>
            </p:custDataLst>
            <p:extLst>
              <p:ext uri="{D42A27DB-BD31-4B8C-83A1-F6EECF244321}">
                <p14:modId xmlns:p14="http://schemas.microsoft.com/office/powerpoint/2010/main" val="41754834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60" name="think-cell Slide" r:id="rId5" imgW="473" imgH="474" progId="TCLayout.ActiveDocument.1">
                  <p:embed/>
                </p:oleObj>
              </mc:Choice>
              <mc:Fallback>
                <p:oleObj name="think-cell Slide" r:id="rId5" imgW="473" imgH="474" progId="TCLayout.ActiveDocument.1">
                  <p:embed/>
                  <p:pic>
                    <p:nvPicPr>
                      <p:cNvPr id="3" name="Object 2" hidden="1">
                        <a:extLst>
                          <a:ext uri="{FF2B5EF4-FFF2-40B4-BE49-F238E27FC236}">
                            <a16:creationId xmlns:a16="http://schemas.microsoft.com/office/drawing/2014/main" id="{8799C6CA-CACC-40BA-A825-A176D22A874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00FC0C89-C1CE-4776-A3D4-6245EB1A333E}"/>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Verdana" panose="020B0604030504040204" pitchFamily="34" charset="0"/>
              <a:ea typeface="+mj-ea"/>
              <a:cs typeface="+mj-cs"/>
              <a:sym typeface="Verdana" panose="020B0604030504040204" pitchFamily="34" charset="0"/>
            </a:endParaRPr>
          </a:p>
        </p:txBody>
      </p:sp>
      <p:sp>
        <p:nvSpPr>
          <p:cNvPr id="4" name="CuadroTexto 64">
            <a:extLst>
              <a:ext uri="{FF2B5EF4-FFF2-40B4-BE49-F238E27FC236}">
                <a16:creationId xmlns:a16="http://schemas.microsoft.com/office/drawing/2014/main" id="{CC2249F8-C077-487B-9BA3-4B911902A356}"/>
              </a:ext>
            </a:extLst>
          </p:cNvPr>
          <p:cNvSpPr txBox="1"/>
          <p:nvPr userDrawn="1"/>
        </p:nvSpPr>
        <p:spPr>
          <a:xfrm>
            <a:off x="10882303" y="6449284"/>
            <a:ext cx="936214" cy="138499"/>
          </a:xfrm>
          <a:prstGeom prst="rect">
            <a:avLst/>
          </a:prstGeom>
          <a:noFill/>
        </p:spPr>
        <p:txBody>
          <a:bodyPr wrap="square" lIns="0" tIns="0" rIns="0" bIns="0" rtlCol="0">
            <a:spAutoFit/>
          </a:bodyPr>
          <a:lstStyle/>
          <a:p>
            <a:pPr algn="r"/>
            <a:fld id="{A4EEDD72-1D6A-6B46-BCFA-C211F73E9379}" type="slidenum">
              <a:rPr lang="es-ES" sz="900" b="1" smtClean="0">
                <a:solidFill>
                  <a:schemeClr val="bg1"/>
                </a:solidFill>
                <a:latin typeface="Verdana" panose="020B0604030504040204" pitchFamily="34" charset="0"/>
                <a:ea typeface="Verdana" panose="020B0604030504040204" pitchFamily="34" charset="0"/>
                <a:cs typeface="Verdana" panose="020B0604030504040204" pitchFamily="34" charset="0"/>
              </a:rPr>
              <a:pPr algn="r"/>
              <a:t>‹N›</a:t>
            </a:fld>
            <a:endParaRPr lang="es-ES" sz="90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5" name="Text Placeholder 2">
            <a:extLst>
              <a:ext uri="{FF2B5EF4-FFF2-40B4-BE49-F238E27FC236}">
                <a16:creationId xmlns:a16="http://schemas.microsoft.com/office/drawing/2014/main" id="{CF579A3E-7345-456E-9716-B8A1EB859964}"/>
              </a:ext>
            </a:extLst>
          </p:cNvPr>
          <p:cNvSpPr>
            <a:spLocks noGrp="1"/>
          </p:cNvSpPr>
          <p:nvPr>
            <p:ph type="body" sz="quarter" idx="11" hasCustomPrompt="1"/>
          </p:nvPr>
        </p:nvSpPr>
        <p:spPr>
          <a:xfrm>
            <a:off x="367200" y="1396800"/>
            <a:ext cx="5731200" cy="4752000"/>
          </a:xfrm>
          <a:prstGeom prst="rect">
            <a:avLst/>
          </a:prstGeom>
        </p:spPr>
        <p:txBody>
          <a:bodyPr/>
          <a:lstStyle>
            <a:lvl1pPr marL="228600" marR="0" indent="-228600" algn="l" defTabSz="914400" rtl="0" eaLnBrk="1" fontAlgn="auto" latinLnBrk="0" hangingPunct="1">
              <a:lnSpc>
                <a:spcPct val="90000"/>
              </a:lnSpc>
              <a:spcBef>
                <a:spcPts val="1000"/>
              </a:spcBef>
              <a:spcAft>
                <a:spcPts val="0"/>
              </a:spcAft>
              <a:buClr>
                <a:schemeClr val="accent1"/>
              </a:buClr>
              <a:buSzTx/>
              <a:buFont typeface="Arial" panose="020B0604020202020204" pitchFamily="34" charset="0"/>
              <a:buChar char="•"/>
              <a:tabLst/>
              <a:defRPr lang="en-US" sz="1400" b="0" i="0" kern="1200" dirty="0" smtClean="0">
                <a:solidFill>
                  <a:schemeClr val="tx1"/>
                </a:solidFill>
                <a:latin typeface="+mn-lt"/>
                <a:ea typeface="+mn-ea"/>
                <a:cs typeface="+mn-cs"/>
              </a:defRPr>
            </a:lvl1pPr>
          </a:lstStyle>
          <a:p>
            <a:pPr lvl="0"/>
            <a:r>
              <a:rPr lang="en-US" dirty="0"/>
              <a:t>Edit Master text styles</a:t>
            </a:r>
          </a:p>
          <a:p>
            <a:pPr lvl="0"/>
            <a:r>
              <a:rPr lang="en-US" dirty="0"/>
              <a:t>Edit Master text styles</a:t>
            </a:r>
          </a:p>
        </p:txBody>
      </p:sp>
      <p:pic>
        <p:nvPicPr>
          <p:cNvPr id="10" name="Graphic 10">
            <a:extLst>
              <a:ext uri="{FF2B5EF4-FFF2-40B4-BE49-F238E27FC236}">
                <a16:creationId xmlns:a16="http://schemas.microsoft.com/office/drawing/2014/main" id="{FBA29A88-0360-4F2A-98A7-A7A4FDB8FBA1}"/>
              </a:ext>
            </a:extLst>
          </p:cNvPr>
          <p:cNvPicPr>
            <a:picLocks noChangeAspect="1"/>
          </p:cNvPicPr>
          <p:nvPr userDrawn="1"/>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70517" y="6420188"/>
            <a:ext cx="675863" cy="162467"/>
          </a:xfrm>
          <a:prstGeom prst="rect">
            <a:avLst/>
          </a:prstGeom>
        </p:spPr>
      </p:pic>
      <p:sp>
        <p:nvSpPr>
          <p:cNvPr id="12" name="Marcador de texto 2">
            <a:extLst>
              <a:ext uri="{FF2B5EF4-FFF2-40B4-BE49-F238E27FC236}">
                <a16:creationId xmlns:a16="http://schemas.microsoft.com/office/drawing/2014/main" id="{50F8B5E4-1D7F-42FC-A9D6-1984814E1A3E}"/>
              </a:ext>
            </a:extLst>
          </p:cNvPr>
          <p:cNvSpPr>
            <a:spLocks noGrp="1"/>
          </p:cNvSpPr>
          <p:nvPr>
            <p:ph type="body" idx="10" hasCustomPrompt="1"/>
          </p:nvPr>
        </p:nvSpPr>
        <p:spPr>
          <a:xfrm>
            <a:off x="368790" y="722639"/>
            <a:ext cx="11446270" cy="324000"/>
          </a:xfrm>
          <a:prstGeom prst="rect">
            <a:avLst/>
          </a:prstGeom>
        </p:spPr>
        <p:txBody>
          <a:bodyPr lIns="0" tIns="0" rIns="0" bIns="0" anchor="t"/>
          <a:lstStyle>
            <a:lvl1pPr marL="0" indent="0">
              <a:lnSpc>
                <a:spcPct val="100000"/>
              </a:lnSpc>
              <a:spcBef>
                <a:spcPts val="0"/>
              </a:spcBef>
              <a:buNone/>
              <a:defRPr sz="2000" b="0">
                <a:solidFill>
                  <a:srgbClr val="000000"/>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err="1"/>
              <a:t>Subtitle</a:t>
            </a:r>
            <a:endParaRPr lang="es-ES" dirty="0"/>
          </a:p>
        </p:txBody>
      </p:sp>
      <p:sp>
        <p:nvSpPr>
          <p:cNvPr id="13" name="Title 1">
            <a:extLst>
              <a:ext uri="{FF2B5EF4-FFF2-40B4-BE49-F238E27FC236}">
                <a16:creationId xmlns:a16="http://schemas.microsoft.com/office/drawing/2014/main" id="{3AA835B1-5521-4EDB-B6D8-FDF4910E6835}"/>
              </a:ext>
            </a:extLst>
          </p:cNvPr>
          <p:cNvSpPr>
            <a:spLocks noGrp="1"/>
          </p:cNvSpPr>
          <p:nvPr>
            <p:ph type="title"/>
          </p:nvPr>
        </p:nvSpPr>
        <p:spPr>
          <a:xfrm>
            <a:off x="367200" y="252000"/>
            <a:ext cx="11448000" cy="432000"/>
          </a:xfrm>
        </p:spPr>
        <p:txBody>
          <a:bodyPr/>
          <a:lstStyle/>
          <a:p>
            <a:r>
              <a:rPr lang="en-US"/>
              <a:t>Click to edit Master title style</a:t>
            </a:r>
          </a:p>
        </p:txBody>
      </p:sp>
      <p:sp>
        <p:nvSpPr>
          <p:cNvPr id="11" name="Marcador de posición de imagen 2">
            <a:extLst>
              <a:ext uri="{FF2B5EF4-FFF2-40B4-BE49-F238E27FC236}">
                <a16:creationId xmlns:a16="http://schemas.microsoft.com/office/drawing/2014/main" id="{793B81A0-6E54-475C-BFE1-1326EFC9AF9F}"/>
              </a:ext>
            </a:extLst>
          </p:cNvPr>
          <p:cNvSpPr>
            <a:spLocks noGrp="1"/>
          </p:cNvSpPr>
          <p:nvPr>
            <p:ph type="pic" sz="quarter" idx="12" hasCustomPrompt="1"/>
          </p:nvPr>
        </p:nvSpPr>
        <p:spPr>
          <a:xfrm>
            <a:off x="6538529" y="-14050"/>
            <a:ext cx="5670915" cy="6877222"/>
          </a:xfrm>
          <a:custGeom>
            <a:avLst/>
            <a:gdLst>
              <a:gd name="connsiteX0" fmla="*/ 0 w 4592124"/>
              <a:gd name="connsiteY0" fmla="*/ 0 h 6858000"/>
              <a:gd name="connsiteX1" fmla="*/ 4592124 w 4592124"/>
              <a:gd name="connsiteY1" fmla="*/ 0 h 6858000"/>
              <a:gd name="connsiteX2" fmla="*/ 4592124 w 4592124"/>
              <a:gd name="connsiteY2" fmla="*/ 6858000 h 6858000"/>
              <a:gd name="connsiteX3" fmla="*/ 0 w 4592124"/>
              <a:gd name="connsiteY3" fmla="*/ 6858000 h 6858000"/>
              <a:gd name="connsiteX4" fmla="*/ 0 w 4592124"/>
              <a:gd name="connsiteY4" fmla="*/ 0 h 6858000"/>
              <a:gd name="connsiteX0" fmla="*/ 2549525 w 4592124"/>
              <a:gd name="connsiteY0" fmla="*/ 1058 h 6858000"/>
              <a:gd name="connsiteX1" fmla="*/ 4592124 w 4592124"/>
              <a:gd name="connsiteY1" fmla="*/ 0 h 6858000"/>
              <a:gd name="connsiteX2" fmla="*/ 4592124 w 4592124"/>
              <a:gd name="connsiteY2" fmla="*/ 6858000 h 6858000"/>
              <a:gd name="connsiteX3" fmla="*/ 0 w 4592124"/>
              <a:gd name="connsiteY3" fmla="*/ 6858000 h 6858000"/>
              <a:gd name="connsiteX4" fmla="*/ 2549525 w 4592124"/>
              <a:gd name="connsiteY4" fmla="*/ 1058 h 6858000"/>
              <a:gd name="connsiteX0" fmla="*/ 2549525 w 4592124"/>
              <a:gd name="connsiteY0" fmla="*/ 0 h 6856942"/>
              <a:gd name="connsiteX1" fmla="*/ 4592124 w 4592124"/>
              <a:gd name="connsiteY1" fmla="*/ 1371762 h 6856942"/>
              <a:gd name="connsiteX2" fmla="*/ 4592124 w 4592124"/>
              <a:gd name="connsiteY2" fmla="*/ 6856942 h 6856942"/>
              <a:gd name="connsiteX3" fmla="*/ 0 w 4592124"/>
              <a:gd name="connsiteY3" fmla="*/ 6856942 h 6856942"/>
              <a:gd name="connsiteX4" fmla="*/ 2549525 w 4592124"/>
              <a:gd name="connsiteY4" fmla="*/ 0 h 6856942"/>
              <a:gd name="connsiteX0" fmla="*/ 2045812 w 4592124"/>
              <a:gd name="connsiteY0" fmla="*/ 1058 h 5485180"/>
              <a:gd name="connsiteX1" fmla="*/ 4592124 w 4592124"/>
              <a:gd name="connsiteY1" fmla="*/ 0 h 5485180"/>
              <a:gd name="connsiteX2" fmla="*/ 4592124 w 4592124"/>
              <a:gd name="connsiteY2" fmla="*/ 5485180 h 5485180"/>
              <a:gd name="connsiteX3" fmla="*/ 0 w 4592124"/>
              <a:gd name="connsiteY3" fmla="*/ 5485180 h 5485180"/>
              <a:gd name="connsiteX4" fmla="*/ 2045812 w 4592124"/>
              <a:gd name="connsiteY4" fmla="*/ 1058 h 5485180"/>
              <a:gd name="connsiteX0" fmla="*/ 2028628 w 4592124"/>
              <a:gd name="connsiteY0" fmla="*/ 36027 h 5485180"/>
              <a:gd name="connsiteX1" fmla="*/ 4592124 w 4592124"/>
              <a:gd name="connsiteY1" fmla="*/ 0 h 5485180"/>
              <a:gd name="connsiteX2" fmla="*/ 4592124 w 4592124"/>
              <a:gd name="connsiteY2" fmla="*/ 5485180 h 5485180"/>
              <a:gd name="connsiteX3" fmla="*/ 0 w 4592124"/>
              <a:gd name="connsiteY3" fmla="*/ 5485180 h 5485180"/>
              <a:gd name="connsiteX4" fmla="*/ 2028628 w 4592124"/>
              <a:gd name="connsiteY4" fmla="*/ 36027 h 5485180"/>
              <a:gd name="connsiteX0" fmla="*/ 2028628 w 4592124"/>
              <a:gd name="connsiteY0" fmla="*/ 4509 h 5453662"/>
              <a:gd name="connsiteX1" fmla="*/ 4568296 w 4592124"/>
              <a:gd name="connsiteY1" fmla="*/ 0 h 5453662"/>
              <a:gd name="connsiteX2" fmla="*/ 4592124 w 4592124"/>
              <a:gd name="connsiteY2" fmla="*/ 5453662 h 5453662"/>
              <a:gd name="connsiteX3" fmla="*/ 0 w 4592124"/>
              <a:gd name="connsiteY3" fmla="*/ 5453662 h 5453662"/>
              <a:gd name="connsiteX4" fmla="*/ 2028628 w 4592124"/>
              <a:gd name="connsiteY4" fmla="*/ 4509 h 5453662"/>
              <a:gd name="connsiteX0" fmla="*/ 2028628 w 4743341"/>
              <a:gd name="connsiteY0" fmla="*/ 4509 h 5460656"/>
              <a:gd name="connsiteX1" fmla="*/ 4568296 w 4743341"/>
              <a:gd name="connsiteY1" fmla="*/ 0 h 5460656"/>
              <a:gd name="connsiteX2" fmla="*/ 4743341 w 4743341"/>
              <a:gd name="connsiteY2" fmla="*/ 5460656 h 5460656"/>
              <a:gd name="connsiteX3" fmla="*/ 0 w 4743341"/>
              <a:gd name="connsiteY3" fmla="*/ 5453662 h 5460656"/>
              <a:gd name="connsiteX4" fmla="*/ 2028628 w 4743341"/>
              <a:gd name="connsiteY4" fmla="*/ 4509 h 5460656"/>
              <a:gd name="connsiteX0" fmla="*/ 2028628 w 4760755"/>
              <a:gd name="connsiteY0" fmla="*/ 4509 h 5460656"/>
              <a:gd name="connsiteX1" fmla="*/ 4760755 w 4760755"/>
              <a:gd name="connsiteY1" fmla="*/ 0 h 5460656"/>
              <a:gd name="connsiteX2" fmla="*/ 4743341 w 4760755"/>
              <a:gd name="connsiteY2" fmla="*/ 5460656 h 5460656"/>
              <a:gd name="connsiteX3" fmla="*/ 0 w 4760755"/>
              <a:gd name="connsiteY3" fmla="*/ 5453662 h 5460656"/>
              <a:gd name="connsiteX4" fmla="*/ 2028628 w 4760755"/>
              <a:gd name="connsiteY4" fmla="*/ 4509 h 5460656"/>
              <a:gd name="connsiteX0" fmla="*/ 2042201 w 4774328"/>
              <a:gd name="connsiteY0" fmla="*/ 4509 h 5467473"/>
              <a:gd name="connsiteX1" fmla="*/ 4774328 w 4774328"/>
              <a:gd name="connsiteY1" fmla="*/ 0 h 5467473"/>
              <a:gd name="connsiteX2" fmla="*/ 4756914 w 4774328"/>
              <a:gd name="connsiteY2" fmla="*/ 5460656 h 5467473"/>
              <a:gd name="connsiteX3" fmla="*/ 0 w 4774328"/>
              <a:gd name="connsiteY3" fmla="*/ 5467473 h 5467473"/>
              <a:gd name="connsiteX4" fmla="*/ 2042201 w 4774328"/>
              <a:gd name="connsiteY4" fmla="*/ 4509 h 5467473"/>
              <a:gd name="connsiteX0" fmla="*/ 2042201 w 4774328"/>
              <a:gd name="connsiteY0" fmla="*/ 4509 h 5474466"/>
              <a:gd name="connsiteX1" fmla="*/ 4774328 w 4774328"/>
              <a:gd name="connsiteY1" fmla="*/ 0 h 5474466"/>
              <a:gd name="connsiteX2" fmla="*/ 4765962 w 4774328"/>
              <a:gd name="connsiteY2" fmla="*/ 5474466 h 5474466"/>
              <a:gd name="connsiteX3" fmla="*/ 0 w 4774328"/>
              <a:gd name="connsiteY3" fmla="*/ 5467473 h 5474466"/>
              <a:gd name="connsiteX4" fmla="*/ 2042201 w 4774328"/>
              <a:gd name="connsiteY4" fmla="*/ 4509 h 5474466"/>
              <a:gd name="connsiteX0" fmla="*/ 2042201 w 4778853"/>
              <a:gd name="connsiteY0" fmla="*/ 0 h 5469957"/>
              <a:gd name="connsiteX1" fmla="*/ 4778853 w 4778853"/>
              <a:gd name="connsiteY1" fmla="*/ 4698 h 5469957"/>
              <a:gd name="connsiteX2" fmla="*/ 4765962 w 4778853"/>
              <a:gd name="connsiteY2" fmla="*/ 5469957 h 5469957"/>
              <a:gd name="connsiteX3" fmla="*/ 0 w 4778853"/>
              <a:gd name="connsiteY3" fmla="*/ 5462964 h 5469957"/>
              <a:gd name="connsiteX4" fmla="*/ 2042201 w 4778853"/>
              <a:gd name="connsiteY4" fmla="*/ 0 h 5469957"/>
              <a:gd name="connsiteX0" fmla="*/ 2042201 w 4781135"/>
              <a:gd name="connsiteY0" fmla="*/ 0 h 5462964"/>
              <a:gd name="connsiteX1" fmla="*/ 4778853 w 4781135"/>
              <a:gd name="connsiteY1" fmla="*/ 4698 h 5462964"/>
              <a:gd name="connsiteX2" fmla="*/ 4779535 w 4781135"/>
              <a:gd name="connsiteY2" fmla="*/ 5460751 h 5462964"/>
              <a:gd name="connsiteX3" fmla="*/ 0 w 4781135"/>
              <a:gd name="connsiteY3" fmla="*/ 5462964 h 5462964"/>
              <a:gd name="connsiteX4" fmla="*/ 2042201 w 4781135"/>
              <a:gd name="connsiteY4" fmla="*/ 0 h 5462964"/>
              <a:gd name="connsiteX0" fmla="*/ 2046725 w 4781135"/>
              <a:gd name="connsiteY0" fmla="*/ 0 h 5467567"/>
              <a:gd name="connsiteX1" fmla="*/ 4778853 w 4781135"/>
              <a:gd name="connsiteY1" fmla="*/ 9301 h 5467567"/>
              <a:gd name="connsiteX2" fmla="*/ 4779535 w 4781135"/>
              <a:gd name="connsiteY2" fmla="*/ 5465354 h 5467567"/>
              <a:gd name="connsiteX3" fmla="*/ 0 w 4781135"/>
              <a:gd name="connsiteY3" fmla="*/ 5467567 h 5467567"/>
              <a:gd name="connsiteX4" fmla="*/ 2046725 w 4781135"/>
              <a:gd name="connsiteY4" fmla="*/ 0 h 5467567"/>
              <a:gd name="connsiteX0" fmla="*/ 2046725 w 4779604"/>
              <a:gd name="connsiteY0" fmla="*/ 2821 h 5470388"/>
              <a:gd name="connsiteX1" fmla="*/ 4433343 w 4779604"/>
              <a:gd name="connsiteY1" fmla="*/ 0 h 5470388"/>
              <a:gd name="connsiteX2" fmla="*/ 4779535 w 4779604"/>
              <a:gd name="connsiteY2" fmla="*/ 5468175 h 5470388"/>
              <a:gd name="connsiteX3" fmla="*/ 0 w 4779604"/>
              <a:gd name="connsiteY3" fmla="*/ 5470388 h 5470388"/>
              <a:gd name="connsiteX4" fmla="*/ 2046725 w 4779604"/>
              <a:gd name="connsiteY4" fmla="*/ 2821 h 5470388"/>
              <a:gd name="connsiteX0" fmla="*/ 2046725 w 4433343"/>
              <a:gd name="connsiteY0" fmla="*/ 2821 h 5470388"/>
              <a:gd name="connsiteX1" fmla="*/ 4433343 w 4433343"/>
              <a:gd name="connsiteY1" fmla="*/ 0 h 5470388"/>
              <a:gd name="connsiteX2" fmla="*/ 4426082 w 4433343"/>
              <a:gd name="connsiteY2" fmla="*/ 5468175 h 5470388"/>
              <a:gd name="connsiteX3" fmla="*/ 0 w 4433343"/>
              <a:gd name="connsiteY3" fmla="*/ 5470388 h 5470388"/>
              <a:gd name="connsiteX4" fmla="*/ 2046725 w 4433343"/>
              <a:gd name="connsiteY4" fmla="*/ 2821 h 5470388"/>
              <a:gd name="connsiteX0" fmla="*/ 2046725 w 4433343"/>
              <a:gd name="connsiteY0" fmla="*/ 2821 h 5470388"/>
              <a:gd name="connsiteX1" fmla="*/ 4433343 w 4433343"/>
              <a:gd name="connsiteY1" fmla="*/ 0 h 5470388"/>
              <a:gd name="connsiteX2" fmla="*/ 4426082 w 4433343"/>
              <a:gd name="connsiteY2" fmla="*/ 5468175 h 5470388"/>
              <a:gd name="connsiteX3" fmla="*/ 0 w 4433343"/>
              <a:gd name="connsiteY3" fmla="*/ 5470388 h 5470388"/>
              <a:gd name="connsiteX4" fmla="*/ 2046725 w 4433343"/>
              <a:gd name="connsiteY4" fmla="*/ 2821 h 5470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3343" h="5470388">
                <a:moveTo>
                  <a:pt x="2046725" y="2821"/>
                </a:moveTo>
                <a:lnTo>
                  <a:pt x="4433343" y="0"/>
                </a:lnTo>
                <a:cubicBezTo>
                  <a:pt x="4427538" y="1820219"/>
                  <a:pt x="4431887" y="3647956"/>
                  <a:pt x="4426082" y="5468175"/>
                </a:cubicBezTo>
                <a:lnTo>
                  <a:pt x="0" y="5470388"/>
                </a:lnTo>
                <a:lnTo>
                  <a:pt x="2046725" y="2821"/>
                </a:lnTo>
                <a:close/>
              </a:path>
            </a:pathLst>
          </a:custGeom>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F9900"/>
                </a:solidFill>
                <a:prstDash val="solid"/>
                <a:round/>
                <a:headEnd type="none" w="med" len="med"/>
                <a:tailEnd type="none" w="med" len="med"/>
              </a14:hiddenLine>
            </a:ext>
          </a:extLst>
        </p:spPr>
        <p:txBody>
          <a:bodyPr anchor="ctr"/>
          <a:lstStyle>
            <a:lvl1pPr marL="228600" marR="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a:solidFill>
                  <a:srgbClr val="FFFFFF"/>
                </a:solidFill>
              </a:defRPr>
            </a:lvl1pPr>
          </a:lstStyle>
          <a:p>
            <a:pPr marL="228600" marR="0" lvl="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Drag picture to placeholder </a:t>
            </a:r>
            <a:br>
              <a:rPr lang="en-US" dirty="0"/>
            </a:br>
            <a:r>
              <a:rPr lang="en-US" dirty="0"/>
              <a:t>or click icon to add</a:t>
            </a:r>
          </a:p>
        </p:txBody>
      </p:sp>
      <p:sp>
        <p:nvSpPr>
          <p:cNvPr id="14" name="Rectangle 13">
            <a:extLst>
              <a:ext uri="{FF2B5EF4-FFF2-40B4-BE49-F238E27FC236}">
                <a16:creationId xmlns:a16="http://schemas.microsoft.com/office/drawing/2014/main" id="{6B362F00-C20E-4FBB-B400-F2BA76CB6FB6}"/>
              </a:ext>
            </a:extLst>
          </p:cNvPr>
          <p:cNvSpPr/>
          <p:nvPr userDrawn="1"/>
        </p:nvSpPr>
        <p:spPr>
          <a:xfrm>
            <a:off x="3051745"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6" name="Rectangle 15">
            <a:extLst>
              <a:ext uri="{FF2B5EF4-FFF2-40B4-BE49-F238E27FC236}">
                <a16:creationId xmlns:a16="http://schemas.microsoft.com/office/drawing/2014/main" id="{8FDBD38D-B4D4-4591-9F45-2B6AE584B3A5}"/>
              </a:ext>
            </a:extLst>
          </p:cNvPr>
          <p:cNvSpPr/>
          <p:nvPr userDrawn="1"/>
        </p:nvSpPr>
        <p:spPr>
          <a:xfrm>
            <a:off x="7490"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7" name="Rectangle 16">
            <a:extLst>
              <a:ext uri="{FF2B5EF4-FFF2-40B4-BE49-F238E27FC236}">
                <a16:creationId xmlns:a16="http://schemas.microsoft.com/office/drawing/2014/main" id="{46393584-F088-40CE-A468-CEB1953B042D}"/>
              </a:ext>
            </a:extLst>
          </p:cNvPr>
          <p:cNvSpPr/>
          <p:nvPr userDrawn="1"/>
        </p:nvSpPr>
        <p:spPr>
          <a:xfrm>
            <a:off x="9149414"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8" name="Rectangle 17">
            <a:extLst>
              <a:ext uri="{FF2B5EF4-FFF2-40B4-BE49-F238E27FC236}">
                <a16:creationId xmlns:a16="http://schemas.microsoft.com/office/drawing/2014/main" id="{0432AAB4-63BB-46BF-87D3-813A0270F480}"/>
              </a:ext>
            </a:extLst>
          </p:cNvPr>
          <p:cNvSpPr/>
          <p:nvPr userDrawn="1"/>
        </p:nvSpPr>
        <p:spPr>
          <a:xfrm>
            <a:off x="6105159"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Tree>
    <p:extLst>
      <p:ext uri="{BB962C8B-B14F-4D97-AF65-F5344CB8AC3E}">
        <p14:creationId xmlns:p14="http://schemas.microsoft.com/office/powerpoint/2010/main" val="304758154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Agenda Color Picture v2">
    <p:bg>
      <p:bgPr>
        <a:gradFill flip="none" rotWithShape="1">
          <a:gsLst>
            <a:gs pos="0">
              <a:schemeClr val="accent1"/>
            </a:gs>
            <a:gs pos="100000">
              <a:schemeClr val="accent2"/>
            </a:gs>
          </a:gsLst>
          <a:lin ang="5400000" scaled="1"/>
          <a:tileRect/>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799C6CA-CACC-40BA-A825-A176D22A874B}"/>
              </a:ext>
            </a:extLst>
          </p:cNvPr>
          <p:cNvGraphicFramePr>
            <a:graphicFrameLocks noChangeAspect="1"/>
          </p:cNvGraphicFramePr>
          <p:nvPr userDrawn="1">
            <p:custDataLst>
              <p:tags r:id="rId2"/>
            </p:custDataLst>
            <p:extLst>
              <p:ext uri="{D42A27DB-BD31-4B8C-83A1-F6EECF244321}">
                <p14:modId xmlns:p14="http://schemas.microsoft.com/office/powerpoint/2010/main" val="14586998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4" name="think-cell Slide" r:id="rId5" imgW="473" imgH="474" progId="TCLayout.ActiveDocument.1">
                  <p:embed/>
                </p:oleObj>
              </mc:Choice>
              <mc:Fallback>
                <p:oleObj name="think-cell Slide" r:id="rId5" imgW="473" imgH="474" progId="TCLayout.ActiveDocument.1">
                  <p:embed/>
                  <p:pic>
                    <p:nvPicPr>
                      <p:cNvPr id="3" name="Object 2" hidden="1">
                        <a:extLst>
                          <a:ext uri="{FF2B5EF4-FFF2-40B4-BE49-F238E27FC236}">
                            <a16:creationId xmlns:a16="http://schemas.microsoft.com/office/drawing/2014/main" id="{8799C6CA-CACC-40BA-A825-A176D22A874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00FC0C89-C1CE-4776-A3D4-6245EB1A333E}"/>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Verdana" panose="020B0604030504040204" pitchFamily="34" charset="0"/>
              <a:ea typeface="+mj-ea"/>
              <a:cs typeface="+mj-cs"/>
              <a:sym typeface="Verdana" panose="020B0604030504040204" pitchFamily="34" charset="0"/>
            </a:endParaRPr>
          </a:p>
        </p:txBody>
      </p:sp>
      <p:sp>
        <p:nvSpPr>
          <p:cNvPr id="5" name="Text Placeholder 2">
            <a:extLst>
              <a:ext uri="{FF2B5EF4-FFF2-40B4-BE49-F238E27FC236}">
                <a16:creationId xmlns:a16="http://schemas.microsoft.com/office/drawing/2014/main" id="{CF579A3E-7345-456E-9716-B8A1EB859964}"/>
              </a:ext>
            </a:extLst>
          </p:cNvPr>
          <p:cNvSpPr>
            <a:spLocks noGrp="1"/>
          </p:cNvSpPr>
          <p:nvPr>
            <p:ph type="body" sz="quarter" idx="11" hasCustomPrompt="1"/>
          </p:nvPr>
        </p:nvSpPr>
        <p:spPr>
          <a:xfrm>
            <a:off x="367200" y="1396800"/>
            <a:ext cx="5336703" cy="4752000"/>
          </a:xfrm>
          <a:prstGeom prst="rect">
            <a:avLst/>
          </a:prstGeom>
        </p:spPr>
        <p:txBody>
          <a:bodyPr/>
          <a:lstStyle>
            <a:lvl1pPr marL="228600" marR="0" indent="-228600" algn="l" defTabSz="914400" rtl="0" eaLnBrk="1" fontAlgn="auto" latinLnBrk="0" hangingPunct="1">
              <a:lnSpc>
                <a:spcPct val="90000"/>
              </a:lnSpc>
              <a:spcBef>
                <a:spcPts val="1000"/>
              </a:spcBef>
              <a:spcAft>
                <a:spcPts val="0"/>
              </a:spcAft>
              <a:buClr>
                <a:schemeClr val="bg1"/>
              </a:buClr>
              <a:buSzTx/>
              <a:buFont typeface="Arial" panose="020B0604020202020204" pitchFamily="34" charset="0"/>
              <a:buChar char="•"/>
              <a:tabLst/>
              <a:defRPr lang="en-US" sz="1400" b="0" i="0" kern="1200" dirty="0" smtClean="0">
                <a:solidFill>
                  <a:srgbClr val="FFFFFF"/>
                </a:solidFill>
                <a:latin typeface="+mn-lt"/>
                <a:ea typeface="+mn-ea"/>
                <a:cs typeface="+mn-cs"/>
              </a:defRPr>
            </a:lvl1pPr>
          </a:lstStyle>
          <a:p>
            <a:pPr lvl="0"/>
            <a:r>
              <a:rPr lang="en-US" dirty="0"/>
              <a:t>Edit Master text styles</a:t>
            </a:r>
          </a:p>
          <a:p>
            <a:pPr lvl="0"/>
            <a:r>
              <a:rPr lang="en-US" dirty="0"/>
              <a:t>Edit Master text styles</a:t>
            </a:r>
          </a:p>
        </p:txBody>
      </p:sp>
      <p:sp>
        <p:nvSpPr>
          <p:cNvPr id="9" name="Marcador de posición de imagen 2">
            <a:extLst>
              <a:ext uri="{FF2B5EF4-FFF2-40B4-BE49-F238E27FC236}">
                <a16:creationId xmlns:a16="http://schemas.microsoft.com/office/drawing/2014/main" id="{31CC0BB2-D270-45FA-B36D-7DA74555A1CE}"/>
              </a:ext>
            </a:extLst>
          </p:cNvPr>
          <p:cNvSpPr>
            <a:spLocks noGrp="1"/>
          </p:cNvSpPr>
          <p:nvPr>
            <p:ph type="pic" sz="quarter" idx="12" hasCustomPrompt="1"/>
          </p:nvPr>
        </p:nvSpPr>
        <p:spPr>
          <a:xfrm>
            <a:off x="6105159" y="0"/>
            <a:ext cx="6086841" cy="6858000"/>
          </a:xfrm>
          <a:prstGeom prst="rect">
            <a:avLst/>
          </a:prstGeom>
        </p:spPr>
        <p:txBody>
          <a:bodyPr anchor="ctr"/>
          <a:lstStyle>
            <a:lvl1pPr marL="228600" marR="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a:solidFill>
                  <a:srgbClr val="FFFFFF"/>
                </a:solidFill>
              </a:defRPr>
            </a:lvl1pPr>
          </a:lstStyle>
          <a:p>
            <a:pPr marL="228600" marR="0" lvl="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Drag picture to placeholder </a:t>
            </a:r>
            <a:br>
              <a:rPr lang="en-US" dirty="0"/>
            </a:br>
            <a:r>
              <a:rPr lang="en-US" dirty="0"/>
              <a:t>or click icon to add</a:t>
            </a:r>
          </a:p>
        </p:txBody>
      </p:sp>
      <p:sp>
        <p:nvSpPr>
          <p:cNvPr id="8" name="Marcador de texto 2">
            <a:extLst>
              <a:ext uri="{FF2B5EF4-FFF2-40B4-BE49-F238E27FC236}">
                <a16:creationId xmlns:a16="http://schemas.microsoft.com/office/drawing/2014/main" id="{78E38E11-42CA-4072-BA9B-615D513DD720}"/>
              </a:ext>
            </a:extLst>
          </p:cNvPr>
          <p:cNvSpPr>
            <a:spLocks noGrp="1"/>
          </p:cNvSpPr>
          <p:nvPr>
            <p:ph type="body" idx="10" hasCustomPrompt="1"/>
          </p:nvPr>
        </p:nvSpPr>
        <p:spPr>
          <a:xfrm>
            <a:off x="368790" y="722639"/>
            <a:ext cx="11446270" cy="324000"/>
          </a:xfrm>
          <a:prstGeom prst="rect">
            <a:avLst/>
          </a:prstGeom>
        </p:spPr>
        <p:txBody>
          <a:bodyPr lIns="0" tIns="0" rIns="0" bIns="0" anchor="t"/>
          <a:lstStyle>
            <a:lvl1pPr marL="0" indent="0">
              <a:lnSpc>
                <a:spcPct val="100000"/>
              </a:lnSpc>
              <a:spcBef>
                <a:spcPts val="0"/>
              </a:spcBef>
              <a:buNone/>
              <a:defRPr sz="2000" b="0">
                <a:solidFill>
                  <a:schemeClr val="bg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err="1"/>
              <a:t>Subtitle</a:t>
            </a:r>
            <a:endParaRPr lang="es-ES" dirty="0"/>
          </a:p>
        </p:txBody>
      </p:sp>
      <p:sp>
        <p:nvSpPr>
          <p:cNvPr id="10" name="Title 4">
            <a:extLst>
              <a:ext uri="{FF2B5EF4-FFF2-40B4-BE49-F238E27FC236}">
                <a16:creationId xmlns:a16="http://schemas.microsoft.com/office/drawing/2014/main" id="{2242D9D6-D11A-4D6D-B040-1DB896ED4203}"/>
              </a:ext>
            </a:extLst>
          </p:cNvPr>
          <p:cNvSpPr>
            <a:spLocks noGrp="1"/>
          </p:cNvSpPr>
          <p:nvPr>
            <p:ph type="title"/>
          </p:nvPr>
        </p:nvSpPr>
        <p:spPr>
          <a:xfrm>
            <a:off x="367200" y="252000"/>
            <a:ext cx="11448000" cy="432000"/>
          </a:xfrm>
        </p:spPr>
        <p:txBody>
          <a:bodyPr/>
          <a:lstStyle>
            <a:lvl1pPr>
              <a:defRPr>
                <a:solidFill>
                  <a:schemeClr val="bg1"/>
                </a:solidFill>
              </a:defRPr>
            </a:lvl1pPr>
          </a:lstStyle>
          <a:p>
            <a:r>
              <a:rPr lang="en-US" dirty="0"/>
              <a:t>Click to edit Master title style</a:t>
            </a:r>
          </a:p>
        </p:txBody>
      </p:sp>
      <p:sp>
        <p:nvSpPr>
          <p:cNvPr id="11" name="Rectangle 10">
            <a:extLst>
              <a:ext uri="{FF2B5EF4-FFF2-40B4-BE49-F238E27FC236}">
                <a16:creationId xmlns:a16="http://schemas.microsoft.com/office/drawing/2014/main" id="{F3A34D5F-1862-4AF6-A1FB-AB557083FBA8}"/>
              </a:ext>
            </a:extLst>
          </p:cNvPr>
          <p:cNvSpPr/>
          <p:nvPr userDrawn="1"/>
        </p:nvSpPr>
        <p:spPr>
          <a:xfrm>
            <a:off x="3051745"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2" name="Rectangle 11">
            <a:extLst>
              <a:ext uri="{FF2B5EF4-FFF2-40B4-BE49-F238E27FC236}">
                <a16:creationId xmlns:a16="http://schemas.microsoft.com/office/drawing/2014/main" id="{74D90E8D-7383-48EA-9C46-8ED32678559A}"/>
              </a:ext>
            </a:extLst>
          </p:cNvPr>
          <p:cNvSpPr/>
          <p:nvPr userDrawn="1"/>
        </p:nvSpPr>
        <p:spPr>
          <a:xfrm>
            <a:off x="7490"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3" name="Rectangle 12">
            <a:extLst>
              <a:ext uri="{FF2B5EF4-FFF2-40B4-BE49-F238E27FC236}">
                <a16:creationId xmlns:a16="http://schemas.microsoft.com/office/drawing/2014/main" id="{A1DF8D71-3144-4FFA-A9E0-AB725BDE6C5F}"/>
              </a:ext>
            </a:extLst>
          </p:cNvPr>
          <p:cNvSpPr/>
          <p:nvPr userDrawn="1"/>
        </p:nvSpPr>
        <p:spPr>
          <a:xfrm>
            <a:off x="9149414"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4" name="Rectangle 13">
            <a:extLst>
              <a:ext uri="{FF2B5EF4-FFF2-40B4-BE49-F238E27FC236}">
                <a16:creationId xmlns:a16="http://schemas.microsoft.com/office/drawing/2014/main" id="{193AEE06-F5A3-4CA6-A1EE-587CBF766DE1}"/>
              </a:ext>
            </a:extLst>
          </p:cNvPr>
          <p:cNvSpPr/>
          <p:nvPr userDrawn="1"/>
        </p:nvSpPr>
        <p:spPr>
          <a:xfrm>
            <a:off x="6105159"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pic>
        <p:nvPicPr>
          <p:cNvPr id="15" name="Graphic 10">
            <a:extLst>
              <a:ext uri="{FF2B5EF4-FFF2-40B4-BE49-F238E27FC236}">
                <a16:creationId xmlns:a16="http://schemas.microsoft.com/office/drawing/2014/main" id="{1EF219A0-C34D-4FA0-9BE3-68053D259828}"/>
              </a:ext>
            </a:extLst>
          </p:cNvPr>
          <p:cNvPicPr>
            <a:picLocks noChangeAspect="1"/>
          </p:cNvPicPr>
          <p:nvPr userDrawn="1"/>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70517" y="6420188"/>
            <a:ext cx="675863" cy="162467"/>
          </a:xfrm>
          <a:prstGeom prst="rect">
            <a:avLst/>
          </a:prstGeom>
        </p:spPr>
      </p:pic>
    </p:spTree>
    <p:extLst>
      <p:ext uri="{BB962C8B-B14F-4D97-AF65-F5344CB8AC3E}">
        <p14:creationId xmlns:p14="http://schemas.microsoft.com/office/powerpoint/2010/main" val="182910212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Agenda Color Picture v3">
    <p:bg>
      <p:bgPr>
        <a:gradFill flip="none" rotWithShape="1">
          <a:gsLst>
            <a:gs pos="0">
              <a:schemeClr val="accent1"/>
            </a:gs>
            <a:gs pos="100000">
              <a:schemeClr val="accent2"/>
            </a:gs>
          </a:gsLst>
          <a:lin ang="5400000" scaled="1"/>
          <a:tileRect/>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799C6CA-CACC-40BA-A825-A176D22A874B}"/>
              </a:ext>
            </a:extLst>
          </p:cNvPr>
          <p:cNvGraphicFramePr>
            <a:graphicFrameLocks noChangeAspect="1"/>
          </p:cNvGraphicFramePr>
          <p:nvPr userDrawn="1">
            <p:custDataLst>
              <p:tags r:id="rId2"/>
            </p:custDataLst>
            <p:extLst>
              <p:ext uri="{D42A27DB-BD31-4B8C-83A1-F6EECF244321}">
                <p14:modId xmlns:p14="http://schemas.microsoft.com/office/powerpoint/2010/main" val="25004061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8" name="think-cell Slide" r:id="rId5" imgW="473" imgH="474" progId="TCLayout.ActiveDocument.1">
                  <p:embed/>
                </p:oleObj>
              </mc:Choice>
              <mc:Fallback>
                <p:oleObj name="think-cell Slide" r:id="rId5" imgW="473" imgH="474" progId="TCLayout.ActiveDocument.1">
                  <p:embed/>
                  <p:pic>
                    <p:nvPicPr>
                      <p:cNvPr id="3" name="Object 2" hidden="1">
                        <a:extLst>
                          <a:ext uri="{FF2B5EF4-FFF2-40B4-BE49-F238E27FC236}">
                            <a16:creationId xmlns:a16="http://schemas.microsoft.com/office/drawing/2014/main" id="{8799C6CA-CACC-40BA-A825-A176D22A874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00FC0C89-C1CE-4776-A3D4-6245EB1A333E}"/>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Verdana" panose="020B0604030504040204" pitchFamily="34" charset="0"/>
              <a:ea typeface="+mj-ea"/>
              <a:cs typeface="+mj-cs"/>
              <a:sym typeface="Verdana" panose="020B0604030504040204" pitchFamily="34" charset="0"/>
            </a:endParaRPr>
          </a:p>
        </p:txBody>
      </p:sp>
      <p:sp>
        <p:nvSpPr>
          <p:cNvPr id="5" name="Text Placeholder 2">
            <a:extLst>
              <a:ext uri="{FF2B5EF4-FFF2-40B4-BE49-F238E27FC236}">
                <a16:creationId xmlns:a16="http://schemas.microsoft.com/office/drawing/2014/main" id="{CF579A3E-7345-456E-9716-B8A1EB859964}"/>
              </a:ext>
            </a:extLst>
          </p:cNvPr>
          <p:cNvSpPr>
            <a:spLocks noGrp="1"/>
          </p:cNvSpPr>
          <p:nvPr>
            <p:ph type="body" sz="quarter" idx="11" hasCustomPrompt="1"/>
          </p:nvPr>
        </p:nvSpPr>
        <p:spPr>
          <a:xfrm>
            <a:off x="4398400" y="1396800"/>
            <a:ext cx="7416800" cy="4752000"/>
          </a:xfrm>
          <a:prstGeom prst="rect">
            <a:avLst/>
          </a:prstGeom>
        </p:spPr>
        <p:txBody>
          <a:bodyPr/>
          <a:lstStyle>
            <a:lvl1pPr marL="228600" marR="0" indent="-228600" algn="l" defTabSz="914400" rtl="0" eaLnBrk="1" fontAlgn="auto" latinLnBrk="0" hangingPunct="1">
              <a:lnSpc>
                <a:spcPct val="90000"/>
              </a:lnSpc>
              <a:spcBef>
                <a:spcPts val="1000"/>
              </a:spcBef>
              <a:spcAft>
                <a:spcPts val="0"/>
              </a:spcAft>
              <a:buClr>
                <a:schemeClr val="bg1"/>
              </a:buClr>
              <a:buSzTx/>
              <a:buFont typeface="Arial" panose="020B0604020202020204" pitchFamily="34" charset="0"/>
              <a:buChar char="•"/>
              <a:tabLst/>
              <a:defRPr lang="en-US" sz="1400" b="0" i="0" kern="1200" dirty="0" smtClean="0">
                <a:solidFill>
                  <a:srgbClr val="FFFFFF"/>
                </a:solidFill>
                <a:latin typeface="+mn-lt"/>
                <a:ea typeface="+mn-ea"/>
                <a:cs typeface="+mn-cs"/>
              </a:defRPr>
            </a:lvl1pPr>
          </a:lstStyle>
          <a:p>
            <a:pPr lvl="0"/>
            <a:r>
              <a:rPr lang="en-US" dirty="0"/>
              <a:t>Edit Master text styles</a:t>
            </a:r>
          </a:p>
        </p:txBody>
      </p:sp>
      <p:sp>
        <p:nvSpPr>
          <p:cNvPr id="9" name="Marcador de posición de imagen 2">
            <a:extLst>
              <a:ext uri="{FF2B5EF4-FFF2-40B4-BE49-F238E27FC236}">
                <a16:creationId xmlns:a16="http://schemas.microsoft.com/office/drawing/2014/main" id="{31CC0BB2-D270-45FA-B36D-7DA74555A1CE}"/>
              </a:ext>
            </a:extLst>
          </p:cNvPr>
          <p:cNvSpPr>
            <a:spLocks noGrp="1"/>
          </p:cNvSpPr>
          <p:nvPr>
            <p:ph type="pic" sz="quarter" idx="12" hasCustomPrompt="1"/>
          </p:nvPr>
        </p:nvSpPr>
        <p:spPr>
          <a:xfrm>
            <a:off x="0" y="0"/>
            <a:ext cx="3719513" cy="6858000"/>
          </a:xfrm>
          <a:prstGeom prst="rect">
            <a:avLst/>
          </a:prstGeom>
        </p:spPr>
        <p:txBody>
          <a:bodyPr anchor="ctr"/>
          <a:lstStyle>
            <a:lvl1pPr marL="228600" marR="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a:solidFill>
                  <a:srgbClr val="FFFFFF"/>
                </a:solidFill>
              </a:defRPr>
            </a:lvl1pPr>
          </a:lstStyle>
          <a:p>
            <a:pPr marL="228600" marR="0" lvl="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Drag picture to placeholder </a:t>
            </a:r>
            <a:br>
              <a:rPr lang="en-US" dirty="0"/>
            </a:br>
            <a:r>
              <a:rPr lang="en-US" dirty="0"/>
              <a:t>or click icon to add</a:t>
            </a:r>
          </a:p>
        </p:txBody>
      </p:sp>
      <p:sp>
        <p:nvSpPr>
          <p:cNvPr id="10" name="CuadroTexto 64">
            <a:extLst>
              <a:ext uri="{FF2B5EF4-FFF2-40B4-BE49-F238E27FC236}">
                <a16:creationId xmlns:a16="http://schemas.microsoft.com/office/drawing/2014/main" id="{A837BAC7-8936-49B2-AA16-4D8D20EFE2F7}"/>
              </a:ext>
            </a:extLst>
          </p:cNvPr>
          <p:cNvSpPr txBox="1"/>
          <p:nvPr userDrawn="1"/>
        </p:nvSpPr>
        <p:spPr>
          <a:xfrm>
            <a:off x="10882303" y="6449284"/>
            <a:ext cx="936214" cy="138499"/>
          </a:xfrm>
          <a:prstGeom prst="rect">
            <a:avLst/>
          </a:prstGeom>
          <a:noFill/>
        </p:spPr>
        <p:txBody>
          <a:bodyPr wrap="square" lIns="0" tIns="0" rIns="0" bIns="0" rtlCol="0">
            <a:spAutoFit/>
          </a:bodyPr>
          <a:lstStyle/>
          <a:p>
            <a:pPr algn="r"/>
            <a:fld id="{A4EEDD72-1D6A-6B46-BCFA-C211F73E9379}" type="slidenum">
              <a:rPr lang="es-ES" sz="900" b="1" smtClean="0">
                <a:solidFill>
                  <a:schemeClr val="bg1"/>
                </a:solidFill>
                <a:latin typeface="Verdana" panose="020B0604030504040204" pitchFamily="34" charset="0"/>
                <a:ea typeface="Verdana" panose="020B0604030504040204" pitchFamily="34" charset="0"/>
                <a:cs typeface="Verdana" panose="020B0604030504040204" pitchFamily="34" charset="0"/>
              </a:rPr>
              <a:pPr algn="r"/>
              <a:t>‹N›</a:t>
            </a:fld>
            <a:endParaRPr lang="es-ES" sz="90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11" name="Rectangle 10">
            <a:extLst>
              <a:ext uri="{FF2B5EF4-FFF2-40B4-BE49-F238E27FC236}">
                <a16:creationId xmlns:a16="http://schemas.microsoft.com/office/drawing/2014/main" id="{96BCF6E4-34B1-4810-9AD2-831E946545EB}"/>
              </a:ext>
            </a:extLst>
          </p:cNvPr>
          <p:cNvSpPr/>
          <p:nvPr userDrawn="1"/>
        </p:nvSpPr>
        <p:spPr>
          <a:xfrm>
            <a:off x="3051745"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2" name="Rectangle 11">
            <a:extLst>
              <a:ext uri="{FF2B5EF4-FFF2-40B4-BE49-F238E27FC236}">
                <a16:creationId xmlns:a16="http://schemas.microsoft.com/office/drawing/2014/main" id="{9142A6AA-E939-46F9-817D-B9054D68E5BA}"/>
              </a:ext>
            </a:extLst>
          </p:cNvPr>
          <p:cNvSpPr/>
          <p:nvPr userDrawn="1"/>
        </p:nvSpPr>
        <p:spPr>
          <a:xfrm>
            <a:off x="7490"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3" name="Rectangle 12">
            <a:extLst>
              <a:ext uri="{FF2B5EF4-FFF2-40B4-BE49-F238E27FC236}">
                <a16:creationId xmlns:a16="http://schemas.microsoft.com/office/drawing/2014/main" id="{380A577B-D86E-4B54-AD20-19D8159F92C4}"/>
              </a:ext>
            </a:extLst>
          </p:cNvPr>
          <p:cNvSpPr/>
          <p:nvPr userDrawn="1"/>
        </p:nvSpPr>
        <p:spPr>
          <a:xfrm>
            <a:off x="9149414"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4" name="Rectangle 13">
            <a:extLst>
              <a:ext uri="{FF2B5EF4-FFF2-40B4-BE49-F238E27FC236}">
                <a16:creationId xmlns:a16="http://schemas.microsoft.com/office/drawing/2014/main" id="{BB6B5D48-D763-464A-8CC8-CDBF9B7B60D1}"/>
              </a:ext>
            </a:extLst>
          </p:cNvPr>
          <p:cNvSpPr/>
          <p:nvPr userDrawn="1"/>
        </p:nvSpPr>
        <p:spPr>
          <a:xfrm>
            <a:off x="6105159"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5" name="Marcador de texto 2">
            <a:extLst>
              <a:ext uri="{FF2B5EF4-FFF2-40B4-BE49-F238E27FC236}">
                <a16:creationId xmlns:a16="http://schemas.microsoft.com/office/drawing/2014/main" id="{02AA6F99-D5FA-4B23-9741-BB0916398AB6}"/>
              </a:ext>
            </a:extLst>
          </p:cNvPr>
          <p:cNvSpPr>
            <a:spLocks noGrp="1"/>
          </p:cNvSpPr>
          <p:nvPr>
            <p:ph type="body" idx="10" hasCustomPrompt="1"/>
          </p:nvPr>
        </p:nvSpPr>
        <p:spPr>
          <a:xfrm>
            <a:off x="4404704" y="722639"/>
            <a:ext cx="7410355" cy="324000"/>
          </a:xfrm>
          <a:prstGeom prst="rect">
            <a:avLst/>
          </a:prstGeom>
        </p:spPr>
        <p:txBody>
          <a:bodyPr lIns="0" tIns="0" rIns="0" bIns="0" anchor="t"/>
          <a:lstStyle>
            <a:lvl1pPr marL="0" indent="0">
              <a:lnSpc>
                <a:spcPct val="100000"/>
              </a:lnSpc>
              <a:spcBef>
                <a:spcPts val="0"/>
              </a:spcBef>
              <a:buNone/>
              <a:defRPr sz="2000" b="0">
                <a:solidFill>
                  <a:schemeClr val="bg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err="1"/>
              <a:t>Subtitle</a:t>
            </a:r>
            <a:endParaRPr lang="es-ES" dirty="0"/>
          </a:p>
        </p:txBody>
      </p:sp>
      <p:sp>
        <p:nvSpPr>
          <p:cNvPr id="16" name="Title 4">
            <a:extLst>
              <a:ext uri="{FF2B5EF4-FFF2-40B4-BE49-F238E27FC236}">
                <a16:creationId xmlns:a16="http://schemas.microsoft.com/office/drawing/2014/main" id="{FD2ABE27-801C-439F-8C68-AAFCCF2AC6CC}"/>
              </a:ext>
            </a:extLst>
          </p:cNvPr>
          <p:cNvSpPr>
            <a:spLocks noGrp="1"/>
          </p:cNvSpPr>
          <p:nvPr>
            <p:ph type="title"/>
          </p:nvPr>
        </p:nvSpPr>
        <p:spPr>
          <a:xfrm>
            <a:off x="4403724" y="252000"/>
            <a:ext cx="7411475" cy="432000"/>
          </a:xfrm>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58751242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_Agenda White Picture v3">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799C6CA-CACC-40BA-A825-A176D22A874B}"/>
              </a:ext>
            </a:extLst>
          </p:cNvPr>
          <p:cNvGraphicFramePr>
            <a:graphicFrameLocks noChangeAspect="1"/>
          </p:cNvGraphicFramePr>
          <p:nvPr userDrawn="1">
            <p:custDataLst>
              <p:tags r:id="rId2"/>
            </p:custDataLst>
            <p:extLst>
              <p:ext uri="{D42A27DB-BD31-4B8C-83A1-F6EECF244321}">
                <p14:modId xmlns:p14="http://schemas.microsoft.com/office/powerpoint/2010/main" val="41069852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2" name="think-cell Slide" r:id="rId5" imgW="473" imgH="474" progId="TCLayout.ActiveDocument.1">
                  <p:embed/>
                </p:oleObj>
              </mc:Choice>
              <mc:Fallback>
                <p:oleObj name="think-cell Slide" r:id="rId5" imgW="473" imgH="474" progId="TCLayout.ActiveDocument.1">
                  <p:embed/>
                  <p:pic>
                    <p:nvPicPr>
                      <p:cNvPr id="3" name="Object 2" hidden="1">
                        <a:extLst>
                          <a:ext uri="{FF2B5EF4-FFF2-40B4-BE49-F238E27FC236}">
                            <a16:creationId xmlns:a16="http://schemas.microsoft.com/office/drawing/2014/main" id="{8799C6CA-CACC-40BA-A825-A176D22A874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00FC0C89-C1CE-4776-A3D4-6245EB1A333E}"/>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Verdana" panose="020B0604030504040204" pitchFamily="34" charset="0"/>
              <a:ea typeface="+mj-ea"/>
              <a:cs typeface="+mj-cs"/>
              <a:sym typeface="Verdana" panose="020B0604030504040204" pitchFamily="34" charset="0"/>
            </a:endParaRPr>
          </a:p>
        </p:txBody>
      </p:sp>
      <p:sp>
        <p:nvSpPr>
          <p:cNvPr id="5" name="Text Placeholder 2">
            <a:extLst>
              <a:ext uri="{FF2B5EF4-FFF2-40B4-BE49-F238E27FC236}">
                <a16:creationId xmlns:a16="http://schemas.microsoft.com/office/drawing/2014/main" id="{CF579A3E-7345-456E-9716-B8A1EB859964}"/>
              </a:ext>
            </a:extLst>
          </p:cNvPr>
          <p:cNvSpPr>
            <a:spLocks noGrp="1"/>
          </p:cNvSpPr>
          <p:nvPr>
            <p:ph type="body" sz="quarter" idx="11" hasCustomPrompt="1"/>
          </p:nvPr>
        </p:nvSpPr>
        <p:spPr>
          <a:xfrm>
            <a:off x="4398400" y="1396800"/>
            <a:ext cx="3389875" cy="4752000"/>
          </a:xfrm>
          <a:prstGeom prst="rect">
            <a:avLst/>
          </a:prstGeom>
        </p:spPr>
        <p:txBody>
          <a:bodyPr/>
          <a:lstStyle>
            <a:lvl1pPr marL="342900" marR="0" indent="-342900" algn="l" defTabSz="914400" rtl="0" eaLnBrk="1" fontAlgn="auto" latinLnBrk="0" hangingPunct="1">
              <a:lnSpc>
                <a:spcPct val="90000"/>
              </a:lnSpc>
              <a:spcBef>
                <a:spcPts val="1000"/>
              </a:spcBef>
              <a:spcAft>
                <a:spcPts val="0"/>
              </a:spcAft>
              <a:buClr>
                <a:schemeClr val="accent1"/>
              </a:buClr>
              <a:buSzTx/>
              <a:buFont typeface="+mj-lt"/>
              <a:buAutoNum type="arabicPeriod"/>
              <a:tabLst/>
              <a:defRPr lang="en-US" sz="1400" b="0" i="0" kern="1200" dirty="0" smtClean="0">
                <a:solidFill>
                  <a:schemeClr val="tx1"/>
                </a:solidFill>
                <a:latin typeface="+mn-lt"/>
                <a:ea typeface="+mn-ea"/>
                <a:cs typeface="+mn-cs"/>
              </a:defRPr>
            </a:lvl1pPr>
          </a:lstStyle>
          <a:p>
            <a:pPr lvl="0"/>
            <a:r>
              <a:rPr lang="en-US" dirty="0"/>
              <a:t>Edit Master text styles</a:t>
            </a:r>
          </a:p>
        </p:txBody>
      </p:sp>
      <p:sp>
        <p:nvSpPr>
          <p:cNvPr id="9" name="Marcador de posición de imagen 2">
            <a:extLst>
              <a:ext uri="{FF2B5EF4-FFF2-40B4-BE49-F238E27FC236}">
                <a16:creationId xmlns:a16="http://schemas.microsoft.com/office/drawing/2014/main" id="{31CC0BB2-D270-45FA-B36D-7DA74555A1CE}"/>
              </a:ext>
            </a:extLst>
          </p:cNvPr>
          <p:cNvSpPr>
            <a:spLocks noGrp="1"/>
          </p:cNvSpPr>
          <p:nvPr>
            <p:ph type="pic" sz="quarter" idx="12" hasCustomPrompt="1"/>
          </p:nvPr>
        </p:nvSpPr>
        <p:spPr>
          <a:xfrm>
            <a:off x="0" y="0"/>
            <a:ext cx="3719513" cy="6858000"/>
          </a:xfrm>
          <a:prstGeom prst="rect">
            <a:avLst/>
          </a:prstGeom>
        </p:spPr>
        <p:txBody>
          <a:bodyPr anchor="ctr"/>
          <a:lstStyle>
            <a:lvl1pPr marL="228600" marR="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a:solidFill>
                  <a:srgbClr val="FFFFFF"/>
                </a:solidFill>
              </a:defRPr>
            </a:lvl1pPr>
          </a:lstStyle>
          <a:p>
            <a:pPr marL="228600" marR="0" lvl="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Drag picture to placeholder </a:t>
            </a:r>
            <a:br>
              <a:rPr lang="en-US" dirty="0"/>
            </a:br>
            <a:r>
              <a:rPr lang="en-US" dirty="0"/>
              <a:t>or click icon to add</a:t>
            </a:r>
          </a:p>
        </p:txBody>
      </p:sp>
      <p:sp>
        <p:nvSpPr>
          <p:cNvPr id="10" name="CuadroTexto 64">
            <a:extLst>
              <a:ext uri="{FF2B5EF4-FFF2-40B4-BE49-F238E27FC236}">
                <a16:creationId xmlns:a16="http://schemas.microsoft.com/office/drawing/2014/main" id="{A837BAC7-8936-49B2-AA16-4D8D20EFE2F7}"/>
              </a:ext>
            </a:extLst>
          </p:cNvPr>
          <p:cNvSpPr txBox="1"/>
          <p:nvPr userDrawn="1"/>
        </p:nvSpPr>
        <p:spPr>
          <a:xfrm>
            <a:off x="10882303" y="6449284"/>
            <a:ext cx="936214" cy="138499"/>
          </a:xfrm>
          <a:prstGeom prst="rect">
            <a:avLst/>
          </a:prstGeom>
          <a:noFill/>
        </p:spPr>
        <p:txBody>
          <a:bodyPr wrap="square" lIns="0" tIns="0" rIns="0" bIns="0" rtlCol="0">
            <a:spAutoFit/>
          </a:bodyPr>
          <a:lstStyle/>
          <a:p>
            <a:pPr algn="r"/>
            <a:fld id="{A4EEDD72-1D6A-6B46-BCFA-C211F73E9379}" type="slidenum">
              <a:rPr lang="es-ES" sz="900" b="1" smtClean="0">
                <a:solidFill>
                  <a:schemeClr val="bg1"/>
                </a:solidFill>
                <a:latin typeface="Verdana" panose="020B0604030504040204" pitchFamily="34" charset="0"/>
                <a:ea typeface="Verdana" panose="020B0604030504040204" pitchFamily="34" charset="0"/>
                <a:cs typeface="Verdana" panose="020B0604030504040204" pitchFamily="34" charset="0"/>
              </a:rPr>
              <a:pPr algn="r"/>
              <a:t>‹N›</a:t>
            </a:fld>
            <a:endParaRPr lang="es-ES" sz="90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8" name="CuadroTexto 64">
            <a:extLst>
              <a:ext uri="{FF2B5EF4-FFF2-40B4-BE49-F238E27FC236}">
                <a16:creationId xmlns:a16="http://schemas.microsoft.com/office/drawing/2014/main" id="{6D9740EA-CDAD-4A7D-AE29-2A54AF22C3DE}"/>
              </a:ext>
            </a:extLst>
          </p:cNvPr>
          <p:cNvSpPr txBox="1"/>
          <p:nvPr userDrawn="1"/>
        </p:nvSpPr>
        <p:spPr>
          <a:xfrm>
            <a:off x="10878986" y="6452363"/>
            <a:ext cx="936214" cy="138499"/>
          </a:xfrm>
          <a:prstGeom prst="rect">
            <a:avLst/>
          </a:prstGeom>
          <a:noFill/>
        </p:spPr>
        <p:txBody>
          <a:bodyPr wrap="square" lIns="0" tIns="0" rIns="0" bIns="0" rtlCol="0">
            <a:spAutoFit/>
          </a:bodyPr>
          <a:lstStyle/>
          <a:p>
            <a:pPr algn="r"/>
            <a:fld id="{A4EEDD72-1D6A-6B46-BCFA-C211F73E9379}" type="slidenum">
              <a:rPr lang="es-ES" sz="900" b="1" smtClean="0">
                <a:solidFill>
                  <a:schemeClr val="accent1"/>
                </a:solidFill>
                <a:latin typeface="Verdana" panose="020B0604030504040204" pitchFamily="34" charset="0"/>
                <a:ea typeface="Verdana" panose="020B0604030504040204" pitchFamily="34" charset="0"/>
                <a:cs typeface="Verdana" panose="020B0604030504040204" pitchFamily="34" charset="0"/>
              </a:rPr>
              <a:pPr algn="r"/>
              <a:t>‹N›</a:t>
            </a:fld>
            <a:endParaRPr lang="es-ES" sz="900" b="1" dirty="0">
              <a:solidFill>
                <a:schemeClr val="accent1"/>
              </a:solidFill>
              <a:latin typeface="Verdana" panose="020B0604030504040204" pitchFamily="34" charset="0"/>
              <a:ea typeface="Verdana" panose="020B0604030504040204" pitchFamily="34" charset="0"/>
              <a:cs typeface="Verdana" panose="020B0604030504040204" pitchFamily="34" charset="0"/>
            </a:endParaRPr>
          </a:p>
        </p:txBody>
      </p:sp>
      <p:sp>
        <p:nvSpPr>
          <p:cNvPr id="11" name="Marcador de texto 2">
            <a:extLst>
              <a:ext uri="{FF2B5EF4-FFF2-40B4-BE49-F238E27FC236}">
                <a16:creationId xmlns:a16="http://schemas.microsoft.com/office/drawing/2014/main" id="{71272047-0056-4EE1-A4F6-E1D3A6CAF5CA}"/>
              </a:ext>
            </a:extLst>
          </p:cNvPr>
          <p:cNvSpPr>
            <a:spLocks noGrp="1"/>
          </p:cNvSpPr>
          <p:nvPr>
            <p:ph type="body" idx="10" hasCustomPrompt="1"/>
          </p:nvPr>
        </p:nvSpPr>
        <p:spPr>
          <a:xfrm>
            <a:off x="4404704" y="722639"/>
            <a:ext cx="7410355" cy="324000"/>
          </a:xfrm>
          <a:prstGeom prst="rect">
            <a:avLst/>
          </a:prstGeom>
        </p:spPr>
        <p:txBody>
          <a:bodyPr lIns="0" tIns="0" rIns="0" bIns="0" anchor="t"/>
          <a:lstStyle>
            <a:lvl1pPr marL="0" indent="0">
              <a:lnSpc>
                <a:spcPct val="100000"/>
              </a:lnSpc>
              <a:spcBef>
                <a:spcPts val="0"/>
              </a:spcBef>
              <a:buNone/>
              <a:defRPr sz="2000" b="0">
                <a:solidFill>
                  <a:srgbClr val="000000"/>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err="1"/>
              <a:t>Subtitle</a:t>
            </a:r>
            <a:endParaRPr lang="es-ES" dirty="0"/>
          </a:p>
        </p:txBody>
      </p:sp>
      <p:sp>
        <p:nvSpPr>
          <p:cNvPr id="12" name="Title 4">
            <a:extLst>
              <a:ext uri="{FF2B5EF4-FFF2-40B4-BE49-F238E27FC236}">
                <a16:creationId xmlns:a16="http://schemas.microsoft.com/office/drawing/2014/main" id="{5227E7B1-E64E-4361-8C90-AF5798192F42}"/>
              </a:ext>
            </a:extLst>
          </p:cNvPr>
          <p:cNvSpPr>
            <a:spLocks noGrp="1"/>
          </p:cNvSpPr>
          <p:nvPr>
            <p:ph type="title"/>
          </p:nvPr>
        </p:nvSpPr>
        <p:spPr>
          <a:xfrm>
            <a:off x="4403724" y="252000"/>
            <a:ext cx="7411475" cy="432000"/>
          </a:xfrm>
        </p:spPr>
        <p:txBody>
          <a:bodyPr/>
          <a:lstStyle/>
          <a:p>
            <a:r>
              <a:rPr lang="en-US"/>
              <a:t>Click to edit Master title style</a:t>
            </a:r>
          </a:p>
        </p:txBody>
      </p:sp>
      <p:sp>
        <p:nvSpPr>
          <p:cNvPr id="13" name="Rectangle 12">
            <a:extLst>
              <a:ext uri="{FF2B5EF4-FFF2-40B4-BE49-F238E27FC236}">
                <a16:creationId xmlns:a16="http://schemas.microsoft.com/office/drawing/2014/main" id="{72AD02DA-5F23-483C-A16A-DBBC02B6F525}"/>
              </a:ext>
            </a:extLst>
          </p:cNvPr>
          <p:cNvSpPr/>
          <p:nvPr userDrawn="1"/>
        </p:nvSpPr>
        <p:spPr>
          <a:xfrm>
            <a:off x="3051745"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4" name="Rectangle 13">
            <a:extLst>
              <a:ext uri="{FF2B5EF4-FFF2-40B4-BE49-F238E27FC236}">
                <a16:creationId xmlns:a16="http://schemas.microsoft.com/office/drawing/2014/main" id="{99598CED-89EA-4017-8598-4A371CA426F0}"/>
              </a:ext>
            </a:extLst>
          </p:cNvPr>
          <p:cNvSpPr/>
          <p:nvPr userDrawn="1"/>
        </p:nvSpPr>
        <p:spPr>
          <a:xfrm>
            <a:off x="7490"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5" name="Rectangle 14">
            <a:extLst>
              <a:ext uri="{FF2B5EF4-FFF2-40B4-BE49-F238E27FC236}">
                <a16:creationId xmlns:a16="http://schemas.microsoft.com/office/drawing/2014/main" id="{453B1909-F23A-4E60-A0A3-91D51F8D9BDD}"/>
              </a:ext>
            </a:extLst>
          </p:cNvPr>
          <p:cNvSpPr/>
          <p:nvPr userDrawn="1"/>
        </p:nvSpPr>
        <p:spPr>
          <a:xfrm>
            <a:off x="9149414"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6" name="Rectangle 15">
            <a:extLst>
              <a:ext uri="{FF2B5EF4-FFF2-40B4-BE49-F238E27FC236}">
                <a16:creationId xmlns:a16="http://schemas.microsoft.com/office/drawing/2014/main" id="{D3E7BDE0-37AF-407E-8E05-D26E3337DEB3}"/>
              </a:ext>
            </a:extLst>
          </p:cNvPr>
          <p:cNvSpPr/>
          <p:nvPr userDrawn="1"/>
        </p:nvSpPr>
        <p:spPr>
          <a:xfrm>
            <a:off x="6105159"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7" name="Text Placeholder 2">
            <a:extLst>
              <a:ext uri="{FF2B5EF4-FFF2-40B4-BE49-F238E27FC236}">
                <a16:creationId xmlns:a16="http://schemas.microsoft.com/office/drawing/2014/main" id="{2D00A97D-5B53-4014-9B69-DC2EF4F0B8B5}"/>
              </a:ext>
            </a:extLst>
          </p:cNvPr>
          <p:cNvSpPr>
            <a:spLocks noGrp="1"/>
          </p:cNvSpPr>
          <p:nvPr>
            <p:ph type="body" sz="quarter" idx="13" hasCustomPrompt="1"/>
          </p:nvPr>
        </p:nvSpPr>
        <p:spPr>
          <a:xfrm>
            <a:off x="8435975" y="1393825"/>
            <a:ext cx="3379084" cy="4752000"/>
          </a:xfrm>
          <a:prstGeom prst="rect">
            <a:avLst/>
          </a:prstGeom>
        </p:spPr>
        <p:txBody>
          <a:bodyPr/>
          <a:lstStyle>
            <a:lvl1pPr marL="342900" marR="0" indent="-342900" algn="l" defTabSz="914400" rtl="0" eaLnBrk="1" fontAlgn="auto" latinLnBrk="0" hangingPunct="1">
              <a:lnSpc>
                <a:spcPct val="90000"/>
              </a:lnSpc>
              <a:spcBef>
                <a:spcPts val="1000"/>
              </a:spcBef>
              <a:spcAft>
                <a:spcPts val="0"/>
              </a:spcAft>
              <a:buClr>
                <a:schemeClr val="accent1"/>
              </a:buClr>
              <a:buSzTx/>
              <a:buFont typeface="+mj-lt"/>
              <a:buAutoNum type="arabicPeriod"/>
              <a:tabLst/>
              <a:defRPr lang="en-US" sz="1400" b="0" i="0" kern="1200" dirty="0" smtClean="0">
                <a:solidFill>
                  <a:schemeClr val="tx1"/>
                </a:solidFill>
                <a:latin typeface="+mn-lt"/>
                <a:ea typeface="+mn-ea"/>
                <a:cs typeface="+mn-cs"/>
              </a:defRPr>
            </a:lvl1pPr>
          </a:lstStyle>
          <a:p>
            <a:pPr lvl="0"/>
            <a:r>
              <a:rPr lang="en-US" dirty="0"/>
              <a:t>Edit Master text styles</a:t>
            </a:r>
          </a:p>
        </p:txBody>
      </p:sp>
    </p:spTree>
    <p:extLst>
      <p:ext uri="{BB962C8B-B14F-4D97-AF65-F5344CB8AC3E}">
        <p14:creationId xmlns:p14="http://schemas.microsoft.com/office/powerpoint/2010/main" val="195218119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One Colum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3438775-9777-4BD0-8C61-3EC57CD45D42}"/>
              </a:ext>
            </a:extLst>
          </p:cNvPr>
          <p:cNvGraphicFramePr>
            <a:graphicFrameLocks noChangeAspect="1"/>
          </p:cNvGraphicFramePr>
          <p:nvPr userDrawn="1">
            <p:custDataLst>
              <p:tags r:id="rId2"/>
            </p:custDataLst>
            <p:extLst>
              <p:ext uri="{D42A27DB-BD31-4B8C-83A1-F6EECF244321}">
                <p14:modId xmlns:p14="http://schemas.microsoft.com/office/powerpoint/2010/main" val="37961835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6" name="think-cell Slide" r:id="rId5" imgW="473" imgH="474" progId="TCLayout.ActiveDocument.1">
                  <p:embed/>
                </p:oleObj>
              </mc:Choice>
              <mc:Fallback>
                <p:oleObj name="think-cell Slide" r:id="rId5" imgW="473" imgH="474" progId="TCLayout.ActiveDocument.1">
                  <p:embed/>
                  <p:pic>
                    <p:nvPicPr>
                      <p:cNvPr id="5" name="Object 4" hidden="1">
                        <a:extLst>
                          <a:ext uri="{FF2B5EF4-FFF2-40B4-BE49-F238E27FC236}">
                            <a16:creationId xmlns:a16="http://schemas.microsoft.com/office/drawing/2014/main" id="{13438775-9777-4BD0-8C61-3EC57CD45D4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7315B50-F7B9-47D3-9FA3-225AE367F69F}"/>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Verdana" panose="020B0604030504040204" pitchFamily="34" charset="0"/>
              <a:ea typeface="+mj-ea"/>
              <a:cs typeface="+mj-cs"/>
              <a:sym typeface="Verdana" panose="020B0604030504040204" pitchFamily="34" charset="0"/>
            </a:endParaRPr>
          </a:p>
        </p:txBody>
      </p:sp>
      <p:sp>
        <p:nvSpPr>
          <p:cNvPr id="7" name="Marcador de texto 2">
            <a:extLst>
              <a:ext uri="{FF2B5EF4-FFF2-40B4-BE49-F238E27FC236}">
                <a16:creationId xmlns:a16="http://schemas.microsoft.com/office/drawing/2014/main" id="{D143ED73-AA34-4057-A898-E1A20B1D6F73}"/>
              </a:ext>
            </a:extLst>
          </p:cNvPr>
          <p:cNvSpPr>
            <a:spLocks noGrp="1"/>
          </p:cNvSpPr>
          <p:nvPr>
            <p:ph type="body" idx="10" hasCustomPrompt="1"/>
          </p:nvPr>
        </p:nvSpPr>
        <p:spPr>
          <a:xfrm>
            <a:off x="368790" y="722639"/>
            <a:ext cx="11446270" cy="324000"/>
          </a:xfrm>
          <a:prstGeom prst="rect">
            <a:avLst/>
          </a:prstGeom>
        </p:spPr>
        <p:txBody>
          <a:bodyPr lIns="0" tIns="0" rIns="0" bIns="0" anchor="t"/>
          <a:lstStyle>
            <a:lvl1pPr marL="0" indent="0">
              <a:lnSpc>
                <a:spcPct val="100000"/>
              </a:lnSpc>
              <a:spcBef>
                <a:spcPts val="0"/>
              </a:spcBef>
              <a:buNone/>
              <a:defRPr sz="2000" b="0">
                <a:solidFill>
                  <a:srgbClr val="000000"/>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err="1"/>
              <a:t>Subtitle</a:t>
            </a:r>
            <a:endParaRPr lang="es-ES" dirty="0"/>
          </a:p>
        </p:txBody>
      </p:sp>
      <p:sp>
        <p:nvSpPr>
          <p:cNvPr id="3" name="Text Placeholder 2">
            <a:extLst>
              <a:ext uri="{FF2B5EF4-FFF2-40B4-BE49-F238E27FC236}">
                <a16:creationId xmlns:a16="http://schemas.microsoft.com/office/drawing/2014/main" id="{F9419630-CD11-4BD6-A599-A739295FC218}"/>
              </a:ext>
            </a:extLst>
          </p:cNvPr>
          <p:cNvSpPr>
            <a:spLocks noGrp="1"/>
          </p:cNvSpPr>
          <p:nvPr>
            <p:ph type="body" sz="quarter" idx="11" hasCustomPrompt="1"/>
          </p:nvPr>
        </p:nvSpPr>
        <p:spPr>
          <a:xfrm>
            <a:off x="368790" y="1776713"/>
            <a:ext cx="11449050" cy="4372087"/>
          </a:xfrm>
          <a:prstGeom prst="rect">
            <a:avLst/>
          </a:prstGeom>
        </p:spPr>
        <p:txBody>
          <a:bodyPr tIns="0" bIns="0"/>
          <a:lstStyle>
            <a:lvl1pPr marL="228600" marR="0" indent="-228600" algn="l" defTabSz="914400" rtl="0" eaLnBrk="1" fontAlgn="auto" latinLnBrk="0" hangingPunct="1">
              <a:lnSpc>
                <a:spcPts val="1900"/>
              </a:lnSpc>
              <a:spcBef>
                <a:spcPts val="0"/>
              </a:spcBef>
              <a:spcAft>
                <a:spcPts val="0"/>
              </a:spcAft>
              <a:buClr>
                <a:schemeClr val="accent1"/>
              </a:buClr>
              <a:buSzTx/>
              <a:buFont typeface="Arial" panose="020B0604020202020204" pitchFamily="34" charset="0"/>
              <a:buChar char="•"/>
              <a:tabLst/>
              <a:defRPr lang="en-US" sz="1400" b="0" i="0" kern="1200" dirty="0" smtClean="0">
                <a:solidFill>
                  <a:schemeClr val="tx1"/>
                </a:solidFill>
                <a:latin typeface="+mn-lt"/>
                <a:ea typeface="+mn-ea"/>
                <a:cs typeface="+mn-cs"/>
              </a:defRPr>
            </a:lvl1pPr>
          </a:lstStyle>
          <a:p>
            <a:pPr lvl="0"/>
            <a:r>
              <a:rPr lang="en-US" dirty="0"/>
              <a:t>Edit Master text styles</a:t>
            </a:r>
          </a:p>
          <a:p>
            <a:pPr marL="228600" marR="0" lvl="0" indent="-228600" algn="l" defTabSz="914400" rtl="0" eaLnBrk="1" fontAlgn="auto" latinLnBrk="0" hangingPunct="1">
              <a:lnSpc>
                <a:spcPct val="90000"/>
              </a:lnSpc>
              <a:spcBef>
                <a:spcPts val="1000"/>
              </a:spcBef>
              <a:spcAft>
                <a:spcPts val="0"/>
              </a:spcAft>
              <a:buClr>
                <a:schemeClr val="accent1"/>
              </a:buClr>
              <a:buSzTx/>
              <a:buFont typeface="Arial" panose="020B0604020202020204" pitchFamily="34" charset="0"/>
              <a:buChar char="•"/>
              <a:tabLst/>
              <a:defRPr/>
            </a:pPr>
            <a:r>
              <a:rPr lang="en-US" dirty="0"/>
              <a:t>Edit Master text styles</a:t>
            </a:r>
          </a:p>
          <a:p>
            <a:pPr marL="228600" marR="0" lvl="0" indent="-228600" algn="l" defTabSz="914400" rtl="0" eaLnBrk="1" fontAlgn="auto" latinLnBrk="0" hangingPunct="1">
              <a:lnSpc>
                <a:spcPct val="90000"/>
              </a:lnSpc>
              <a:spcBef>
                <a:spcPts val="1000"/>
              </a:spcBef>
              <a:spcAft>
                <a:spcPts val="0"/>
              </a:spcAft>
              <a:buClr>
                <a:schemeClr val="accent1"/>
              </a:buClr>
              <a:buSzTx/>
              <a:buFont typeface="Arial" panose="020B0604020202020204" pitchFamily="34" charset="0"/>
              <a:buChar char="•"/>
              <a:tabLst/>
              <a:defRPr/>
            </a:pPr>
            <a:r>
              <a:rPr lang="en-US" dirty="0"/>
              <a:t>Edit Master text styles</a:t>
            </a:r>
          </a:p>
          <a:p>
            <a:pPr marL="228600" marR="0" lvl="0" indent="-228600" algn="l" defTabSz="914400" rtl="0" eaLnBrk="1" fontAlgn="auto" latinLnBrk="0" hangingPunct="1">
              <a:lnSpc>
                <a:spcPct val="90000"/>
              </a:lnSpc>
              <a:spcBef>
                <a:spcPts val="1000"/>
              </a:spcBef>
              <a:spcAft>
                <a:spcPts val="0"/>
              </a:spcAft>
              <a:buClr>
                <a:schemeClr val="accent1"/>
              </a:buClr>
              <a:buSzTx/>
              <a:buFont typeface="Arial" panose="020B0604020202020204" pitchFamily="34" charset="0"/>
              <a:buChar char="•"/>
              <a:tabLst/>
              <a:defRPr/>
            </a:pPr>
            <a:r>
              <a:rPr lang="en-US" dirty="0"/>
              <a:t>Edit Master text styles</a:t>
            </a:r>
          </a:p>
          <a:p>
            <a:pPr marL="228600" marR="0" lvl="0" indent="-228600" algn="l" defTabSz="914400" rtl="0" eaLnBrk="1" fontAlgn="auto" latinLnBrk="0" hangingPunct="1">
              <a:lnSpc>
                <a:spcPct val="90000"/>
              </a:lnSpc>
              <a:spcBef>
                <a:spcPts val="1000"/>
              </a:spcBef>
              <a:spcAft>
                <a:spcPts val="0"/>
              </a:spcAft>
              <a:buClr>
                <a:schemeClr val="accent1"/>
              </a:buClr>
              <a:buSzTx/>
              <a:buFont typeface="Arial" panose="020B0604020202020204" pitchFamily="34" charset="0"/>
              <a:buChar char="•"/>
              <a:tabLst/>
              <a:defRPr/>
            </a:pPr>
            <a:r>
              <a:rPr lang="en-US" dirty="0"/>
              <a:t>Edit Master text styles</a:t>
            </a:r>
          </a:p>
          <a:p>
            <a:pPr marL="228600" marR="0" lvl="0" indent="-228600" algn="l" defTabSz="914400" rtl="0" eaLnBrk="1" fontAlgn="auto" latinLnBrk="0" hangingPunct="1">
              <a:lnSpc>
                <a:spcPct val="90000"/>
              </a:lnSpc>
              <a:spcBef>
                <a:spcPts val="1000"/>
              </a:spcBef>
              <a:spcAft>
                <a:spcPts val="0"/>
              </a:spcAft>
              <a:buClr>
                <a:schemeClr val="accent1"/>
              </a:buClr>
              <a:buSzTx/>
              <a:buFont typeface="Arial" panose="020B0604020202020204" pitchFamily="34" charset="0"/>
              <a:buChar char="•"/>
              <a:tabLst/>
              <a:defRPr/>
            </a:pPr>
            <a:r>
              <a:rPr lang="en-US" dirty="0"/>
              <a:t>Edit Master text styles</a:t>
            </a:r>
          </a:p>
          <a:p>
            <a:pPr marL="228600" marR="0" lvl="0" indent="-228600" algn="l" defTabSz="914400" rtl="0" eaLnBrk="1" fontAlgn="auto" latinLnBrk="0" hangingPunct="1">
              <a:lnSpc>
                <a:spcPct val="90000"/>
              </a:lnSpc>
              <a:spcBef>
                <a:spcPts val="1000"/>
              </a:spcBef>
              <a:spcAft>
                <a:spcPts val="0"/>
              </a:spcAft>
              <a:buClr>
                <a:schemeClr val="accent1"/>
              </a:buClr>
              <a:buSzTx/>
              <a:buFont typeface="Arial" panose="020B0604020202020204" pitchFamily="34" charset="0"/>
              <a:buChar char="•"/>
              <a:tabLst/>
              <a:defRPr/>
            </a:pPr>
            <a:r>
              <a:rPr lang="en-US" dirty="0"/>
              <a:t>Edit Master text styles</a:t>
            </a:r>
          </a:p>
          <a:p>
            <a:pPr lvl="0"/>
            <a:endParaRPr lang="en-US" dirty="0"/>
          </a:p>
        </p:txBody>
      </p:sp>
      <p:sp>
        <p:nvSpPr>
          <p:cNvPr id="2" name="Title 1">
            <a:extLst>
              <a:ext uri="{FF2B5EF4-FFF2-40B4-BE49-F238E27FC236}">
                <a16:creationId xmlns:a16="http://schemas.microsoft.com/office/drawing/2014/main" id="{44E28C07-1522-4E88-A499-483FDE05B7A2}"/>
              </a:ext>
            </a:extLst>
          </p:cNvPr>
          <p:cNvSpPr>
            <a:spLocks noGrp="1"/>
          </p:cNvSpPr>
          <p:nvPr>
            <p:ph type="title"/>
          </p:nvPr>
        </p:nvSpPr>
        <p:spPr/>
        <p:txBody>
          <a:bodyPr/>
          <a:lstStyle/>
          <a:p>
            <a:r>
              <a:rPr lang="en-US"/>
              <a:t>Click to edit Master title style</a:t>
            </a:r>
          </a:p>
        </p:txBody>
      </p:sp>
      <p:sp>
        <p:nvSpPr>
          <p:cNvPr id="8" name="Rectangle 7">
            <a:extLst>
              <a:ext uri="{FF2B5EF4-FFF2-40B4-BE49-F238E27FC236}">
                <a16:creationId xmlns:a16="http://schemas.microsoft.com/office/drawing/2014/main" id="{BDE715F2-57D0-425F-A875-1ECAF162EF16}"/>
              </a:ext>
            </a:extLst>
          </p:cNvPr>
          <p:cNvSpPr/>
          <p:nvPr userDrawn="1"/>
        </p:nvSpPr>
        <p:spPr>
          <a:xfrm>
            <a:off x="3051745"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9" name="Rectangle 8">
            <a:extLst>
              <a:ext uri="{FF2B5EF4-FFF2-40B4-BE49-F238E27FC236}">
                <a16:creationId xmlns:a16="http://schemas.microsoft.com/office/drawing/2014/main" id="{3B74E51B-7476-4448-8BA1-6975A442E05A}"/>
              </a:ext>
            </a:extLst>
          </p:cNvPr>
          <p:cNvSpPr/>
          <p:nvPr userDrawn="1"/>
        </p:nvSpPr>
        <p:spPr>
          <a:xfrm>
            <a:off x="7490"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0" name="Rectangle 9">
            <a:extLst>
              <a:ext uri="{FF2B5EF4-FFF2-40B4-BE49-F238E27FC236}">
                <a16:creationId xmlns:a16="http://schemas.microsoft.com/office/drawing/2014/main" id="{65622F09-0B7F-4791-A9C0-E65C82B28D4C}"/>
              </a:ext>
            </a:extLst>
          </p:cNvPr>
          <p:cNvSpPr/>
          <p:nvPr userDrawn="1"/>
        </p:nvSpPr>
        <p:spPr>
          <a:xfrm>
            <a:off x="9149414"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1" name="Rectangle 10">
            <a:extLst>
              <a:ext uri="{FF2B5EF4-FFF2-40B4-BE49-F238E27FC236}">
                <a16:creationId xmlns:a16="http://schemas.microsoft.com/office/drawing/2014/main" id="{C59EDC81-847D-4D5C-BF48-51DA62795E1E}"/>
              </a:ext>
            </a:extLst>
          </p:cNvPr>
          <p:cNvSpPr/>
          <p:nvPr userDrawn="1"/>
        </p:nvSpPr>
        <p:spPr>
          <a:xfrm>
            <a:off x="6105159"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2" name="Text Placeholder 2">
            <a:extLst>
              <a:ext uri="{FF2B5EF4-FFF2-40B4-BE49-F238E27FC236}">
                <a16:creationId xmlns:a16="http://schemas.microsoft.com/office/drawing/2014/main" id="{73F2F52B-1A4A-4EEC-A012-4C696AB8ADA6}"/>
              </a:ext>
            </a:extLst>
          </p:cNvPr>
          <p:cNvSpPr>
            <a:spLocks noGrp="1"/>
          </p:cNvSpPr>
          <p:nvPr>
            <p:ph type="body" sz="quarter" idx="24"/>
          </p:nvPr>
        </p:nvSpPr>
        <p:spPr>
          <a:xfrm>
            <a:off x="368790" y="1396916"/>
            <a:ext cx="11451735" cy="379797"/>
          </a:xfrm>
        </p:spPr>
        <p:txBody>
          <a:bodyPr/>
          <a:lstStyle>
            <a:lvl1pPr algn="l">
              <a:defRPr sz="1400" b="1"/>
            </a:lvl1pPr>
          </a:lstStyle>
          <a:p>
            <a:pPr lvl="0"/>
            <a:r>
              <a:rPr lang="en-US" dirty="0"/>
              <a:t>Click to edit Master text styles</a:t>
            </a:r>
          </a:p>
        </p:txBody>
      </p:sp>
    </p:spTree>
    <p:extLst>
      <p:ext uri="{BB962C8B-B14F-4D97-AF65-F5344CB8AC3E}">
        <p14:creationId xmlns:p14="http://schemas.microsoft.com/office/powerpoint/2010/main" val="155439471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2 columns">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BB24107-BC24-45BB-AE32-32C6F8F5A332}"/>
              </a:ext>
            </a:extLst>
          </p:cNvPr>
          <p:cNvGraphicFramePr>
            <a:graphicFrameLocks noChangeAspect="1"/>
          </p:cNvGraphicFramePr>
          <p:nvPr userDrawn="1">
            <p:custDataLst>
              <p:tags r:id="rId2"/>
            </p:custDataLst>
            <p:extLst>
              <p:ext uri="{D42A27DB-BD31-4B8C-83A1-F6EECF244321}">
                <p14:modId xmlns:p14="http://schemas.microsoft.com/office/powerpoint/2010/main" val="14542411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80" name="think-cell Slide" r:id="rId4" imgW="473" imgH="474" progId="TCLayout.ActiveDocument.1">
                  <p:embed/>
                </p:oleObj>
              </mc:Choice>
              <mc:Fallback>
                <p:oleObj name="think-cell Slide" r:id="rId4" imgW="473" imgH="474" progId="TCLayout.ActiveDocument.1">
                  <p:embed/>
                  <p:pic>
                    <p:nvPicPr>
                      <p:cNvPr id="6" name="Object 5" hidden="1">
                        <a:extLst>
                          <a:ext uri="{FF2B5EF4-FFF2-40B4-BE49-F238E27FC236}">
                            <a16:creationId xmlns:a16="http://schemas.microsoft.com/office/drawing/2014/main" id="{3BB24107-BC24-45BB-AE32-32C6F8F5A33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Marcador de texto 2">
            <a:extLst>
              <a:ext uri="{FF2B5EF4-FFF2-40B4-BE49-F238E27FC236}">
                <a16:creationId xmlns:a16="http://schemas.microsoft.com/office/drawing/2014/main" id="{D717FD98-2B95-44BA-BC0C-EB1047B76BD4}"/>
              </a:ext>
            </a:extLst>
          </p:cNvPr>
          <p:cNvSpPr>
            <a:spLocks noGrp="1"/>
          </p:cNvSpPr>
          <p:nvPr>
            <p:ph type="body" idx="10" hasCustomPrompt="1"/>
          </p:nvPr>
        </p:nvSpPr>
        <p:spPr>
          <a:xfrm>
            <a:off x="368790" y="722639"/>
            <a:ext cx="11446270" cy="324000"/>
          </a:xfrm>
          <a:prstGeom prst="rect">
            <a:avLst/>
          </a:prstGeom>
        </p:spPr>
        <p:txBody>
          <a:bodyPr lIns="0" tIns="0" rIns="0" bIns="0" anchor="t"/>
          <a:lstStyle>
            <a:lvl1pPr marL="0" indent="0">
              <a:lnSpc>
                <a:spcPct val="100000"/>
              </a:lnSpc>
              <a:spcBef>
                <a:spcPts val="0"/>
              </a:spcBef>
              <a:buNone/>
              <a:defRPr sz="2000" b="0">
                <a:solidFill>
                  <a:srgbClr val="000000"/>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err="1"/>
              <a:t>Subtitle</a:t>
            </a:r>
            <a:endParaRPr lang="es-ES" dirty="0"/>
          </a:p>
        </p:txBody>
      </p:sp>
      <p:sp>
        <p:nvSpPr>
          <p:cNvPr id="3" name="Text Placeholder 2">
            <a:extLst>
              <a:ext uri="{FF2B5EF4-FFF2-40B4-BE49-F238E27FC236}">
                <a16:creationId xmlns:a16="http://schemas.microsoft.com/office/drawing/2014/main" id="{4351112F-9BAD-48C5-B608-6CC4C443BBB8}"/>
              </a:ext>
            </a:extLst>
          </p:cNvPr>
          <p:cNvSpPr>
            <a:spLocks noGrp="1"/>
          </p:cNvSpPr>
          <p:nvPr>
            <p:ph type="body" sz="quarter" idx="24"/>
          </p:nvPr>
        </p:nvSpPr>
        <p:spPr>
          <a:xfrm>
            <a:off x="368790" y="1396800"/>
            <a:ext cx="5558400" cy="4752000"/>
          </a:xfrm>
        </p:spPr>
        <p:txBody>
          <a:bodyPr/>
          <a:lstStyle>
            <a:lvl1pPr>
              <a:defRPr sz="14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B07437AF-4A44-4163-AB95-7EF6E9F7C9A8}"/>
              </a:ext>
            </a:extLst>
          </p:cNvPr>
          <p:cNvSpPr>
            <a:spLocks noGrp="1"/>
          </p:cNvSpPr>
          <p:nvPr>
            <p:ph type="body" sz="quarter" idx="25"/>
          </p:nvPr>
        </p:nvSpPr>
        <p:spPr>
          <a:xfrm>
            <a:off x="6258389" y="1396800"/>
            <a:ext cx="5558400" cy="4752000"/>
          </a:xfrm>
        </p:spPr>
        <p:txBody>
          <a:bodyPr/>
          <a:lstStyle>
            <a:lvl1pPr>
              <a:defRPr sz="14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a:extLst>
              <a:ext uri="{FF2B5EF4-FFF2-40B4-BE49-F238E27FC236}">
                <a16:creationId xmlns:a16="http://schemas.microsoft.com/office/drawing/2014/main" id="{EB5A6703-8342-4D3E-AD5E-A4FDDC5E41B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74507502"/>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 3 columns">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D07FEBE3-747B-4665-A055-556C652FA759}"/>
              </a:ext>
            </a:extLst>
          </p:cNvPr>
          <p:cNvGraphicFramePr>
            <a:graphicFrameLocks noChangeAspect="1"/>
          </p:cNvGraphicFramePr>
          <p:nvPr userDrawn="1">
            <p:custDataLst>
              <p:tags r:id="rId2"/>
            </p:custDataLst>
            <p:extLst>
              <p:ext uri="{D42A27DB-BD31-4B8C-83A1-F6EECF244321}">
                <p14:modId xmlns:p14="http://schemas.microsoft.com/office/powerpoint/2010/main" val="31872953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4" name="think-cell Slide" r:id="rId4" imgW="473" imgH="474" progId="TCLayout.ActiveDocument.1">
                  <p:embed/>
                </p:oleObj>
              </mc:Choice>
              <mc:Fallback>
                <p:oleObj name="think-cell Slide" r:id="rId4" imgW="473" imgH="474" progId="TCLayout.ActiveDocument.1">
                  <p:embed/>
                  <p:pic>
                    <p:nvPicPr>
                      <p:cNvPr id="15" name="Object 14" hidden="1">
                        <a:extLst>
                          <a:ext uri="{FF2B5EF4-FFF2-40B4-BE49-F238E27FC236}">
                            <a16:creationId xmlns:a16="http://schemas.microsoft.com/office/drawing/2014/main" id="{D07FEBE3-747B-4665-A055-556C652FA7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Marcador de texto 2">
            <a:extLst>
              <a:ext uri="{FF2B5EF4-FFF2-40B4-BE49-F238E27FC236}">
                <a16:creationId xmlns:a16="http://schemas.microsoft.com/office/drawing/2014/main" id="{D717FD98-2B95-44BA-BC0C-EB1047B76BD4}"/>
              </a:ext>
            </a:extLst>
          </p:cNvPr>
          <p:cNvSpPr>
            <a:spLocks noGrp="1"/>
          </p:cNvSpPr>
          <p:nvPr>
            <p:ph type="body" idx="10" hasCustomPrompt="1"/>
          </p:nvPr>
        </p:nvSpPr>
        <p:spPr>
          <a:xfrm>
            <a:off x="368790" y="722639"/>
            <a:ext cx="11446270" cy="324000"/>
          </a:xfrm>
          <a:prstGeom prst="rect">
            <a:avLst/>
          </a:prstGeom>
        </p:spPr>
        <p:txBody>
          <a:bodyPr lIns="0" tIns="0" rIns="0" bIns="0" anchor="t"/>
          <a:lstStyle>
            <a:lvl1pPr marL="0" indent="0">
              <a:lnSpc>
                <a:spcPct val="100000"/>
              </a:lnSpc>
              <a:spcBef>
                <a:spcPts val="0"/>
              </a:spcBef>
              <a:buNone/>
              <a:defRPr sz="2000" b="0">
                <a:solidFill>
                  <a:srgbClr val="000000"/>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err="1"/>
              <a:t>Subtitle</a:t>
            </a:r>
            <a:endParaRPr lang="es-ES" dirty="0"/>
          </a:p>
        </p:txBody>
      </p:sp>
      <p:sp>
        <p:nvSpPr>
          <p:cNvPr id="3" name="Text Placeholder 2">
            <a:extLst>
              <a:ext uri="{FF2B5EF4-FFF2-40B4-BE49-F238E27FC236}">
                <a16:creationId xmlns:a16="http://schemas.microsoft.com/office/drawing/2014/main" id="{4351112F-9BAD-48C5-B608-6CC4C443BBB8}"/>
              </a:ext>
            </a:extLst>
          </p:cNvPr>
          <p:cNvSpPr>
            <a:spLocks noGrp="1"/>
          </p:cNvSpPr>
          <p:nvPr>
            <p:ph type="body" sz="quarter" idx="24"/>
          </p:nvPr>
        </p:nvSpPr>
        <p:spPr>
          <a:xfrm>
            <a:off x="368790" y="1396800"/>
            <a:ext cx="3528000" cy="4752000"/>
          </a:xfrm>
        </p:spPr>
        <p:txBody>
          <a:bodyPr/>
          <a:lstStyle>
            <a:lvl1pPr>
              <a:defRPr sz="14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B07437AF-4A44-4163-AB95-7EF6E9F7C9A8}"/>
              </a:ext>
            </a:extLst>
          </p:cNvPr>
          <p:cNvSpPr>
            <a:spLocks noGrp="1"/>
          </p:cNvSpPr>
          <p:nvPr>
            <p:ph type="body" sz="quarter" idx="25"/>
          </p:nvPr>
        </p:nvSpPr>
        <p:spPr>
          <a:xfrm>
            <a:off x="4327995" y="1396800"/>
            <a:ext cx="3528000" cy="4752000"/>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a:extLst>
              <a:ext uri="{FF2B5EF4-FFF2-40B4-BE49-F238E27FC236}">
                <a16:creationId xmlns:a16="http://schemas.microsoft.com/office/drawing/2014/main" id="{DA968F78-FD81-46DC-A3E5-E6D22032C665}"/>
              </a:ext>
            </a:extLst>
          </p:cNvPr>
          <p:cNvSpPr>
            <a:spLocks noGrp="1"/>
          </p:cNvSpPr>
          <p:nvPr>
            <p:ph type="body" sz="quarter" idx="26"/>
          </p:nvPr>
        </p:nvSpPr>
        <p:spPr>
          <a:xfrm>
            <a:off x="8287200" y="1396800"/>
            <a:ext cx="3528000" cy="4752000"/>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7">
            <a:extLst>
              <a:ext uri="{FF2B5EF4-FFF2-40B4-BE49-F238E27FC236}">
                <a16:creationId xmlns:a16="http://schemas.microsoft.com/office/drawing/2014/main" id="{56CC9CF0-06ED-404C-9617-D1C524E2D79E}"/>
              </a:ext>
            </a:extLst>
          </p:cNvPr>
          <p:cNvSpPr>
            <a:spLocks noGrp="1"/>
          </p:cNvSpPr>
          <p:nvPr>
            <p:ph type="title"/>
          </p:nvPr>
        </p:nvSpPr>
        <p:spPr/>
        <p:txBody>
          <a:bodyPr/>
          <a:lstStyle/>
          <a:p>
            <a:r>
              <a:rPr lang="en-US"/>
              <a:t>Click to edit Master title style</a:t>
            </a:r>
          </a:p>
        </p:txBody>
      </p:sp>
      <p:cxnSp>
        <p:nvCxnSpPr>
          <p:cNvPr id="13" name="Straight Connector 15">
            <a:extLst>
              <a:ext uri="{FF2B5EF4-FFF2-40B4-BE49-F238E27FC236}">
                <a16:creationId xmlns:a16="http://schemas.microsoft.com/office/drawing/2014/main" id="{FD89F59F-88BF-4FA3-B70A-AC7165A9585F}"/>
              </a:ext>
            </a:extLst>
          </p:cNvPr>
          <p:cNvCxnSpPr>
            <a:cxnSpLocks/>
          </p:cNvCxnSpPr>
          <p:nvPr userDrawn="1"/>
        </p:nvCxnSpPr>
        <p:spPr>
          <a:xfrm>
            <a:off x="4112392" y="1463040"/>
            <a:ext cx="0" cy="4672321"/>
          </a:xfrm>
          <a:prstGeom prst="line">
            <a:avLst/>
          </a:prstGeom>
          <a:ln>
            <a:solidFill>
              <a:srgbClr val="DA281C"/>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364FE16-2E21-461E-8CC5-237E08C8DF22}"/>
              </a:ext>
            </a:extLst>
          </p:cNvPr>
          <p:cNvCxnSpPr>
            <a:cxnSpLocks/>
          </p:cNvCxnSpPr>
          <p:nvPr userDrawn="1"/>
        </p:nvCxnSpPr>
        <p:spPr>
          <a:xfrm>
            <a:off x="8071598" y="1463040"/>
            <a:ext cx="0" cy="4672321"/>
          </a:xfrm>
          <a:prstGeom prst="line">
            <a:avLst/>
          </a:prstGeom>
          <a:ln>
            <a:solidFill>
              <a:srgbClr val="DA281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37500542"/>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ullet - 3 columns">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D07FEBE3-747B-4665-A055-556C652FA759}"/>
              </a:ext>
            </a:extLst>
          </p:cNvPr>
          <p:cNvGraphicFramePr>
            <a:graphicFrameLocks noChangeAspect="1"/>
          </p:cNvGraphicFramePr>
          <p:nvPr userDrawn="1">
            <p:custDataLst>
              <p:tags r:id="rId2"/>
            </p:custDataLst>
            <p:extLst>
              <p:ext uri="{D42A27DB-BD31-4B8C-83A1-F6EECF244321}">
                <p14:modId xmlns:p14="http://schemas.microsoft.com/office/powerpoint/2010/main" val="6667771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8" name="think-cell Slide" r:id="rId4" imgW="473" imgH="474" progId="TCLayout.ActiveDocument.1">
                  <p:embed/>
                </p:oleObj>
              </mc:Choice>
              <mc:Fallback>
                <p:oleObj name="think-cell Slide" r:id="rId4" imgW="473" imgH="474" progId="TCLayout.ActiveDocument.1">
                  <p:embed/>
                  <p:pic>
                    <p:nvPicPr>
                      <p:cNvPr id="15" name="Object 14" hidden="1">
                        <a:extLst>
                          <a:ext uri="{FF2B5EF4-FFF2-40B4-BE49-F238E27FC236}">
                            <a16:creationId xmlns:a16="http://schemas.microsoft.com/office/drawing/2014/main" id="{D07FEBE3-747B-4665-A055-556C652FA7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Marcador de texto 2">
            <a:extLst>
              <a:ext uri="{FF2B5EF4-FFF2-40B4-BE49-F238E27FC236}">
                <a16:creationId xmlns:a16="http://schemas.microsoft.com/office/drawing/2014/main" id="{D717FD98-2B95-44BA-BC0C-EB1047B76BD4}"/>
              </a:ext>
            </a:extLst>
          </p:cNvPr>
          <p:cNvSpPr>
            <a:spLocks noGrp="1"/>
          </p:cNvSpPr>
          <p:nvPr>
            <p:ph type="body" idx="10" hasCustomPrompt="1"/>
          </p:nvPr>
        </p:nvSpPr>
        <p:spPr>
          <a:xfrm>
            <a:off x="368790" y="722639"/>
            <a:ext cx="11446270" cy="324000"/>
          </a:xfrm>
          <a:prstGeom prst="rect">
            <a:avLst/>
          </a:prstGeom>
        </p:spPr>
        <p:txBody>
          <a:bodyPr lIns="0" tIns="0" rIns="0" bIns="0" anchor="t"/>
          <a:lstStyle>
            <a:lvl1pPr marL="0" indent="0">
              <a:lnSpc>
                <a:spcPct val="100000"/>
              </a:lnSpc>
              <a:spcBef>
                <a:spcPts val="0"/>
              </a:spcBef>
              <a:buNone/>
              <a:defRPr sz="2000" b="0">
                <a:solidFill>
                  <a:srgbClr val="000000"/>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err="1"/>
              <a:t>Subtitle</a:t>
            </a:r>
            <a:endParaRPr lang="es-ES" dirty="0"/>
          </a:p>
        </p:txBody>
      </p:sp>
      <p:sp>
        <p:nvSpPr>
          <p:cNvPr id="3" name="Text Placeholder 2">
            <a:extLst>
              <a:ext uri="{FF2B5EF4-FFF2-40B4-BE49-F238E27FC236}">
                <a16:creationId xmlns:a16="http://schemas.microsoft.com/office/drawing/2014/main" id="{4351112F-9BAD-48C5-B608-6CC4C443BBB8}"/>
              </a:ext>
            </a:extLst>
          </p:cNvPr>
          <p:cNvSpPr>
            <a:spLocks noGrp="1"/>
          </p:cNvSpPr>
          <p:nvPr>
            <p:ph type="body" sz="quarter" idx="24"/>
          </p:nvPr>
        </p:nvSpPr>
        <p:spPr>
          <a:xfrm>
            <a:off x="368790" y="2034540"/>
            <a:ext cx="3352313" cy="324000"/>
          </a:xfrm>
        </p:spPr>
        <p:txBody>
          <a:bodyPr/>
          <a:lstStyle>
            <a:lvl1pPr algn="ctr">
              <a:defRPr sz="1400" b="1"/>
            </a:lvl1pPr>
          </a:lstStyle>
          <a:p>
            <a:pPr lvl="0"/>
            <a:r>
              <a:rPr lang="en-US" dirty="0"/>
              <a:t>Click to edit Master text styles</a:t>
            </a:r>
          </a:p>
        </p:txBody>
      </p:sp>
      <p:sp>
        <p:nvSpPr>
          <p:cNvPr id="5" name="Text Placeholder 4">
            <a:extLst>
              <a:ext uri="{FF2B5EF4-FFF2-40B4-BE49-F238E27FC236}">
                <a16:creationId xmlns:a16="http://schemas.microsoft.com/office/drawing/2014/main" id="{B07437AF-4A44-4163-AB95-7EF6E9F7C9A8}"/>
              </a:ext>
            </a:extLst>
          </p:cNvPr>
          <p:cNvSpPr>
            <a:spLocks noGrp="1"/>
          </p:cNvSpPr>
          <p:nvPr>
            <p:ph type="body" sz="quarter" idx="25"/>
          </p:nvPr>
        </p:nvSpPr>
        <p:spPr>
          <a:xfrm>
            <a:off x="4405315" y="2034540"/>
            <a:ext cx="3384550" cy="324000"/>
          </a:xfrm>
        </p:spPr>
        <p:txBody>
          <a:bodyPr/>
          <a:lstStyle>
            <a:lvl1pPr algn="ctr">
              <a:defRPr sz="1400" b="1"/>
            </a:lvl1pPr>
          </a:lstStyle>
          <a:p>
            <a:pPr lvl="0"/>
            <a:r>
              <a:rPr lang="en-US" dirty="0"/>
              <a:t>Click to edit Master text styles</a:t>
            </a:r>
          </a:p>
        </p:txBody>
      </p:sp>
      <p:sp>
        <p:nvSpPr>
          <p:cNvPr id="7" name="Text Placeholder 6">
            <a:extLst>
              <a:ext uri="{FF2B5EF4-FFF2-40B4-BE49-F238E27FC236}">
                <a16:creationId xmlns:a16="http://schemas.microsoft.com/office/drawing/2014/main" id="{DA968F78-FD81-46DC-A3E5-E6D22032C665}"/>
              </a:ext>
            </a:extLst>
          </p:cNvPr>
          <p:cNvSpPr>
            <a:spLocks noGrp="1"/>
          </p:cNvSpPr>
          <p:nvPr>
            <p:ph type="body" sz="quarter" idx="26"/>
          </p:nvPr>
        </p:nvSpPr>
        <p:spPr>
          <a:xfrm>
            <a:off x="8430650" y="2034540"/>
            <a:ext cx="3384549" cy="324000"/>
          </a:xfrm>
        </p:spPr>
        <p:txBody>
          <a:bodyPr/>
          <a:lstStyle>
            <a:lvl1pPr algn="ctr">
              <a:defRPr sz="1400" b="1"/>
            </a:lvl1pPr>
          </a:lstStyle>
          <a:p>
            <a:pPr lvl="0"/>
            <a:r>
              <a:rPr lang="en-US" dirty="0"/>
              <a:t>Click to edit Master text styles</a:t>
            </a:r>
          </a:p>
        </p:txBody>
      </p:sp>
      <p:sp>
        <p:nvSpPr>
          <p:cNvPr id="8" name="Title 7">
            <a:extLst>
              <a:ext uri="{FF2B5EF4-FFF2-40B4-BE49-F238E27FC236}">
                <a16:creationId xmlns:a16="http://schemas.microsoft.com/office/drawing/2014/main" id="{56CC9CF0-06ED-404C-9617-D1C524E2D79E}"/>
              </a:ext>
            </a:extLst>
          </p:cNvPr>
          <p:cNvSpPr>
            <a:spLocks noGrp="1"/>
          </p:cNvSpPr>
          <p:nvPr>
            <p:ph type="title"/>
          </p:nvPr>
        </p:nvSpPr>
        <p:spPr/>
        <p:txBody>
          <a:bodyPr/>
          <a:lstStyle/>
          <a:p>
            <a:r>
              <a:rPr lang="en-US"/>
              <a:t>Click to edit Master title style</a:t>
            </a:r>
          </a:p>
        </p:txBody>
      </p:sp>
      <p:sp>
        <p:nvSpPr>
          <p:cNvPr id="10" name="Text Placeholder 2">
            <a:extLst>
              <a:ext uri="{FF2B5EF4-FFF2-40B4-BE49-F238E27FC236}">
                <a16:creationId xmlns:a16="http://schemas.microsoft.com/office/drawing/2014/main" id="{394A7114-B3F6-4260-81AB-216701F155F5}"/>
              </a:ext>
            </a:extLst>
          </p:cNvPr>
          <p:cNvSpPr>
            <a:spLocks noGrp="1"/>
          </p:cNvSpPr>
          <p:nvPr>
            <p:ph type="body" sz="quarter" idx="27"/>
          </p:nvPr>
        </p:nvSpPr>
        <p:spPr>
          <a:xfrm>
            <a:off x="367200" y="4302601"/>
            <a:ext cx="3352313" cy="324000"/>
          </a:xfrm>
        </p:spPr>
        <p:txBody>
          <a:bodyPr/>
          <a:lstStyle>
            <a:lvl1pPr algn="ctr">
              <a:defRPr sz="1400" b="1"/>
            </a:lvl1pPr>
          </a:lstStyle>
          <a:p>
            <a:pPr lvl="0"/>
            <a:r>
              <a:rPr lang="en-US" dirty="0"/>
              <a:t>Click to edit Master text styles</a:t>
            </a:r>
          </a:p>
        </p:txBody>
      </p:sp>
      <p:sp>
        <p:nvSpPr>
          <p:cNvPr id="11" name="Text Placeholder 4">
            <a:extLst>
              <a:ext uri="{FF2B5EF4-FFF2-40B4-BE49-F238E27FC236}">
                <a16:creationId xmlns:a16="http://schemas.microsoft.com/office/drawing/2014/main" id="{74A529B1-D81B-4DB1-8A08-6F6434DDBDB2}"/>
              </a:ext>
            </a:extLst>
          </p:cNvPr>
          <p:cNvSpPr>
            <a:spLocks noGrp="1"/>
          </p:cNvSpPr>
          <p:nvPr>
            <p:ph type="body" sz="quarter" idx="28"/>
          </p:nvPr>
        </p:nvSpPr>
        <p:spPr>
          <a:xfrm>
            <a:off x="4403725" y="4302601"/>
            <a:ext cx="3384550" cy="324000"/>
          </a:xfrm>
        </p:spPr>
        <p:txBody>
          <a:bodyPr/>
          <a:lstStyle>
            <a:lvl1pPr algn="ctr">
              <a:defRPr sz="1400" b="1"/>
            </a:lvl1pPr>
          </a:lstStyle>
          <a:p>
            <a:pPr lvl="0"/>
            <a:r>
              <a:rPr lang="en-US" dirty="0"/>
              <a:t>Click to edit Master text styles</a:t>
            </a:r>
          </a:p>
        </p:txBody>
      </p:sp>
      <p:sp>
        <p:nvSpPr>
          <p:cNvPr id="14" name="Text Placeholder 6">
            <a:extLst>
              <a:ext uri="{FF2B5EF4-FFF2-40B4-BE49-F238E27FC236}">
                <a16:creationId xmlns:a16="http://schemas.microsoft.com/office/drawing/2014/main" id="{53D3D3DF-31AB-4A12-B7EB-E43F516F698A}"/>
              </a:ext>
            </a:extLst>
          </p:cNvPr>
          <p:cNvSpPr>
            <a:spLocks noGrp="1"/>
          </p:cNvSpPr>
          <p:nvPr>
            <p:ph type="body" sz="quarter" idx="29"/>
          </p:nvPr>
        </p:nvSpPr>
        <p:spPr>
          <a:xfrm>
            <a:off x="8429060" y="4302601"/>
            <a:ext cx="3384549" cy="324000"/>
          </a:xfrm>
        </p:spPr>
        <p:txBody>
          <a:bodyPr/>
          <a:lstStyle>
            <a:lvl1pPr algn="ctr">
              <a:defRPr sz="1400" b="1"/>
            </a:lvl1pPr>
          </a:lstStyle>
          <a:p>
            <a:pPr lvl="0"/>
            <a:r>
              <a:rPr lang="en-US" dirty="0"/>
              <a:t>Click to edit Master text styles</a:t>
            </a:r>
          </a:p>
        </p:txBody>
      </p:sp>
      <p:sp>
        <p:nvSpPr>
          <p:cNvPr id="13" name="Text Placeholder 2">
            <a:extLst>
              <a:ext uri="{FF2B5EF4-FFF2-40B4-BE49-F238E27FC236}">
                <a16:creationId xmlns:a16="http://schemas.microsoft.com/office/drawing/2014/main" id="{D53D0B6C-40C1-4650-90D3-7F21E67B3365}"/>
              </a:ext>
            </a:extLst>
          </p:cNvPr>
          <p:cNvSpPr>
            <a:spLocks noGrp="1"/>
          </p:cNvSpPr>
          <p:nvPr>
            <p:ph type="body" sz="quarter" idx="30"/>
          </p:nvPr>
        </p:nvSpPr>
        <p:spPr>
          <a:xfrm>
            <a:off x="367200" y="2384261"/>
            <a:ext cx="3352313" cy="324000"/>
          </a:xfrm>
        </p:spPr>
        <p:txBody>
          <a:bodyPr/>
          <a:lstStyle>
            <a:lvl1pPr algn="ctr">
              <a:defRPr sz="1400" b="0"/>
            </a:lvl1pPr>
          </a:lstStyle>
          <a:p>
            <a:pPr lvl="0"/>
            <a:r>
              <a:rPr lang="en-US" dirty="0"/>
              <a:t>Click to edit Master text styles</a:t>
            </a:r>
          </a:p>
        </p:txBody>
      </p:sp>
      <p:sp>
        <p:nvSpPr>
          <p:cNvPr id="16" name="Text Placeholder 4">
            <a:extLst>
              <a:ext uri="{FF2B5EF4-FFF2-40B4-BE49-F238E27FC236}">
                <a16:creationId xmlns:a16="http://schemas.microsoft.com/office/drawing/2014/main" id="{71D6E23D-172A-4F85-9057-2BF9F656CE05}"/>
              </a:ext>
            </a:extLst>
          </p:cNvPr>
          <p:cNvSpPr>
            <a:spLocks noGrp="1"/>
          </p:cNvSpPr>
          <p:nvPr>
            <p:ph type="body" sz="quarter" idx="31"/>
          </p:nvPr>
        </p:nvSpPr>
        <p:spPr>
          <a:xfrm>
            <a:off x="4403725" y="2384261"/>
            <a:ext cx="3384550" cy="324000"/>
          </a:xfrm>
        </p:spPr>
        <p:txBody>
          <a:bodyPr/>
          <a:lstStyle>
            <a:lvl1pPr algn="ctr">
              <a:defRPr sz="1400" b="0"/>
            </a:lvl1pPr>
          </a:lstStyle>
          <a:p>
            <a:pPr lvl="0"/>
            <a:r>
              <a:rPr lang="en-US" dirty="0"/>
              <a:t>Click to edit Master text styles</a:t>
            </a:r>
          </a:p>
        </p:txBody>
      </p:sp>
      <p:sp>
        <p:nvSpPr>
          <p:cNvPr id="17" name="Text Placeholder 6">
            <a:extLst>
              <a:ext uri="{FF2B5EF4-FFF2-40B4-BE49-F238E27FC236}">
                <a16:creationId xmlns:a16="http://schemas.microsoft.com/office/drawing/2014/main" id="{8A280D74-4AF6-4540-823C-9C57F781EC91}"/>
              </a:ext>
            </a:extLst>
          </p:cNvPr>
          <p:cNvSpPr>
            <a:spLocks noGrp="1"/>
          </p:cNvSpPr>
          <p:nvPr>
            <p:ph type="body" sz="quarter" idx="32"/>
          </p:nvPr>
        </p:nvSpPr>
        <p:spPr>
          <a:xfrm>
            <a:off x="8429060" y="2384261"/>
            <a:ext cx="3384549" cy="324000"/>
          </a:xfrm>
        </p:spPr>
        <p:txBody>
          <a:bodyPr/>
          <a:lstStyle>
            <a:lvl1pPr algn="ctr">
              <a:defRPr sz="1400" b="0"/>
            </a:lvl1pPr>
          </a:lstStyle>
          <a:p>
            <a:pPr lvl="0"/>
            <a:r>
              <a:rPr lang="en-US" dirty="0"/>
              <a:t>Click to edit Master text styles</a:t>
            </a:r>
          </a:p>
        </p:txBody>
      </p:sp>
      <p:sp>
        <p:nvSpPr>
          <p:cNvPr id="18" name="Text Placeholder 2">
            <a:extLst>
              <a:ext uri="{FF2B5EF4-FFF2-40B4-BE49-F238E27FC236}">
                <a16:creationId xmlns:a16="http://schemas.microsoft.com/office/drawing/2014/main" id="{9105582E-0B60-4316-9F79-49D82150FBD8}"/>
              </a:ext>
            </a:extLst>
          </p:cNvPr>
          <p:cNvSpPr>
            <a:spLocks noGrp="1"/>
          </p:cNvSpPr>
          <p:nvPr>
            <p:ph type="body" sz="quarter" idx="33"/>
          </p:nvPr>
        </p:nvSpPr>
        <p:spPr>
          <a:xfrm>
            <a:off x="365610" y="4652322"/>
            <a:ext cx="3352313" cy="324000"/>
          </a:xfrm>
        </p:spPr>
        <p:txBody>
          <a:bodyPr/>
          <a:lstStyle>
            <a:lvl1pPr algn="ctr">
              <a:defRPr sz="1400" b="0"/>
            </a:lvl1pPr>
          </a:lstStyle>
          <a:p>
            <a:pPr lvl="0"/>
            <a:r>
              <a:rPr lang="en-US" dirty="0"/>
              <a:t>Click to edit Master text styles</a:t>
            </a:r>
          </a:p>
        </p:txBody>
      </p:sp>
      <p:sp>
        <p:nvSpPr>
          <p:cNvPr id="19" name="Text Placeholder 4">
            <a:extLst>
              <a:ext uri="{FF2B5EF4-FFF2-40B4-BE49-F238E27FC236}">
                <a16:creationId xmlns:a16="http://schemas.microsoft.com/office/drawing/2014/main" id="{0213C335-EBE2-46B0-949B-32EA4297CCA5}"/>
              </a:ext>
            </a:extLst>
          </p:cNvPr>
          <p:cNvSpPr>
            <a:spLocks noGrp="1"/>
          </p:cNvSpPr>
          <p:nvPr>
            <p:ph type="body" sz="quarter" idx="34"/>
          </p:nvPr>
        </p:nvSpPr>
        <p:spPr>
          <a:xfrm>
            <a:off x="4402135" y="4652322"/>
            <a:ext cx="3384550" cy="324000"/>
          </a:xfrm>
        </p:spPr>
        <p:txBody>
          <a:bodyPr/>
          <a:lstStyle>
            <a:lvl1pPr algn="ctr">
              <a:defRPr sz="1400" b="0"/>
            </a:lvl1pPr>
          </a:lstStyle>
          <a:p>
            <a:pPr lvl="0"/>
            <a:r>
              <a:rPr lang="en-US" dirty="0"/>
              <a:t>Click to edit Master text styles</a:t>
            </a:r>
          </a:p>
        </p:txBody>
      </p:sp>
      <p:sp>
        <p:nvSpPr>
          <p:cNvPr id="20" name="Text Placeholder 6">
            <a:extLst>
              <a:ext uri="{FF2B5EF4-FFF2-40B4-BE49-F238E27FC236}">
                <a16:creationId xmlns:a16="http://schemas.microsoft.com/office/drawing/2014/main" id="{626DAC52-DAA8-4D0D-9EDB-C3A10110C58C}"/>
              </a:ext>
            </a:extLst>
          </p:cNvPr>
          <p:cNvSpPr>
            <a:spLocks noGrp="1"/>
          </p:cNvSpPr>
          <p:nvPr>
            <p:ph type="body" sz="quarter" idx="35"/>
          </p:nvPr>
        </p:nvSpPr>
        <p:spPr>
          <a:xfrm>
            <a:off x="8427470" y="4652322"/>
            <a:ext cx="3384549" cy="324000"/>
          </a:xfrm>
        </p:spPr>
        <p:txBody>
          <a:bodyPr/>
          <a:lstStyle>
            <a:lvl1pPr algn="ctr">
              <a:defRPr sz="1400" b="0"/>
            </a:lvl1pPr>
          </a:lstStyle>
          <a:p>
            <a:pPr lvl="0"/>
            <a:r>
              <a:rPr lang="en-US" dirty="0"/>
              <a:t>Click to edit Master text styles</a:t>
            </a:r>
          </a:p>
        </p:txBody>
      </p:sp>
    </p:spTree>
    <p:extLst>
      <p:ext uri="{BB962C8B-B14F-4D97-AF65-F5344CB8AC3E}">
        <p14:creationId xmlns:p14="http://schemas.microsoft.com/office/powerpoint/2010/main" val="1593892022"/>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 3 columns + number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E86A160-91DB-4ED9-8E2E-A7237D94B74B}"/>
              </a:ext>
            </a:extLst>
          </p:cNvPr>
          <p:cNvGraphicFramePr>
            <a:graphicFrameLocks noChangeAspect="1"/>
          </p:cNvGraphicFramePr>
          <p:nvPr userDrawn="1">
            <p:custDataLst>
              <p:tags r:id="rId2"/>
            </p:custDataLst>
            <p:extLst>
              <p:ext uri="{D42A27DB-BD31-4B8C-83A1-F6EECF244321}">
                <p14:modId xmlns:p14="http://schemas.microsoft.com/office/powerpoint/2010/main" val="37318262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2" name="think-cell Slide" r:id="rId4" imgW="473" imgH="474" progId="TCLayout.ActiveDocument.1">
                  <p:embed/>
                </p:oleObj>
              </mc:Choice>
              <mc:Fallback>
                <p:oleObj name="think-cell Slide" r:id="rId4" imgW="473" imgH="474" progId="TCLayout.ActiveDocument.1">
                  <p:embed/>
                  <p:pic>
                    <p:nvPicPr>
                      <p:cNvPr id="4" name="Object 3" hidden="1">
                        <a:extLst>
                          <a:ext uri="{FF2B5EF4-FFF2-40B4-BE49-F238E27FC236}">
                            <a16:creationId xmlns:a16="http://schemas.microsoft.com/office/drawing/2014/main" id="{3E86A160-91DB-4ED9-8E2E-A7237D94B74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ext Placeholder 12" descr="Body text will be presented like this">
            <a:extLst>
              <a:ext uri="{FF2B5EF4-FFF2-40B4-BE49-F238E27FC236}">
                <a16:creationId xmlns:a16="http://schemas.microsoft.com/office/drawing/2014/main" id="{222F074C-9474-1441-92BA-E96D35681FC8}"/>
              </a:ext>
            </a:extLst>
          </p:cNvPr>
          <p:cNvSpPr>
            <a:spLocks noGrp="1"/>
          </p:cNvSpPr>
          <p:nvPr>
            <p:ph type="body" sz="quarter" idx="14" hasCustomPrompt="1"/>
          </p:nvPr>
        </p:nvSpPr>
        <p:spPr>
          <a:xfrm>
            <a:off x="368789" y="2944799"/>
            <a:ext cx="3528000" cy="3204000"/>
          </a:xfrm>
          <a:prstGeom prst="rect">
            <a:avLst/>
          </a:prstGeom>
        </p:spPr>
        <p:txBody>
          <a:bodyPr wrap="square" lIns="0" tIns="0" rIns="0" bIns="0"/>
          <a:lstStyle>
            <a:lvl1pPr marL="0" indent="0">
              <a:lnSpc>
                <a:spcPct val="120000"/>
              </a:lnSpc>
              <a:spcBef>
                <a:spcPts val="0"/>
              </a:spcBef>
              <a:buNone/>
              <a:defRPr sz="1400" b="0">
                <a:latin typeface="+mn-lt"/>
              </a:defRPr>
            </a:lvl1pPr>
            <a:lvl2pPr marL="0" indent="0">
              <a:lnSpc>
                <a:spcPct val="120000"/>
              </a:lnSpc>
              <a:defRPr sz="1200"/>
            </a:lvl2pPr>
            <a:lvl3pPr>
              <a:defRPr sz="1600"/>
            </a:lvl3pPr>
            <a:lvl4pPr>
              <a:defRPr sz="1600"/>
            </a:lvl4pPr>
            <a:lvl5pPr>
              <a:defRPr sz="1600"/>
            </a:lvl5pPr>
          </a:lstStyle>
          <a:p>
            <a:pPr lvl="0"/>
            <a:r>
              <a:rPr lang="en-US" dirty="0"/>
              <a:t>Click to edit Master text styles</a:t>
            </a:r>
          </a:p>
        </p:txBody>
      </p:sp>
      <p:sp>
        <p:nvSpPr>
          <p:cNvPr id="18" name="Text Placeholder 8">
            <a:extLst>
              <a:ext uri="{FF2B5EF4-FFF2-40B4-BE49-F238E27FC236}">
                <a16:creationId xmlns:a16="http://schemas.microsoft.com/office/drawing/2014/main" id="{3A4609AB-7FB1-C44E-A15C-608F2716BFBF}"/>
              </a:ext>
            </a:extLst>
          </p:cNvPr>
          <p:cNvSpPr>
            <a:spLocks noGrp="1"/>
          </p:cNvSpPr>
          <p:nvPr>
            <p:ph type="body" sz="quarter" idx="24" hasCustomPrompt="1"/>
          </p:nvPr>
        </p:nvSpPr>
        <p:spPr>
          <a:xfrm>
            <a:off x="368789" y="2196000"/>
            <a:ext cx="3528000" cy="576000"/>
          </a:xfrm>
          <a:prstGeom prst="rect">
            <a:avLst/>
          </a:prstGeom>
        </p:spPr>
        <p:txBody>
          <a:bodyPr lIns="0" tIns="0" rIns="0" bIns="0">
            <a:noAutofit/>
          </a:bodyPr>
          <a:lstStyle>
            <a:lvl1pPr marL="0" indent="0">
              <a:lnSpc>
                <a:spcPct val="100000"/>
              </a:lnSpc>
              <a:spcBef>
                <a:spcPts val="0"/>
              </a:spcBef>
              <a:spcAft>
                <a:spcPts val="0"/>
              </a:spcAft>
              <a:buNone/>
              <a:defRPr sz="1600" b="1" i="0">
                <a:solidFill>
                  <a:schemeClr val="accent1"/>
                </a:solidFill>
                <a:latin typeface="+mj-lt"/>
              </a:defRPr>
            </a:lvl1pPr>
            <a:lvl2pPr indent="0">
              <a:lnSpc>
                <a:spcPct val="110000"/>
              </a:lnSpc>
              <a:spcBef>
                <a:spcPts val="0"/>
              </a:spcBef>
              <a:spcAft>
                <a:spcPts val="0"/>
              </a:spcAft>
              <a:buNone/>
              <a:defRPr sz="1200">
                <a:solidFill>
                  <a:schemeClr val="bg1">
                    <a:lumMod val="75000"/>
                  </a:schemeClr>
                </a:solidFill>
              </a:defRPr>
            </a:lvl2pPr>
            <a:lvl3pPr>
              <a:lnSpc>
                <a:spcPct val="100000"/>
              </a:lnSpc>
              <a:spcBef>
                <a:spcPts val="600"/>
              </a:spcBef>
              <a:spcAft>
                <a:spcPts val="0"/>
              </a:spcAft>
              <a:defRPr sz="1200">
                <a:solidFill>
                  <a:schemeClr val="bg1">
                    <a:lumMod val="75000"/>
                  </a:schemeClr>
                </a:solidFill>
              </a:defRPr>
            </a:lvl3pPr>
            <a:lvl4pPr>
              <a:lnSpc>
                <a:spcPct val="100000"/>
              </a:lnSpc>
              <a:spcBef>
                <a:spcPts val="600"/>
              </a:spcBef>
              <a:spcAft>
                <a:spcPts val="0"/>
              </a:spcAft>
              <a:defRPr sz="1200">
                <a:solidFill>
                  <a:schemeClr val="bg1">
                    <a:lumMod val="75000"/>
                  </a:schemeClr>
                </a:solidFill>
              </a:defRPr>
            </a:lvl4pPr>
            <a:lvl5pPr>
              <a:lnSpc>
                <a:spcPct val="100000"/>
              </a:lnSpc>
              <a:spcBef>
                <a:spcPts val="600"/>
              </a:spcBef>
              <a:spcAft>
                <a:spcPts val="0"/>
              </a:spcAft>
              <a:defRPr sz="1200">
                <a:solidFill>
                  <a:schemeClr val="bg1">
                    <a:lumMod val="75000"/>
                  </a:schemeClr>
                </a:solidFill>
              </a:defRPr>
            </a:lvl5pPr>
          </a:lstStyle>
          <a:p>
            <a:pPr lvl="0"/>
            <a:r>
              <a:rPr lang="en-US" dirty="0"/>
              <a:t>Click to edit Master text styles</a:t>
            </a:r>
          </a:p>
        </p:txBody>
      </p:sp>
      <p:sp>
        <p:nvSpPr>
          <p:cNvPr id="21" name="Text Placeholder 2">
            <a:extLst>
              <a:ext uri="{FF2B5EF4-FFF2-40B4-BE49-F238E27FC236}">
                <a16:creationId xmlns:a16="http://schemas.microsoft.com/office/drawing/2014/main" id="{40B5395A-6415-0C4F-ACC9-E6885B7E8F60}"/>
              </a:ext>
            </a:extLst>
          </p:cNvPr>
          <p:cNvSpPr>
            <a:spLocks noGrp="1"/>
          </p:cNvSpPr>
          <p:nvPr>
            <p:ph type="body" idx="25" hasCustomPrompt="1"/>
          </p:nvPr>
        </p:nvSpPr>
        <p:spPr>
          <a:xfrm>
            <a:off x="368789" y="1396800"/>
            <a:ext cx="1522202" cy="687771"/>
          </a:xfrm>
          <a:prstGeom prst="rect">
            <a:avLst/>
          </a:prstGeom>
        </p:spPr>
        <p:txBody>
          <a:bodyPr lIns="0" tIns="0" rIns="0" bIns="0" anchor="t">
            <a:noAutofit/>
          </a:bodyPr>
          <a:lstStyle>
            <a:lvl1pPr marL="0" indent="0">
              <a:lnSpc>
                <a:spcPct val="95000"/>
              </a:lnSpc>
              <a:spcBef>
                <a:spcPts val="0"/>
              </a:spcBef>
              <a:spcAft>
                <a:spcPts val="0"/>
              </a:spcAft>
              <a:buNone/>
              <a:defRPr sz="3600" b="1" i="0" spc="0">
                <a:solidFill>
                  <a:schemeClr val="accent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a:t>
            </a:r>
          </a:p>
        </p:txBody>
      </p:sp>
      <p:cxnSp>
        <p:nvCxnSpPr>
          <p:cNvPr id="30" name="Straight Connector 15">
            <a:extLst>
              <a:ext uri="{FF2B5EF4-FFF2-40B4-BE49-F238E27FC236}">
                <a16:creationId xmlns:a16="http://schemas.microsoft.com/office/drawing/2014/main" id="{ECA59438-7D0F-1A47-9537-F7DA88689EAF}"/>
              </a:ext>
            </a:extLst>
          </p:cNvPr>
          <p:cNvCxnSpPr>
            <a:cxnSpLocks/>
          </p:cNvCxnSpPr>
          <p:nvPr userDrawn="1"/>
        </p:nvCxnSpPr>
        <p:spPr>
          <a:xfrm>
            <a:off x="4112392" y="1463040"/>
            <a:ext cx="0" cy="4672321"/>
          </a:xfrm>
          <a:prstGeom prst="line">
            <a:avLst/>
          </a:prstGeom>
          <a:ln>
            <a:solidFill>
              <a:srgbClr val="DA281C"/>
            </a:solidFill>
          </a:ln>
        </p:spPr>
        <p:style>
          <a:lnRef idx="1">
            <a:schemeClr val="accent1"/>
          </a:lnRef>
          <a:fillRef idx="0">
            <a:schemeClr val="accent1"/>
          </a:fillRef>
          <a:effectRef idx="0">
            <a:schemeClr val="accent1"/>
          </a:effectRef>
          <a:fontRef idx="minor">
            <a:schemeClr val="tx1"/>
          </a:fontRef>
        </p:style>
      </p:cxnSp>
      <p:sp>
        <p:nvSpPr>
          <p:cNvPr id="24" name="Marcador de texto 2">
            <a:extLst>
              <a:ext uri="{FF2B5EF4-FFF2-40B4-BE49-F238E27FC236}">
                <a16:creationId xmlns:a16="http://schemas.microsoft.com/office/drawing/2014/main" id="{590CA816-0573-4C31-B214-4DBD490C17CC}"/>
              </a:ext>
            </a:extLst>
          </p:cNvPr>
          <p:cNvSpPr>
            <a:spLocks noGrp="1"/>
          </p:cNvSpPr>
          <p:nvPr>
            <p:ph type="body" idx="10" hasCustomPrompt="1"/>
          </p:nvPr>
        </p:nvSpPr>
        <p:spPr>
          <a:xfrm>
            <a:off x="368790" y="722639"/>
            <a:ext cx="11446270" cy="324000"/>
          </a:xfrm>
          <a:prstGeom prst="rect">
            <a:avLst/>
          </a:prstGeom>
        </p:spPr>
        <p:txBody>
          <a:bodyPr lIns="0" tIns="0" rIns="0" bIns="0" anchor="t"/>
          <a:lstStyle>
            <a:lvl1pPr marL="0" indent="0">
              <a:lnSpc>
                <a:spcPct val="100000"/>
              </a:lnSpc>
              <a:spcBef>
                <a:spcPts val="0"/>
              </a:spcBef>
              <a:buNone/>
              <a:defRPr sz="2000" b="0">
                <a:solidFill>
                  <a:srgbClr val="000000"/>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err="1"/>
              <a:t>Subtitle</a:t>
            </a:r>
            <a:endParaRPr lang="es-ES" dirty="0"/>
          </a:p>
        </p:txBody>
      </p:sp>
      <p:sp>
        <p:nvSpPr>
          <p:cNvPr id="33" name="Text Placeholder 2">
            <a:extLst>
              <a:ext uri="{FF2B5EF4-FFF2-40B4-BE49-F238E27FC236}">
                <a16:creationId xmlns:a16="http://schemas.microsoft.com/office/drawing/2014/main" id="{A285712E-80BE-4E21-874E-35D05E89225C}"/>
              </a:ext>
            </a:extLst>
          </p:cNvPr>
          <p:cNvSpPr>
            <a:spLocks noGrp="1"/>
          </p:cNvSpPr>
          <p:nvPr>
            <p:ph type="body" idx="28" hasCustomPrompt="1"/>
          </p:nvPr>
        </p:nvSpPr>
        <p:spPr>
          <a:xfrm>
            <a:off x="4327995" y="1396800"/>
            <a:ext cx="1522202" cy="687771"/>
          </a:xfrm>
          <a:prstGeom prst="rect">
            <a:avLst/>
          </a:prstGeom>
        </p:spPr>
        <p:txBody>
          <a:bodyPr lIns="0" tIns="0" rIns="0" bIns="0" anchor="t">
            <a:noAutofit/>
          </a:bodyPr>
          <a:lstStyle>
            <a:lvl1pPr marL="0" indent="0">
              <a:lnSpc>
                <a:spcPct val="95000"/>
              </a:lnSpc>
              <a:spcBef>
                <a:spcPts val="0"/>
              </a:spcBef>
              <a:spcAft>
                <a:spcPts val="0"/>
              </a:spcAft>
              <a:buNone/>
              <a:defRPr sz="3600" b="1" i="0" spc="0">
                <a:solidFill>
                  <a:schemeClr val="accent2"/>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a:t>
            </a:r>
          </a:p>
        </p:txBody>
      </p:sp>
      <p:sp>
        <p:nvSpPr>
          <p:cNvPr id="35" name="Text Placeholder 12" descr="Body text will be presented like this">
            <a:extLst>
              <a:ext uri="{FF2B5EF4-FFF2-40B4-BE49-F238E27FC236}">
                <a16:creationId xmlns:a16="http://schemas.microsoft.com/office/drawing/2014/main" id="{86FAD558-0B34-4904-946F-59FF6F202804}"/>
              </a:ext>
            </a:extLst>
          </p:cNvPr>
          <p:cNvSpPr>
            <a:spLocks noGrp="1"/>
          </p:cNvSpPr>
          <p:nvPr>
            <p:ph type="body" sz="quarter" idx="29" hasCustomPrompt="1"/>
          </p:nvPr>
        </p:nvSpPr>
        <p:spPr>
          <a:xfrm>
            <a:off x="4327995" y="2944799"/>
            <a:ext cx="3528000" cy="3204000"/>
          </a:xfrm>
          <a:prstGeom prst="rect">
            <a:avLst/>
          </a:prstGeom>
        </p:spPr>
        <p:txBody>
          <a:bodyPr wrap="square" lIns="0" tIns="0" rIns="0" bIns="0"/>
          <a:lstStyle>
            <a:lvl1pPr marL="0" indent="0">
              <a:lnSpc>
                <a:spcPct val="120000"/>
              </a:lnSpc>
              <a:spcBef>
                <a:spcPts val="0"/>
              </a:spcBef>
              <a:buNone/>
              <a:defRPr sz="1400" b="0">
                <a:solidFill>
                  <a:schemeClr val="tx1"/>
                </a:solidFill>
                <a:latin typeface="+mn-lt"/>
              </a:defRPr>
            </a:lvl1pPr>
            <a:lvl2pPr marL="0" indent="0">
              <a:lnSpc>
                <a:spcPct val="120000"/>
              </a:lnSpc>
              <a:defRPr sz="1200"/>
            </a:lvl2pPr>
            <a:lvl3pPr>
              <a:defRPr sz="1600"/>
            </a:lvl3pPr>
            <a:lvl4pPr>
              <a:defRPr sz="1600"/>
            </a:lvl4pPr>
            <a:lvl5pPr>
              <a:defRPr sz="1600"/>
            </a:lvl5pPr>
          </a:lstStyle>
          <a:p>
            <a:pPr lvl="0"/>
            <a:r>
              <a:rPr lang="en-US" dirty="0"/>
              <a:t>Click to edit Master text styles</a:t>
            </a:r>
          </a:p>
        </p:txBody>
      </p:sp>
      <p:sp>
        <p:nvSpPr>
          <p:cNvPr id="36" name="Text Placeholder 8">
            <a:extLst>
              <a:ext uri="{FF2B5EF4-FFF2-40B4-BE49-F238E27FC236}">
                <a16:creationId xmlns:a16="http://schemas.microsoft.com/office/drawing/2014/main" id="{FA37F7A4-1800-4DA5-9214-8AE28D3A2E7F}"/>
              </a:ext>
            </a:extLst>
          </p:cNvPr>
          <p:cNvSpPr>
            <a:spLocks noGrp="1"/>
          </p:cNvSpPr>
          <p:nvPr>
            <p:ph type="body" sz="quarter" idx="30"/>
          </p:nvPr>
        </p:nvSpPr>
        <p:spPr>
          <a:xfrm>
            <a:off x="4327995" y="2196000"/>
            <a:ext cx="3528000" cy="576000"/>
          </a:xfrm>
          <a:prstGeom prst="rect">
            <a:avLst/>
          </a:prstGeom>
        </p:spPr>
        <p:txBody>
          <a:bodyPr lIns="0" tIns="0" rIns="0" bIns="0">
            <a:noAutofit/>
          </a:bodyPr>
          <a:lstStyle>
            <a:lvl1pPr marL="0" indent="0">
              <a:lnSpc>
                <a:spcPct val="100000"/>
              </a:lnSpc>
              <a:spcBef>
                <a:spcPts val="0"/>
              </a:spcBef>
              <a:spcAft>
                <a:spcPts val="0"/>
              </a:spcAft>
              <a:buNone/>
              <a:defRPr sz="1600" b="1" i="0">
                <a:solidFill>
                  <a:schemeClr val="accent2"/>
                </a:solidFill>
                <a:latin typeface="+mj-lt"/>
              </a:defRPr>
            </a:lvl1pPr>
            <a:lvl2pPr indent="0">
              <a:lnSpc>
                <a:spcPct val="110000"/>
              </a:lnSpc>
              <a:spcBef>
                <a:spcPts val="0"/>
              </a:spcBef>
              <a:spcAft>
                <a:spcPts val="0"/>
              </a:spcAft>
              <a:buNone/>
              <a:defRPr sz="1200">
                <a:solidFill>
                  <a:schemeClr val="bg1">
                    <a:lumMod val="75000"/>
                  </a:schemeClr>
                </a:solidFill>
              </a:defRPr>
            </a:lvl2pPr>
            <a:lvl3pPr>
              <a:lnSpc>
                <a:spcPct val="100000"/>
              </a:lnSpc>
              <a:spcBef>
                <a:spcPts val="600"/>
              </a:spcBef>
              <a:spcAft>
                <a:spcPts val="0"/>
              </a:spcAft>
              <a:defRPr sz="1200">
                <a:solidFill>
                  <a:schemeClr val="bg1">
                    <a:lumMod val="75000"/>
                  </a:schemeClr>
                </a:solidFill>
              </a:defRPr>
            </a:lvl3pPr>
            <a:lvl4pPr>
              <a:lnSpc>
                <a:spcPct val="100000"/>
              </a:lnSpc>
              <a:spcBef>
                <a:spcPts val="600"/>
              </a:spcBef>
              <a:spcAft>
                <a:spcPts val="0"/>
              </a:spcAft>
              <a:defRPr sz="1200">
                <a:solidFill>
                  <a:schemeClr val="bg1">
                    <a:lumMod val="75000"/>
                  </a:schemeClr>
                </a:solidFill>
              </a:defRPr>
            </a:lvl4pPr>
            <a:lvl5pPr>
              <a:lnSpc>
                <a:spcPct val="100000"/>
              </a:lnSpc>
              <a:spcBef>
                <a:spcPts val="600"/>
              </a:spcBef>
              <a:spcAft>
                <a:spcPts val="0"/>
              </a:spcAft>
              <a:defRPr sz="1200">
                <a:solidFill>
                  <a:schemeClr val="bg1">
                    <a:lumMod val="75000"/>
                  </a:schemeClr>
                </a:solidFill>
              </a:defRPr>
            </a:lvl5pPr>
          </a:lstStyle>
          <a:p>
            <a:pPr lvl="0"/>
            <a:r>
              <a:rPr lang="en-US" dirty="0"/>
              <a:t>Click to edit Master text styles</a:t>
            </a:r>
          </a:p>
        </p:txBody>
      </p:sp>
      <p:sp>
        <p:nvSpPr>
          <p:cNvPr id="37" name="Text Placeholder 2">
            <a:extLst>
              <a:ext uri="{FF2B5EF4-FFF2-40B4-BE49-F238E27FC236}">
                <a16:creationId xmlns:a16="http://schemas.microsoft.com/office/drawing/2014/main" id="{D14BFBC8-FBBA-4AB7-8DCC-7C10FD9D10DD}"/>
              </a:ext>
            </a:extLst>
          </p:cNvPr>
          <p:cNvSpPr>
            <a:spLocks noGrp="1"/>
          </p:cNvSpPr>
          <p:nvPr>
            <p:ph type="body" idx="31" hasCustomPrompt="1"/>
          </p:nvPr>
        </p:nvSpPr>
        <p:spPr>
          <a:xfrm>
            <a:off x="8287200" y="1396800"/>
            <a:ext cx="1522202" cy="687771"/>
          </a:xfrm>
          <a:prstGeom prst="rect">
            <a:avLst/>
          </a:prstGeom>
        </p:spPr>
        <p:txBody>
          <a:bodyPr lIns="0" tIns="0" rIns="0" bIns="0" anchor="t">
            <a:noAutofit/>
          </a:bodyPr>
          <a:lstStyle>
            <a:lvl1pPr marL="0" indent="0">
              <a:lnSpc>
                <a:spcPct val="95000"/>
              </a:lnSpc>
              <a:spcBef>
                <a:spcPts val="0"/>
              </a:spcBef>
              <a:spcAft>
                <a:spcPts val="0"/>
              </a:spcAft>
              <a:buNone/>
              <a:defRPr sz="3600" b="1" i="0" spc="0">
                <a:solidFill>
                  <a:schemeClr val="accent3"/>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a:t>
            </a:r>
          </a:p>
        </p:txBody>
      </p:sp>
      <p:sp>
        <p:nvSpPr>
          <p:cNvPr id="38" name="Text Placeholder 12" descr="Body text will be presented like this">
            <a:extLst>
              <a:ext uri="{FF2B5EF4-FFF2-40B4-BE49-F238E27FC236}">
                <a16:creationId xmlns:a16="http://schemas.microsoft.com/office/drawing/2014/main" id="{2B54DA73-0A92-47EA-B6B3-24D9A4A2FE76}"/>
              </a:ext>
            </a:extLst>
          </p:cNvPr>
          <p:cNvSpPr>
            <a:spLocks noGrp="1"/>
          </p:cNvSpPr>
          <p:nvPr>
            <p:ph type="body" sz="quarter" idx="32" hasCustomPrompt="1"/>
          </p:nvPr>
        </p:nvSpPr>
        <p:spPr>
          <a:xfrm>
            <a:off x="8287200" y="2944799"/>
            <a:ext cx="3528000" cy="3204000"/>
          </a:xfrm>
          <a:prstGeom prst="rect">
            <a:avLst/>
          </a:prstGeom>
        </p:spPr>
        <p:txBody>
          <a:bodyPr wrap="square" lIns="0" tIns="0" rIns="0" bIns="0"/>
          <a:lstStyle>
            <a:lvl1pPr marL="0" indent="0">
              <a:lnSpc>
                <a:spcPct val="120000"/>
              </a:lnSpc>
              <a:spcBef>
                <a:spcPts val="0"/>
              </a:spcBef>
              <a:buNone/>
              <a:defRPr sz="1400" b="0">
                <a:solidFill>
                  <a:schemeClr val="tx1"/>
                </a:solidFill>
                <a:latin typeface="+mn-lt"/>
              </a:defRPr>
            </a:lvl1pPr>
            <a:lvl2pPr marL="0" indent="0">
              <a:lnSpc>
                <a:spcPct val="120000"/>
              </a:lnSpc>
              <a:defRPr sz="1200"/>
            </a:lvl2pPr>
            <a:lvl3pPr>
              <a:defRPr sz="1600"/>
            </a:lvl3pPr>
            <a:lvl4pPr>
              <a:defRPr sz="1600"/>
            </a:lvl4pPr>
            <a:lvl5pPr>
              <a:defRPr sz="1600"/>
            </a:lvl5pPr>
          </a:lstStyle>
          <a:p>
            <a:pPr lvl="0"/>
            <a:r>
              <a:rPr lang="en-US" dirty="0"/>
              <a:t>Click to edit Master text styles</a:t>
            </a:r>
          </a:p>
        </p:txBody>
      </p:sp>
      <p:sp>
        <p:nvSpPr>
          <p:cNvPr id="39" name="Text Placeholder 8">
            <a:extLst>
              <a:ext uri="{FF2B5EF4-FFF2-40B4-BE49-F238E27FC236}">
                <a16:creationId xmlns:a16="http://schemas.microsoft.com/office/drawing/2014/main" id="{6114B90A-79C3-4FCC-BB74-C238A76DF9C9}"/>
              </a:ext>
            </a:extLst>
          </p:cNvPr>
          <p:cNvSpPr>
            <a:spLocks noGrp="1"/>
          </p:cNvSpPr>
          <p:nvPr>
            <p:ph type="body" sz="quarter" idx="33" hasCustomPrompt="1"/>
          </p:nvPr>
        </p:nvSpPr>
        <p:spPr>
          <a:xfrm>
            <a:off x="8287200" y="2196000"/>
            <a:ext cx="3528000" cy="576000"/>
          </a:xfrm>
          <a:prstGeom prst="rect">
            <a:avLst/>
          </a:prstGeom>
        </p:spPr>
        <p:txBody>
          <a:bodyPr lIns="0" tIns="0" rIns="0" bIns="0">
            <a:noAutofit/>
          </a:bodyPr>
          <a:lstStyle>
            <a:lvl1pPr marL="0" indent="0">
              <a:lnSpc>
                <a:spcPct val="100000"/>
              </a:lnSpc>
              <a:spcBef>
                <a:spcPts val="0"/>
              </a:spcBef>
              <a:spcAft>
                <a:spcPts val="0"/>
              </a:spcAft>
              <a:buNone/>
              <a:defRPr sz="1600" b="1" i="0">
                <a:solidFill>
                  <a:schemeClr val="accent3"/>
                </a:solidFill>
                <a:latin typeface="+mj-lt"/>
              </a:defRPr>
            </a:lvl1pPr>
            <a:lvl2pPr indent="0">
              <a:lnSpc>
                <a:spcPct val="110000"/>
              </a:lnSpc>
              <a:spcBef>
                <a:spcPts val="0"/>
              </a:spcBef>
              <a:spcAft>
                <a:spcPts val="0"/>
              </a:spcAft>
              <a:buNone/>
              <a:defRPr sz="1200">
                <a:solidFill>
                  <a:schemeClr val="bg1">
                    <a:lumMod val="75000"/>
                  </a:schemeClr>
                </a:solidFill>
              </a:defRPr>
            </a:lvl2pPr>
            <a:lvl3pPr>
              <a:lnSpc>
                <a:spcPct val="100000"/>
              </a:lnSpc>
              <a:spcBef>
                <a:spcPts val="600"/>
              </a:spcBef>
              <a:spcAft>
                <a:spcPts val="0"/>
              </a:spcAft>
              <a:defRPr sz="1200">
                <a:solidFill>
                  <a:schemeClr val="bg1">
                    <a:lumMod val="75000"/>
                  </a:schemeClr>
                </a:solidFill>
              </a:defRPr>
            </a:lvl3pPr>
            <a:lvl4pPr>
              <a:lnSpc>
                <a:spcPct val="100000"/>
              </a:lnSpc>
              <a:spcBef>
                <a:spcPts val="600"/>
              </a:spcBef>
              <a:spcAft>
                <a:spcPts val="0"/>
              </a:spcAft>
              <a:defRPr sz="1200">
                <a:solidFill>
                  <a:schemeClr val="bg1">
                    <a:lumMod val="75000"/>
                  </a:schemeClr>
                </a:solidFill>
              </a:defRPr>
            </a:lvl4pPr>
            <a:lvl5pPr>
              <a:lnSpc>
                <a:spcPct val="100000"/>
              </a:lnSpc>
              <a:spcBef>
                <a:spcPts val="600"/>
              </a:spcBef>
              <a:spcAft>
                <a:spcPts val="0"/>
              </a:spcAft>
              <a:defRPr sz="1200">
                <a:solidFill>
                  <a:schemeClr val="bg1">
                    <a:lumMod val="75000"/>
                  </a:schemeClr>
                </a:solidFill>
              </a:defRPr>
            </a:lvl5pPr>
          </a:lstStyle>
          <a:p>
            <a:pPr lvl="0"/>
            <a:r>
              <a:rPr lang="en-US" dirty="0"/>
              <a:t>Click to edit Master text styles</a:t>
            </a:r>
          </a:p>
        </p:txBody>
      </p:sp>
      <p:cxnSp>
        <p:nvCxnSpPr>
          <p:cNvPr id="40" name="Straight Connector 15">
            <a:extLst>
              <a:ext uri="{FF2B5EF4-FFF2-40B4-BE49-F238E27FC236}">
                <a16:creationId xmlns:a16="http://schemas.microsoft.com/office/drawing/2014/main" id="{5496EEF5-BC23-4301-AF87-AF7AEBA6EB33}"/>
              </a:ext>
            </a:extLst>
          </p:cNvPr>
          <p:cNvCxnSpPr>
            <a:cxnSpLocks/>
          </p:cNvCxnSpPr>
          <p:nvPr userDrawn="1"/>
        </p:nvCxnSpPr>
        <p:spPr>
          <a:xfrm>
            <a:off x="8071598" y="1463040"/>
            <a:ext cx="0" cy="4672321"/>
          </a:xfrm>
          <a:prstGeom prst="line">
            <a:avLst/>
          </a:prstGeom>
          <a:ln>
            <a:solidFill>
              <a:srgbClr val="DA281C"/>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5B86186D-0D62-4F6A-AAC0-7967720E3A1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3301154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 4 columns &amp; Icon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D712543-C931-4CDB-8C18-B6AF63B402F6}"/>
              </a:ext>
            </a:extLst>
          </p:cNvPr>
          <p:cNvGraphicFramePr>
            <a:graphicFrameLocks noChangeAspect="1"/>
          </p:cNvGraphicFramePr>
          <p:nvPr userDrawn="1">
            <p:custDataLst>
              <p:tags r:id="rId2"/>
            </p:custDataLst>
            <p:extLst>
              <p:ext uri="{D42A27DB-BD31-4B8C-83A1-F6EECF244321}">
                <p14:modId xmlns:p14="http://schemas.microsoft.com/office/powerpoint/2010/main" val="3300810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6" name="think-cell Slide" r:id="rId4" imgW="473" imgH="474" progId="TCLayout.ActiveDocument.1">
                  <p:embed/>
                </p:oleObj>
              </mc:Choice>
              <mc:Fallback>
                <p:oleObj name="think-cell Slide" r:id="rId4" imgW="473" imgH="474" progId="TCLayout.ActiveDocument.1">
                  <p:embed/>
                  <p:pic>
                    <p:nvPicPr>
                      <p:cNvPr id="4" name="Object 3" hidden="1">
                        <a:extLst>
                          <a:ext uri="{FF2B5EF4-FFF2-40B4-BE49-F238E27FC236}">
                            <a16:creationId xmlns:a16="http://schemas.microsoft.com/office/drawing/2014/main" id="{2D712543-C931-4CDB-8C18-B6AF63B402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Rectángulo 13">
            <a:extLst>
              <a:ext uri="{FF2B5EF4-FFF2-40B4-BE49-F238E27FC236}">
                <a16:creationId xmlns:a16="http://schemas.microsoft.com/office/drawing/2014/main" id="{0233A445-5D10-E144-B11F-2324AE2F4098}"/>
              </a:ext>
            </a:extLst>
          </p:cNvPr>
          <p:cNvSpPr/>
          <p:nvPr userDrawn="1"/>
        </p:nvSpPr>
        <p:spPr>
          <a:xfrm flipH="1">
            <a:off x="0" y="1396800"/>
            <a:ext cx="12192000" cy="4752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10" name="Text Placeholder 12" descr="Body text will be presented like this">
            <a:extLst>
              <a:ext uri="{FF2B5EF4-FFF2-40B4-BE49-F238E27FC236}">
                <a16:creationId xmlns:a16="http://schemas.microsoft.com/office/drawing/2014/main" id="{222F074C-9474-1441-92BA-E96D35681FC8}"/>
              </a:ext>
            </a:extLst>
          </p:cNvPr>
          <p:cNvSpPr>
            <a:spLocks noGrp="1"/>
          </p:cNvSpPr>
          <p:nvPr>
            <p:ph type="body" sz="quarter" idx="14" hasCustomPrompt="1"/>
          </p:nvPr>
        </p:nvSpPr>
        <p:spPr>
          <a:xfrm>
            <a:off x="368790" y="1684800"/>
            <a:ext cx="2628000" cy="4176000"/>
          </a:xfrm>
          <a:prstGeom prst="rect">
            <a:avLst/>
          </a:prstGeom>
        </p:spPr>
        <p:txBody>
          <a:bodyPr wrap="square" lIns="0" tIns="0" rIns="0" bIns="0"/>
          <a:lstStyle>
            <a:lvl1pPr marL="0" indent="0" algn="ctr">
              <a:lnSpc>
                <a:spcPct val="110000"/>
              </a:lnSpc>
              <a:spcBef>
                <a:spcPts val="0"/>
              </a:spcBef>
              <a:buNone/>
              <a:defRPr sz="1400" b="0">
                <a:latin typeface="+mn-lt"/>
              </a:defRPr>
            </a:lvl1pPr>
            <a:lvl2pPr marL="0" indent="0">
              <a:lnSpc>
                <a:spcPct val="120000"/>
              </a:lnSpc>
              <a:defRPr sz="1200"/>
            </a:lvl2pPr>
            <a:lvl3pPr>
              <a:defRPr sz="1600"/>
            </a:lvl3pPr>
            <a:lvl4pPr>
              <a:defRPr sz="1600"/>
            </a:lvl4pPr>
            <a:lvl5pPr>
              <a:defRPr sz="1600"/>
            </a:lvl5pPr>
          </a:lstStyle>
          <a:p>
            <a:pPr lvl="0"/>
            <a:r>
              <a:rPr lang="en-US" dirty="0"/>
              <a:t>Click to edit Master text styles</a:t>
            </a:r>
          </a:p>
        </p:txBody>
      </p:sp>
      <p:sp>
        <p:nvSpPr>
          <p:cNvPr id="13" name="Text Placeholder 12" descr="Body text will be presented like this">
            <a:extLst>
              <a:ext uri="{FF2B5EF4-FFF2-40B4-BE49-F238E27FC236}">
                <a16:creationId xmlns:a16="http://schemas.microsoft.com/office/drawing/2014/main" id="{E123D2C1-20C7-B24D-B631-0B216E71BBB8}"/>
              </a:ext>
            </a:extLst>
          </p:cNvPr>
          <p:cNvSpPr>
            <a:spLocks noGrp="1"/>
          </p:cNvSpPr>
          <p:nvPr>
            <p:ph type="body" sz="quarter" idx="25" hasCustomPrompt="1"/>
          </p:nvPr>
        </p:nvSpPr>
        <p:spPr>
          <a:xfrm>
            <a:off x="3308260" y="1684800"/>
            <a:ext cx="2628000" cy="4176000"/>
          </a:xfrm>
          <a:prstGeom prst="rect">
            <a:avLst/>
          </a:prstGeom>
        </p:spPr>
        <p:txBody>
          <a:bodyPr wrap="square" lIns="0" tIns="0" rIns="0" bIns="0"/>
          <a:lstStyle>
            <a:lvl1pPr marL="0" indent="0" algn="ctr">
              <a:lnSpc>
                <a:spcPct val="110000"/>
              </a:lnSpc>
              <a:spcBef>
                <a:spcPts val="0"/>
              </a:spcBef>
              <a:buNone/>
              <a:defRPr sz="1400" b="0">
                <a:latin typeface="+mn-lt"/>
              </a:defRPr>
            </a:lvl1pPr>
            <a:lvl2pPr marL="0" indent="0">
              <a:lnSpc>
                <a:spcPct val="120000"/>
              </a:lnSpc>
              <a:defRPr sz="1200"/>
            </a:lvl2pPr>
            <a:lvl3pPr>
              <a:defRPr sz="1600"/>
            </a:lvl3pPr>
            <a:lvl4pPr>
              <a:defRPr sz="1600"/>
            </a:lvl4pPr>
            <a:lvl5pPr>
              <a:defRPr sz="1600"/>
            </a:lvl5pPr>
          </a:lstStyle>
          <a:p>
            <a:pPr lvl="0"/>
            <a:r>
              <a:rPr lang="en-US" dirty="0"/>
              <a:t>Click to edit Master text styles</a:t>
            </a:r>
          </a:p>
        </p:txBody>
      </p:sp>
      <p:sp>
        <p:nvSpPr>
          <p:cNvPr id="18" name="Text Placeholder 12" descr="Body text will be presented like this">
            <a:extLst>
              <a:ext uri="{FF2B5EF4-FFF2-40B4-BE49-F238E27FC236}">
                <a16:creationId xmlns:a16="http://schemas.microsoft.com/office/drawing/2014/main" id="{4EBFC386-3520-B542-A356-7958C9441B98}"/>
              </a:ext>
            </a:extLst>
          </p:cNvPr>
          <p:cNvSpPr>
            <a:spLocks noGrp="1"/>
          </p:cNvSpPr>
          <p:nvPr>
            <p:ph type="body" sz="quarter" idx="26" hasCustomPrompt="1"/>
          </p:nvPr>
        </p:nvSpPr>
        <p:spPr>
          <a:xfrm>
            <a:off x="6247730" y="1684800"/>
            <a:ext cx="2628000" cy="4176000"/>
          </a:xfrm>
          <a:prstGeom prst="rect">
            <a:avLst/>
          </a:prstGeom>
        </p:spPr>
        <p:txBody>
          <a:bodyPr wrap="square" lIns="0" tIns="0" rIns="0" bIns="0"/>
          <a:lstStyle>
            <a:lvl1pPr marL="0" indent="0" algn="ctr">
              <a:lnSpc>
                <a:spcPct val="110000"/>
              </a:lnSpc>
              <a:spcBef>
                <a:spcPts val="0"/>
              </a:spcBef>
              <a:buNone/>
              <a:defRPr sz="1400" b="0">
                <a:latin typeface="+mn-lt"/>
              </a:defRPr>
            </a:lvl1pPr>
            <a:lvl2pPr marL="0" indent="0">
              <a:lnSpc>
                <a:spcPct val="120000"/>
              </a:lnSpc>
              <a:defRPr sz="1200"/>
            </a:lvl2pPr>
            <a:lvl3pPr>
              <a:defRPr sz="1600"/>
            </a:lvl3pPr>
            <a:lvl4pPr>
              <a:defRPr sz="1600"/>
            </a:lvl4pPr>
            <a:lvl5pPr>
              <a:defRPr sz="1600"/>
            </a:lvl5pPr>
          </a:lstStyle>
          <a:p>
            <a:pPr lvl="0"/>
            <a:r>
              <a:rPr lang="en-US" dirty="0"/>
              <a:t>Click to edit Master text styles</a:t>
            </a:r>
          </a:p>
        </p:txBody>
      </p:sp>
      <p:sp>
        <p:nvSpPr>
          <p:cNvPr id="19" name="Text Placeholder 12" descr="Body text will be presented like this">
            <a:extLst>
              <a:ext uri="{FF2B5EF4-FFF2-40B4-BE49-F238E27FC236}">
                <a16:creationId xmlns:a16="http://schemas.microsoft.com/office/drawing/2014/main" id="{B39FD9AC-9727-2A48-88FA-87D0E68DBDBA}"/>
              </a:ext>
            </a:extLst>
          </p:cNvPr>
          <p:cNvSpPr>
            <a:spLocks noGrp="1"/>
          </p:cNvSpPr>
          <p:nvPr>
            <p:ph type="body" sz="quarter" idx="27" hasCustomPrompt="1"/>
          </p:nvPr>
        </p:nvSpPr>
        <p:spPr>
          <a:xfrm>
            <a:off x="9187200" y="1684800"/>
            <a:ext cx="2628000" cy="4176000"/>
          </a:xfrm>
          <a:prstGeom prst="rect">
            <a:avLst/>
          </a:prstGeom>
        </p:spPr>
        <p:txBody>
          <a:bodyPr wrap="square" lIns="0" tIns="0" rIns="0" bIns="0"/>
          <a:lstStyle>
            <a:lvl1pPr marL="0" indent="0" algn="ctr">
              <a:lnSpc>
                <a:spcPct val="110000"/>
              </a:lnSpc>
              <a:spcBef>
                <a:spcPts val="0"/>
              </a:spcBef>
              <a:buNone/>
              <a:defRPr sz="1400" b="0">
                <a:latin typeface="+mn-lt"/>
              </a:defRPr>
            </a:lvl1pPr>
            <a:lvl2pPr marL="0" indent="0">
              <a:lnSpc>
                <a:spcPct val="120000"/>
              </a:lnSpc>
              <a:defRPr sz="1200"/>
            </a:lvl2pPr>
            <a:lvl3pPr>
              <a:defRPr sz="1600"/>
            </a:lvl3pPr>
            <a:lvl4pPr>
              <a:defRPr sz="1600"/>
            </a:lvl4pPr>
            <a:lvl5pPr>
              <a:defRPr sz="1600"/>
            </a:lvl5pPr>
          </a:lstStyle>
          <a:p>
            <a:pPr lvl="0"/>
            <a:r>
              <a:rPr lang="en-US" dirty="0"/>
              <a:t>Click to edit Master text styles</a:t>
            </a:r>
          </a:p>
        </p:txBody>
      </p:sp>
      <p:sp>
        <p:nvSpPr>
          <p:cNvPr id="12" name="Marcador de texto 2">
            <a:extLst>
              <a:ext uri="{FF2B5EF4-FFF2-40B4-BE49-F238E27FC236}">
                <a16:creationId xmlns:a16="http://schemas.microsoft.com/office/drawing/2014/main" id="{3F0C780B-1E6E-4C86-B20D-A99207ADDDEE}"/>
              </a:ext>
            </a:extLst>
          </p:cNvPr>
          <p:cNvSpPr>
            <a:spLocks noGrp="1"/>
          </p:cNvSpPr>
          <p:nvPr>
            <p:ph type="body" idx="10" hasCustomPrompt="1"/>
          </p:nvPr>
        </p:nvSpPr>
        <p:spPr>
          <a:xfrm>
            <a:off x="368790" y="722639"/>
            <a:ext cx="11446270" cy="240142"/>
          </a:xfrm>
          <a:prstGeom prst="rect">
            <a:avLst/>
          </a:prstGeom>
        </p:spPr>
        <p:txBody>
          <a:bodyPr lIns="0" tIns="0" rIns="0" bIns="0" anchor="t"/>
          <a:lstStyle>
            <a:lvl1pPr marL="0" indent="0">
              <a:lnSpc>
                <a:spcPct val="100000"/>
              </a:lnSpc>
              <a:spcBef>
                <a:spcPts val="0"/>
              </a:spcBef>
              <a:buNone/>
              <a:defRPr sz="2000" b="0">
                <a:solidFill>
                  <a:srgbClr val="000000"/>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err="1"/>
              <a:t>Subtitle</a:t>
            </a:r>
            <a:endParaRPr lang="es-ES" dirty="0"/>
          </a:p>
        </p:txBody>
      </p:sp>
      <p:sp>
        <p:nvSpPr>
          <p:cNvPr id="2" name="Title 1">
            <a:extLst>
              <a:ext uri="{FF2B5EF4-FFF2-40B4-BE49-F238E27FC236}">
                <a16:creationId xmlns:a16="http://schemas.microsoft.com/office/drawing/2014/main" id="{FFE7489F-CE52-4DFB-AA46-1322AC079E9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65575534"/>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3_Title Slide Simple">
    <p:bg>
      <p:bgPr>
        <a:solidFill>
          <a:schemeClr val="bg2"/>
        </a:solidFill>
        <a:effectLst/>
      </p:bgPr>
    </p:bg>
    <p:spTree>
      <p:nvGrpSpPr>
        <p:cNvPr id="1" name=""/>
        <p:cNvGrpSpPr/>
        <p:nvPr/>
      </p:nvGrpSpPr>
      <p:grpSpPr>
        <a:xfrm>
          <a:off x="0" y="0"/>
          <a:ext cx="0" cy="0"/>
          <a:chOff x="0" y="0"/>
          <a:chExt cx="0" cy="0"/>
        </a:xfrm>
      </p:grpSpPr>
      <p:sp>
        <p:nvSpPr>
          <p:cNvPr id="19" name="Marcador de posición de imagen 2">
            <a:extLst>
              <a:ext uri="{FF2B5EF4-FFF2-40B4-BE49-F238E27FC236}">
                <a16:creationId xmlns:a16="http://schemas.microsoft.com/office/drawing/2014/main" id="{1827C2A2-0134-4391-96A1-5B941A0E6401}"/>
              </a:ext>
            </a:extLst>
          </p:cNvPr>
          <p:cNvSpPr>
            <a:spLocks noGrp="1"/>
          </p:cNvSpPr>
          <p:nvPr>
            <p:ph type="pic" sz="quarter" idx="12" hasCustomPrompt="1"/>
          </p:nvPr>
        </p:nvSpPr>
        <p:spPr>
          <a:xfrm>
            <a:off x="6538529" y="-14050"/>
            <a:ext cx="5670915" cy="6877222"/>
          </a:xfrm>
          <a:custGeom>
            <a:avLst/>
            <a:gdLst>
              <a:gd name="connsiteX0" fmla="*/ 0 w 4592124"/>
              <a:gd name="connsiteY0" fmla="*/ 0 h 6858000"/>
              <a:gd name="connsiteX1" fmla="*/ 4592124 w 4592124"/>
              <a:gd name="connsiteY1" fmla="*/ 0 h 6858000"/>
              <a:gd name="connsiteX2" fmla="*/ 4592124 w 4592124"/>
              <a:gd name="connsiteY2" fmla="*/ 6858000 h 6858000"/>
              <a:gd name="connsiteX3" fmla="*/ 0 w 4592124"/>
              <a:gd name="connsiteY3" fmla="*/ 6858000 h 6858000"/>
              <a:gd name="connsiteX4" fmla="*/ 0 w 4592124"/>
              <a:gd name="connsiteY4" fmla="*/ 0 h 6858000"/>
              <a:gd name="connsiteX0" fmla="*/ 2549525 w 4592124"/>
              <a:gd name="connsiteY0" fmla="*/ 1058 h 6858000"/>
              <a:gd name="connsiteX1" fmla="*/ 4592124 w 4592124"/>
              <a:gd name="connsiteY1" fmla="*/ 0 h 6858000"/>
              <a:gd name="connsiteX2" fmla="*/ 4592124 w 4592124"/>
              <a:gd name="connsiteY2" fmla="*/ 6858000 h 6858000"/>
              <a:gd name="connsiteX3" fmla="*/ 0 w 4592124"/>
              <a:gd name="connsiteY3" fmla="*/ 6858000 h 6858000"/>
              <a:gd name="connsiteX4" fmla="*/ 2549525 w 4592124"/>
              <a:gd name="connsiteY4" fmla="*/ 1058 h 6858000"/>
              <a:gd name="connsiteX0" fmla="*/ 2549525 w 4592124"/>
              <a:gd name="connsiteY0" fmla="*/ 0 h 6856942"/>
              <a:gd name="connsiteX1" fmla="*/ 4592124 w 4592124"/>
              <a:gd name="connsiteY1" fmla="*/ 1371762 h 6856942"/>
              <a:gd name="connsiteX2" fmla="*/ 4592124 w 4592124"/>
              <a:gd name="connsiteY2" fmla="*/ 6856942 h 6856942"/>
              <a:gd name="connsiteX3" fmla="*/ 0 w 4592124"/>
              <a:gd name="connsiteY3" fmla="*/ 6856942 h 6856942"/>
              <a:gd name="connsiteX4" fmla="*/ 2549525 w 4592124"/>
              <a:gd name="connsiteY4" fmla="*/ 0 h 6856942"/>
              <a:gd name="connsiteX0" fmla="*/ 2045812 w 4592124"/>
              <a:gd name="connsiteY0" fmla="*/ 1058 h 5485180"/>
              <a:gd name="connsiteX1" fmla="*/ 4592124 w 4592124"/>
              <a:gd name="connsiteY1" fmla="*/ 0 h 5485180"/>
              <a:gd name="connsiteX2" fmla="*/ 4592124 w 4592124"/>
              <a:gd name="connsiteY2" fmla="*/ 5485180 h 5485180"/>
              <a:gd name="connsiteX3" fmla="*/ 0 w 4592124"/>
              <a:gd name="connsiteY3" fmla="*/ 5485180 h 5485180"/>
              <a:gd name="connsiteX4" fmla="*/ 2045812 w 4592124"/>
              <a:gd name="connsiteY4" fmla="*/ 1058 h 5485180"/>
              <a:gd name="connsiteX0" fmla="*/ 2028628 w 4592124"/>
              <a:gd name="connsiteY0" fmla="*/ 36027 h 5485180"/>
              <a:gd name="connsiteX1" fmla="*/ 4592124 w 4592124"/>
              <a:gd name="connsiteY1" fmla="*/ 0 h 5485180"/>
              <a:gd name="connsiteX2" fmla="*/ 4592124 w 4592124"/>
              <a:gd name="connsiteY2" fmla="*/ 5485180 h 5485180"/>
              <a:gd name="connsiteX3" fmla="*/ 0 w 4592124"/>
              <a:gd name="connsiteY3" fmla="*/ 5485180 h 5485180"/>
              <a:gd name="connsiteX4" fmla="*/ 2028628 w 4592124"/>
              <a:gd name="connsiteY4" fmla="*/ 36027 h 5485180"/>
              <a:gd name="connsiteX0" fmla="*/ 2028628 w 4592124"/>
              <a:gd name="connsiteY0" fmla="*/ 4509 h 5453662"/>
              <a:gd name="connsiteX1" fmla="*/ 4568296 w 4592124"/>
              <a:gd name="connsiteY1" fmla="*/ 0 h 5453662"/>
              <a:gd name="connsiteX2" fmla="*/ 4592124 w 4592124"/>
              <a:gd name="connsiteY2" fmla="*/ 5453662 h 5453662"/>
              <a:gd name="connsiteX3" fmla="*/ 0 w 4592124"/>
              <a:gd name="connsiteY3" fmla="*/ 5453662 h 5453662"/>
              <a:gd name="connsiteX4" fmla="*/ 2028628 w 4592124"/>
              <a:gd name="connsiteY4" fmla="*/ 4509 h 5453662"/>
              <a:gd name="connsiteX0" fmla="*/ 2028628 w 4743341"/>
              <a:gd name="connsiteY0" fmla="*/ 4509 h 5460656"/>
              <a:gd name="connsiteX1" fmla="*/ 4568296 w 4743341"/>
              <a:gd name="connsiteY1" fmla="*/ 0 h 5460656"/>
              <a:gd name="connsiteX2" fmla="*/ 4743341 w 4743341"/>
              <a:gd name="connsiteY2" fmla="*/ 5460656 h 5460656"/>
              <a:gd name="connsiteX3" fmla="*/ 0 w 4743341"/>
              <a:gd name="connsiteY3" fmla="*/ 5453662 h 5460656"/>
              <a:gd name="connsiteX4" fmla="*/ 2028628 w 4743341"/>
              <a:gd name="connsiteY4" fmla="*/ 4509 h 5460656"/>
              <a:gd name="connsiteX0" fmla="*/ 2028628 w 4760755"/>
              <a:gd name="connsiteY0" fmla="*/ 4509 h 5460656"/>
              <a:gd name="connsiteX1" fmla="*/ 4760755 w 4760755"/>
              <a:gd name="connsiteY1" fmla="*/ 0 h 5460656"/>
              <a:gd name="connsiteX2" fmla="*/ 4743341 w 4760755"/>
              <a:gd name="connsiteY2" fmla="*/ 5460656 h 5460656"/>
              <a:gd name="connsiteX3" fmla="*/ 0 w 4760755"/>
              <a:gd name="connsiteY3" fmla="*/ 5453662 h 5460656"/>
              <a:gd name="connsiteX4" fmla="*/ 2028628 w 4760755"/>
              <a:gd name="connsiteY4" fmla="*/ 4509 h 5460656"/>
              <a:gd name="connsiteX0" fmla="*/ 2042201 w 4774328"/>
              <a:gd name="connsiteY0" fmla="*/ 4509 h 5467473"/>
              <a:gd name="connsiteX1" fmla="*/ 4774328 w 4774328"/>
              <a:gd name="connsiteY1" fmla="*/ 0 h 5467473"/>
              <a:gd name="connsiteX2" fmla="*/ 4756914 w 4774328"/>
              <a:gd name="connsiteY2" fmla="*/ 5460656 h 5467473"/>
              <a:gd name="connsiteX3" fmla="*/ 0 w 4774328"/>
              <a:gd name="connsiteY3" fmla="*/ 5467473 h 5467473"/>
              <a:gd name="connsiteX4" fmla="*/ 2042201 w 4774328"/>
              <a:gd name="connsiteY4" fmla="*/ 4509 h 5467473"/>
              <a:gd name="connsiteX0" fmla="*/ 2042201 w 4774328"/>
              <a:gd name="connsiteY0" fmla="*/ 4509 h 5474466"/>
              <a:gd name="connsiteX1" fmla="*/ 4774328 w 4774328"/>
              <a:gd name="connsiteY1" fmla="*/ 0 h 5474466"/>
              <a:gd name="connsiteX2" fmla="*/ 4765962 w 4774328"/>
              <a:gd name="connsiteY2" fmla="*/ 5474466 h 5474466"/>
              <a:gd name="connsiteX3" fmla="*/ 0 w 4774328"/>
              <a:gd name="connsiteY3" fmla="*/ 5467473 h 5474466"/>
              <a:gd name="connsiteX4" fmla="*/ 2042201 w 4774328"/>
              <a:gd name="connsiteY4" fmla="*/ 4509 h 5474466"/>
              <a:gd name="connsiteX0" fmla="*/ 2042201 w 4778853"/>
              <a:gd name="connsiteY0" fmla="*/ 0 h 5469957"/>
              <a:gd name="connsiteX1" fmla="*/ 4778853 w 4778853"/>
              <a:gd name="connsiteY1" fmla="*/ 4698 h 5469957"/>
              <a:gd name="connsiteX2" fmla="*/ 4765962 w 4778853"/>
              <a:gd name="connsiteY2" fmla="*/ 5469957 h 5469957"/>
              <a:gd name="connsiteX3" fmla="*/ 0 w 4778853"/>
              <a:gd name="connsiteY3" fmla="*/ 5462964 h 5469957"/>
              <a:gd name="connsiteX4" fmla="*/ 2042201 w 4778853"/>
              <a:gd name="connsiteY4" fmla="*/ 0 h 5469957"/>
              <a:gd name="connsiteX0" fmla="*/ 2042201 w 4781135"/>
              <a:gd name="connsiteY0" fmla="*/ 0 h 5462964"/>
              <a:gd name="connsiteX1" fmla="*/ 4778853 w 4781135"/>
              <a:gd name="connsiteY1" fmla="*/ 4698 h 5462964"/>
              <a:gd name="connsiteX2" fmla="*/ 4779535 w 4781135"/>
              <a:gd name="connsiteY2" fmla="*/ 5460751 h 5462964"/>
              <a:gd name="connsiteX3" fmla="*/ 0 w 4781135"/>
              <a:gd name="connsiteY3" fmla="*/ 5462964 h 5462964"/>
              <a:gd name="connsiteX4" fmla="*/ 2042201 w 4781135"/>
              <a:gd name="connsiteY4" fmla="*/ 0 h 5462964"/>
              <a:gd name="connsiteX0" fmla="*/ 2046725 w 4781135"/>
              <a:gd name="connsiteY0" fmla="*/ 0 h 5467567"/>
              <a:gd name="connsiteX1" fmla="*/ 4778853 w 4781135"/>
              <a:gd name="connsiteY1" fmla="*/ 9301 h 5467567"/>
              <a:gd name="connsiteX2" fmla="*/ 4779535 w 4781135"/>
              <a:gd name="connsiteY2" fmla="*/ 5465354 h 5467567"/>
              <a:gd name="connsiteX3" fmla="*/ 0 w 4781135"/>
              <a:gd name="connsiteY3" fmla="*/ 5467567 h 5467567"/>
              <a:gd name="connsiteX4" fmla="*/ 2046725 w 4781135"/>
              <a:gd name="connsiteY4" fmla="*/ 0 h 5467567"/>
              <a:gd name="connsiteX0" fmla="*/ 2046725 w 4779604"/>
              <a:gd name="connsiteY0" fmla="*/ 2821 h 5470388"/>
              <a:gd name="connsiteX1" fmla="*/ 4433343 w 4779604"/>
              <a:gd name="connsiteY1" fmla="*/ 0 h 5470388"/>
              <a:gd name="connsiteX2" fmla="*/ 4779535 w 4779604"/>
              <a:gd name="connsiteY2" fmla="*/ 5468175 h 5470388"/>
              <a:gd name="connsiteX3" fmla="*/ 0 w 4779604"/>
              <a:gd name="connsiteY3" fmla="*/ 5470388 h 5470388"/>
              <a:gd name="connsiteX4" fmla="*/ 2046725 w 4779604"/>
              <a:gd name="connsiteY4" fmla="*/ 2821 h 5470388"/>
              <a:gd name="connsiteX0" fmla="*/ 2046725 w 4433343"/>
              <a:gd name="connsiteY0" fmla="*/ 2821 h 5470388"/>
              <a:gd name="connsiteX1" fmla="*/ 4433343 w 4433343"/>
              <a:gd name="connsiteY1" fmla="*/ 0 h 5470388"/>
              <a:gd name="connsiteX2" fmla="*/ 4426082 w 4433343"/>
              <a:gd name="connsiteY2" fmla="*/ 5468175 h 5470388"/>
              <a:gd name="connsiteX3" fmla="*/ 0 w 4433343"/>
              <a:gd name="connsiteY3" fmla="*/ 5470388 h 5470388"/>
              <a:gd name="connsiteX4" fmla="*/ 2046725 w 4433343"/>
              <a:gd name="connsiteY4" fmla="*/ 2821 h 5470388"/>
              <a:gd name="connsiteX0" fmla="*/ 2046725 w 4433343"/>
              <a:gd name="connsiteY0" fmla="*/ 2821 h 5470388"/>
              <a:gd name="connsiteX1" fmla="*/ 4433343 w 4433343"/>
              <a:gd name="connsiteY1" fmla="*/ 0 h 5470388"/>
              <a:gd name="connsiteX2" fmla="*/ 4426082 w 4433343"/>
              <a:gd name="connsiteY2" fmla="*/ 5468175 h 5470388"/>
              <a:gd name="connsiteX3" fmla="*/ 0 w 4433343"/>
              <a:gd name="connsiteY3" fmla="*/ 5470388 h 5470388"/>
              <a:gd name="connsiteX4" fmla="*/ 2046725 w 4433343"/>
              <a:gd name="connsiteY4" fmla="*/ 2821 h 5470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3343" h="5470388">
                <a:moveTo>
                  <a:pt x="2046725" y="2821"/>
                </a:moveTo>
                <a:lnTo>
                  <a:pt x="4433343" y="0"/>
                </a:lnTo>
                <a:cubicBezTo>
                  <a:pt x="4427538" y="1820219"/>
                  <a:pt x="4431887" y="3647956"/>
                  <a:pt x="4426082" y="5468175"/>
                </a:cubicBezTo>
                <a:lnTo>
                  <a:pt x="0" y="5470388"/>
                </a:lnTo>
                <a:lnTo>
                  <a:pt x="2046725" y="2821"/>
                </a:lnTo>
                <a:close/>
              </a:path>
            </a:pathLst>
          </a:custGeom>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F9900"/>
                </a:solidFill>
                <a:prstDash val="solid"/>
                <a:round/>
                <a:headEnd type="none" w="med" len="med"/>
                <a:tailEnd type="none" w="med" len="med"/>
              </a14:hiddenLine>
            </a:ext>
          </a:extLst>
        </p:spPr>
        <p:txBody>
          <a:bodyPr anchor="ctr"/>
          <a:lstStyle>
            <a:lvl1pPr marL="228600" marR="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a:solidFill>
                  <a:srgbClr val="FFFFFF"/>
                </a:solidFill>
              </a:defRPr>
            </a:lvl1pPr>
          </a:lstStyle>
          <a:p>
            <a:pPr marL="228600" marR="0" lvl="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Drag picture to placeholder </a:t>
            </a:r>
            <a:br>
              <a:rPr lang="en-US" dirty="0"/>
            </a:br>
            <a:r>
              <a:rPr lang="en-US" dirty="0"/>
              <a:t>or click icon to add</a:t>
            </a:r>
          </a:p>
        </p:txBody>
      </p:sp>
      <p:graphicFrame>
        <p:nvGraphicFramePr>
          <p:cNvPr id="5" name="Object 4" hidden="1">
            <a:extLst>
              <a:ext uri="{FF2B5EF4-FFF2-40B4-BE49-F238E27FC236}">
                <a16:creationId xmlns:a16="http://schemas.microsoft.com/office/drawing/2014/main" id="{5F3107E2-3D7C-4EA6-A3AE-B45AC3CE498F}"/>
              </a:ext>
            </a:extLst>
          </p:cNvPr>
          <p:cNvGraphicFramePr>
            <a:graphicFrameLocks noChangeAspect="1"/>
          </p:cNvGraphicFramePr>
          <p:nvPr userDrawn="1">
            <p:custDataLst>
              <p:tags r:id="rId2"/>
            </p:custDataLst>
            <p:extLst>
              <p:ext uri="{D42A27DB-BD31-4B8C-83A1-F6EECF244321}">
                <p14:modId xmlns:p14="http://schemas.microsoft.com/office/powerpoint/2010/main" val="11239874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0" name="think-cell Slide" r:id="rId4" imgW="473" imgH="474" progId="TCLayout.ActiveDocument.1">
                  <p:embed/>
                </p:oleObj>
              </mc:Choice>
              <mc:Fallback>
                <p:oleObj name="think-cell Slide" r:id="rId4" imgW="473" imgH="474" progId="TCLayout.ActiveDocument.1">
                  <p:embed/>
                  <p:pic>
                    <p:nvPicPr>
                      <p:cNvPr id="5" name="Object 4" hidden="1">
                        <a:extLst>
                          <a:ext uri="{FF2B5EF4-FFF2-40B4-BE49-F238E27FC236}">
                            <a16:creationId xmlns:a16="http://schemas.microsoft.com/office/drawing/2014/main" id="{5F3107E2-3D7C-4EA6-A3AE-B45AC3CE498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Título 1">
            <a:extLst>
              <a:ext uri="{FF2B5EF4-FFF2-40B4-BE49-F238E27FC236}">
                <a16:creationId xmlns:a16="http://schemas.microsoft.com/office/drawing/2014/main" id="{4BFB3231-EC8D-AC43-B9D1-D6556772F6F4}"/>
              </a:ext>
            </a:extLst>
          </p:cNvPr>
          <p:cNvSpPr>
            <a:spLocks noGrp="1"/>
          </p:cNvSpPr>
          <p:nvPr>
            <p:ph type="ctrTitle" hasCustomPrompt="1"/>
          </p:nvPr>
        </p:nvSpPr>
        <p:spPr>
          <a:xfrm>
            <a:off x="698500" y="2924496"/>
            <a:ext cx="5397500" cy="636702"/>
          </a:xfrm>
          <a:prstGeom prst="rect">
            <a:avLst/>
          </a:prstGeom>
        </p:spPr>
        <p:txBody>
          <a:bodyPr anchor="t"/>
          <a:lstStyle>
            <a:lvl1pPr algn="l">
              <a:lnSpc>
                <a:spcPct val="100000"/>
              </a:lnSpc>
              <a:defRPr sz="3600" b="1">
                <a:solidFill>
                  <a:schemeClr val="accent1"/>
                </a:solidFill>
                <a:latin typeface="+mj-lt"/>
              </a:defRPr>
            </a:lvl1pPr>
          </a:lstStyle>
          <a:p>
            <a:r>
              <a:rPr lang="es-ES" dirty="0" err="1"/>
              <a:t>Presentation</a:t>
            </a:r>
            <a:r>
              <a:rPr lang="es-ES" dirty="0"/>
              <a:t> </a:t>
            </a:r>
            <a:r>
              <a:rPr lang="es-ES" dirty="0" err="1"/>
              <a:t>title</a:t>
            </a:r>
            <a:r>
              <a:rPr lang="es-ES" dirty="0"/>
              <a:t> </a:t>
            </a:r>
            <a:r>
              <a:rPr lang="es-ES" dirty="0" err="1"/>
              <a:t>goes</a:t>
            </a:r>
            <a:r>
              <a:rPr lang="es-ES" dirty="0"/>
              <a:t> </a:t>
            </a:r>
            <a:r>
              <a:rPr lang="es-ES" dirty="0" err="1"/>
              <a:t>here</a:t>
            </a:r>
            <a:endParaRPr lang="es-ES" dirty="0"/>
          </a:p>
        </p:txBody>
      </p:sp>
      <p:sp>
        <p:nvSpPr>
          <p:cNvPr id="13" name="Subtítulo 2">
            <a:extLst>
              <a:ext uri="{FF2B5EF4-FFF2-40B4-BE49-F238E27FC236}">
                <a16:creationId xmlns:a16="http://schemas.microsoft.com/office/drawing/2014/main" id="{EA5FD70C-DAB3-DD4D-8618-2EAF4E482F89}"/>
              </a:ext>
            </a:extLst>
          </p:cNvPr>
          <p:cNvSpPr>
            <a:spLocks noGrp="1"/>
          </p:cNvSpPr>
          <p:nvPr>
            <p:ph type="subTitle" idx="1" hasCustomPrompt="1"/>
          </p:nvPr>
        </p:nvSpPr>
        <p:spPr>
          <a:xfrm>
            <a:off x="698500" y="4336157"/>
            <a:ext cx="5397500" cy="814028"/>
          </a:xfrm>
          <a:prstGeom prst="rect">
            <a:avLst/>
          </a:prstGeom>
        </p:spPr>
        <p:txBody>
          <a:bodyPr anchor="t"/>
          <a:lstStyle>
            <a:lvl1pPr marL="0" indent="0" algn="l">
              <a:lnSpc>
                <a:spcPct val="100000"/>
              </a:lnSpc>
              <a:buNone/>
              <a:defRPr sz="2400" b="0">
                <a:solidFill>
                  <a:schemeClr val="tx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err="1"/>
              <a:t>Subtitle</a:t>
            </a:r>
            <a:r>
              <a:rPr lang="es-ES" dirty="0"/>
              <a:t> </a:t>
            </a:r>
            <a:r>
              <a:rPr lang="es-ES" dirty="0" err="1"/>
              <a:t>goes</a:t>
            </a:r>
            <a:r>
              <a:rPr lang="es-ES" dirty="0"/>
              <a:t> </a:t>
            </a:r>
            <a:r>
              <a:rPr lang="es-ES" dirty="0" err="1"/>
              <a:t>here</a:t>
            </a:r>
            <a:endParaRPr lang="es-ES" dirty="0"/>
          </a:p>
        </p:txBody>
      </p:sp>
      <p:sp>
        <p:nvSpPr>
          <p:cNvPr id="18" name="Rectangle 17">
            <a:extLst>
              <a:ext uri="{FF2B5EF4-FFF2-40B4-BE49-F238E27FC236}">
                <a16:creationId xmlns:a16="http://schemas.microsoft.com/office/drawing/2014/main" id="{FDBFD6D7-D8CF-4E13-8EC2-8A937ABF2342}"/>
              </a:ext>
            </a:extLst>
          </p:cNvPr>
          <p:cNvSpPr/>
          <p:nvPr userDrawn="1"/>
        </p:nvSpPr>
        <p:spPr>
          <a:xfrm>
            <a:off x="3051745"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0" name="Rectangle 19">
            <a:extLst>
              <a:ext uri="{FF2B5EF4-FFF2-40B4-BE49-F238E27FC236}">
                <a16:creationId xmlns:a16="http://schemas.microsoft.com/office/drawing/2014/main" id="{FE1FB4FA-95BE-468B-BFE7-E073740D98C9}"/>
              </a:ext>
            </a:extLst>
          </p:cNvPr>
          <p:cNvSpPr/>
          <p:nvPr userDrawn="1"/>
        </p:nvSpPr>
        <p:spPr>
          <a:xfrm>
            <a:off x="7490"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1" name="Rectangle 20">
            <a:extLst>
              <a:ext uri="{FF2B5EF4-FFF2-40B4-BE49-F238E27FC236}">
                <a16:creationId xmlns:a16="http://schemas.microsoft.com/office/drawing/2014/main" id="{2DFA3AF9-3B29-475E-A8CB-9EE6D80472C1}"/>
              </a:ext>
            </a:extLst>
          </p:cNvPr>
          <p:cNvSpPr/>
          <p:nvPr userDrawn="1"/>
        </p:nvSpPr>
        <p:spPr>
          <a:xfrm>
            <a:off x="9149414"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2" name="Rectangle 21">
            <a:extLst>
              <a:ext uri="{FF2B5EF4-FFF2-40B4-BE49-F238E27FC236}">
                <a16:creationId xmlns:a16="http://schemas.microsoft.com/office/drawing/2014/main" id="{029189E1-7B64-442A-907F-CC6700ED630B}"/>
              </a:ext>
            </a:extLst>
          </p:cNvPr>
          <p:cNvSpPr/>
          <p:nvPr userDrawn="1"/>
        </p:nvSpPr>
        <p:spPr>
          <a:xfrm>
            <a:off x="6105159"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6" name="Marcador de texto 10">
            <a:extLst>
              <a:ext uri="{FF2B5EF4-FFF2-40B4-BE49-F238E27FC236}">
                <a16:creationId xmlns:a16="http://schemas.microsoft.com/office/drawing/2014/main" id="{B2DD11A6-CA44-411D-B8C7-946C195B8B6D}"/>
              </a:ext>
            </a:extLst>
          </p:cNvPr>
          <p:cNvSpPr>
            <a:spLocks noGrp="1"/>
          </p:cNvSpPr>
          <p:nvPr>
            <p:ph type="body" sz="quarter" idx="10" hasCustomPrompt="1"/>
          </p:nvPr>
        </p:nvSpPr>
        <p:spPr>
          <a:xfrm>
            <a:off x="698500" y="5734050"/>
            <a:ext cx="5397500" cy="674688"/>
          </a:xfrm>
          <a:prstGeom prst="rect">
            <a:avLst/>
          </a:prstGeom>
        </p:spPr>
        <p:txBody>
          <a:bodyPr/>
          <a:lstStyle>
            <a:lvl1pPr algn="l">
              <a:lnSpc>
                <a:spcPct val="140000"/>
              </a:lnSpc>
              <a:spcBef>
                <a:spcPts val="0"/>
              </a:spcBef>
              <a:buFontTx/>
              <a:buNone/>
              <a:defRPr sz="1200">
                <a:solidFill>
                  <a:schemeClr val="tx1"/>
                </a:solidFill>
              </a:defRPr>
            </a:lvl1pPr>
            <a:lvl2pPr algn="ctr">
              <a:buFontTx/>
              <a:buNone/>
              <a:defRPr sz="1200">
                <a:solidFill>
                  <a:schemeClr val="bg1"/>
                </a:solidFill>
              </a:defRPr>
            </a:lvl2pPr>
            <a:lvl3pPr algn="ctr">
              <a:buFontTx/>
              <a:buNone/>
              <a:defRPr sz="1200">
                <a:solidFill>
                  <a:schemeClr val="bg1"/>
                </a:solidFill>
              </a:defRPr>
            </a:lvl3pPr>
            <a:lvl4pPr algn="ctr">
              <a:buFontTx/>
              <a:buNone/>
              <a:defRPr sz="1200">
                <a:solidFill>
                  <a:schemeClr val="bg1"/>
                </a:solidFill>
              </a:defRPr>
            </a:lvl4pPr>
            <a:lvl5pPr algn="ctr">
              <a:buFontTx/>
              <a:buNone/>
              <a:defRPr sz="1200">
                <a:solidFill>
                  <a:schemeClr val="bg1"/>
                </a:solidFill>
              </a:defRPr>
            </a:lvl5pPr>
          </a:lstStyle>
          <a:p>
            <a:pPr lvl="0"/>
            <a:r>
              <a:rPr lang="es-ES" dirty="0" err="1"/>
              <a:t>Name</a:t>
            </a:r>
            <a:r>
              <a:rPr lang="es-ES" dirty="0"/>
              <a:t> </a:t>
            </a:r>
            <a:br>
              <a:rPr lang="es-ES" dirty="0"/>
            </a:br>
            <a:r>
              <a:rPr lang="es-ES" dirty="0"/>
              <a:t>Job </a:t>
            </a:r>
            <a:r>
              <a:rPr lang="es-ES" dirty="0" err="1"/>
              <a:t>Title</a:t>
            </a:r>
            <a:endParaRPr lang="es-ES" dirty="0"/>
          </a:p>
        </p:txBody>
      </p:sp>
      <p:pic>
        <p:nvPicPr>
          <p:cNvPr id="17" name="Graphic 10">
            <a:extLst>
              <a:ext uri="{FF2B5EF4-FFF2-40B4-BE49-F238E27FC236}">
                <a16:creationId xmlns:a16="http://schemas.microsoft.com/office/drawing/2014/main" id="{34696A26-5DA4-4450-A8B9-0A832630CE2E}"/>
              </a:ext>
            </a:extLst>
          </p:cNvPr>
          <p:cNvPicPr>
            <a:picLocks noChangeAspect="1"/>
          </p:cNvPicPr>
          <p:nvPr userDrawn="1"/>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85959" y="532355"/>
            <a:ext cx="2435642" cy="585491"/>
          </a:xfrm>
          <a:prstGeom prst="rect">
            <a:avLst/>
          </a:prstGeom>
        </p:spPr>
      </p:pic>
    </p:spTree>
    <p:extLst>
      <p:ext uri="{BB962C8B-B14F-4D97-AF65-F5344CB8AC3E}">
        <p14:creationId xmlns:p14="http://schemas.microsoft.com/office/powerpoint/2010/main" val="382216418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s 1">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D712543-C931-4CDB-8C18-B6AF63B402F6}"/>
              </a:ext>
            </a:extLst>
          </p:cNvPr>
          <p:cNvGraphicFramePr>
            <a:graphicFrameLocks noChangeAspect="1"/>
          </p:cNvGraphicFramePr>
          <p:nvPr userDrawn="1">
            <p:custDataLst>
              <p:tags r:id="rId2"/>
            </p:custDataLst>
            <p:extLst>
              <p:ext uri="{D42A27DB-BD31-4B8C-83A1-F6EECF244321}">
                <p14:modId xmlns:p14="http://schemas.microsoft.com/office/powerpoint/2010/main" val="1374146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00" name="think-cell Slide" r:id="rId4" imgW="473" imgH="474" progId="TCLayout.ActiveDocument.1">
                  <p:embed/>
                </p:oleObj>
              </mc:Choice>
              <mc:Fallback>
                <p:oleObj name="think-cell Slide" r:id="rId4" imgW="473" imgH="474" progId="TCLayout.ActiveDocument.1">
                  <p:embed/>
                  <p:pic>
                    <p:nvPicPr>
                      <p:cNvPr id="4" name="Object 3" hidden="1">
                        <a:extLst>
                          <a:ext uri="{FF2B5EF4-FFF2-40B4-BE49-F238E27FC236}">
                            <a16:creationId xmlns:a16="http://schemas.microsoft.com/office/drawing/2014/main" id="{2D712543-C931-4CDB-8C18-B6AF63B402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Marcador de texto 2">
            <a:extLst>
              <a:ext uri="{FF2B5EF4-FFF2-40B4-BE49-F238E27FC236}">
                <a16:creationId xmlns:a16="http://schemas.microsoft.com/office/drawing/2014/main" id="{3F0C780B-1E6E-4C86-B20D-A99207ADDDEE}"/>
              </a:ext>
            </a:extLst>
          </p:cNvPr>
          <p:cNvSpPr>
            <a:spLocks noGrp="1"/>
          </p:cNvSpPr>
          <p:nvPr>
            <p:ph type="body" idx="10" hasCustomPrompt="1"/>
          </p:nvPr>
        </p:nvSpPr>
        <p:spPr>
          <a:xfrm>
            <a:off x="368790" y="722639"/>
            <a:ext cx="11446270" cy="240142"/>
          </a:xfrm>
          <a:prstGeom prst="rect">
            <a:avLst/>
          </a:prstGeom>
        </p:spPr>
        <p:txBody>
          <a:bodyPr lIns="0" tIns="0" rIns="0" bIns="0" anchor="t"/>
          <a:lstStyle>
            <a:lvl1pPr marL="0" indent="0">
              <a:lnSpc>
                <a:spcPct val="100000"/>
              </a:lnSpc>
              <a:spcBef>
                <a:spcPts val="0"/>
              </a:spcBef>
              <a:buNone/>
              <a:defRPr sz="2000" b="0">
                <a:solidFill>
                  <a:srgbClr val="000000"/>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err="1"/>
              <a:t>Subtitle</a:t>
            </a:r>
            <a:endParaRPr lang="es-ES" dirty="0"/>
          </a:p>
        </p:txBody>
      </p:sp>
      <p:sp>
        <p:nvSpPr>
          <p:cNvPr id="2" name="Title 1">
            <a:extLst>
              <a:ext uri="{FF2B5EF4-FFF2-40B4-BE49-F238E27FC236}">
                <a16:creationId xmlns:a16="http://schemas.microsoft.com/office/drawing/2014/main" id="{FFE7489F-CE52-4DFB-AA46-1322AC079E9B}"/>
              </a:ext>
            </a:extLst>
          </p:cNvPr>
          <p:cNvSpPr>
            <a:spLocks noGrp="1"/>
          </p:cNvSpPr>
          <p:nvPr>
            <p:ph type="title"/>
          </p:nvPr>
        </p:nvSpPr>
        <p:spPr/>
        <p:txBody>
          <a:bodyPr/>
          <a:lstStyle/>
          <a:p>
            <a:r>
              <a:rPr lang="en-US"/>
              <a:t>Click to edit Master title style</a:t>
            </a:r>
          </a:p>
        </p:txBody>
      </p:sp>
      <p:sp>
        <p:nvSpPr>
          <p:cNvPr id="17" name="Marcador de texto 3">
            <a:extLst>
              <a:ext uri="{FF2B5EF4-FFF2-40B4-BE49-F238E27FC236}">
                <a16:creationId xmlns:a16="http://schemas.microsoft.com/office/drawing/2014/main" id="{0C49E653-61AB-48B8-9785-162E18035F96}"/>
              </a:ext>
            </a:extLst>
          </p:cNvPr>
          <p:cNvSpPr>
            <a:spLocks noGrp="1"/>
          </p:cNvSpPr>
          <p:nvPr>
            <p:ph type="body" sz="quarter" idx="15" hasCustomPrompt="1"/>
          </p:nvPr>
        </p:nvSpPr>
        <p:spPr>
          <a:xfrm>
            <a:off x="380333" y="3774087"/>
            <a:ext cx="1905668" cy="320400"/>
          </a:xfrm>
          <a:prstGeom prst="rect">
            <a:avLst/>
          </a:prstGeom>
        </p:spPr>
        <p:txBody>
          <a:bodyPr lIns="0" tIns="0" rIns="0" bIns="0"/>
          <a:lstStyle>
            <a:lvl1pPr algn="ctr">
              <a:buNone/>
              <a:defRPr sz="1400" b="1">
                <a:solidFill>
                  <a:srgbClr val="DA291C"/>
                </a:solidFill>
                <a:latin typeface="+mj-lt"/>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n-GB" dirty="0"/>
              <a:t>Name</a:t>
            </a:r>
          </a:p>
        </p:txBody>
      </p:sp>
      <p:sp>
        <p:nvSpPr>
          <p:cNvPr id="20" name="Text Placeholder 7">
            <a:extLst>
              <a:ext uri="{FF2B5EF4-FFF2-40B4-BE49-F238E27FC236}">
                <a16:creationId xmlns:a16="http://schemas.microsoft.com/office/drawing/2014/main" id="{0A66AF26-BD64-4A02-B322-7168C7222F81}"/>
              </a:ext>
            </a:extLst>
          </p:cNvPr>
          <p:cNvSpPr>
            <a:spLocks noGrp="1"/>
          </p:cNvSpPr>
          <p:nvPr>
            <p:ph type="body" sz="quarter" idx="18" hasCustomPrompt="1"/>
          </p:nvPr>
        </p:nvSpPr>
        <p:spPr>
          <a:xfrm>
            <a:off x="368790" y="4090931"/>
            <a:ext cx="1911139" cy="320400"/>
          </a:xfrm>
        </p:spPr>
        <p:txBody>
          <a:bodyPr/>
          <a:lstStyle>
            <a:lvl1pPr algn="ctr">
              <a:defRPr sz="1400"/>
            </a:lvl1pPr>
          </a:lstStyle>
          <a:p>
            <a:pPr lvl="0"/>
            <a:r>
              <a:rPr lang="en-US" dirty="0"/>
              <a:t>Title</a:t>
            </a:r>
          </a:p>
        </p:txBody>
      </p:sp>
      <p:sp>
        <p:nvSpPr>
          <p:cNvPr id="21" name="Text Placeholder 7">
            <a:extLst>
              <a:ext uri="{FF2B5EF4-FFF2-40B4-BE49-F238E27FC236}">
                <a16:creationId xmlns:a16="http://schemas.microsoft.com/office/drawing/2014/main" id="{0EAE9864-12F5-4411-80F9-60E742D614AC}"/>
              </a:ext>
            </a:extLst>
          </p:cNvPr>
          <p:cNvSpPr>
            <a:spLocks noGrp="1"/>
          </p:cNvSpPr>
          <p:nvPr>
            <p:ph type="body" sz="quarter" idx="19"/>
          </p:nvPr>
        </p:nvSpPr>
        <p:spPr>
          <a:xfrm>
            <a:off x="367200" y="4571531"/>
            <a:ext cx="1911139" cy="320400"/>
          </a:xfrm>
        </p:spPr>
        <p:txBody>
          <a:bodyPr/>
          <a:lstStyle>
            <a:lvl1pPr algn="ctr">
              <a:defRPr sz="1200"/>
            </a:lvl1pPr>
          </a:lstStyle>
          <a:p>
            <a:pPr lvl="0"/>
            <a:endParaRPr lang="en-US" dirty="0"/>
          </a:p>
        </p:txBody>
      </p:sp>
      <p:sp>
        <p:nvSpPr>
          <p:cNvPr id="22" name="Picture Placeholder 5">
            <a:extLst>
              <a:ext uri="{FF2B5EF4-FFF2-40B4-BE49-F238E27FC236}">
                <a16:creationId xmlns:a16="http://schemas.microsoft.com/office/drawing/2014/main" id="{BF0ACD57-68A3-4F4B-8D46-AB173F72D4A6}"/>
              </a:ext>
            </a:extLst>
          </p:cNvPr>
          <p:cNvSpPr>
            <a:spLocks noGrp="1"/>
          </p:cNvSpPr>
          <p:nvPr>
            <p:ph type="pic" sz="quarter" idx="54"/>
          </p:nvPr>
        </p:nvSpPr>
        <p:spPr>
          <a:xfrm>
            <a:off x="380334" y="1610580"/>
            <a:ext cx="1905668" cy="1905668"/>
          </a:xfrm>
          <a:prstGeom prst="flowChartConnector">
            <a:avLst/>
          </a:prstGeom>
          <a:ln>
            <a:solidFill>
              <a:srgbClr val="DA281C"/>
            </a:solidFill>
          </a:ln>
        </p:spPr>
      </p:sp>
      <p:sp>
        <p:nvSpPr>
          <p:cNvPr id="23" name="Marcador de texto 3">
            <a:extLst>
              <a:ext uri="{FF2B5EF4-FFF2-40B4-BE49-F238E27FC236}">
                <a16:creationId xmlns:a16="http://schemas.microsoft.com/office/drawing/2014/main" id="{B2615C21-B865-493A-A609-CEA33678B69A}"/>
              </a:ext>
            </a:extLst>
          </p:cNvPr>
          <p:cNvSpPr>
            <a:spLocks noGrp="1"/>
          </p:cNvSpPr>
          <p:nvPr>
            <p:ph type="body" sz="quarter" idx="55" hasCustomPrompt="1"/>
          </p:nvPr>
        </p:nvSpPr>
        <p:spPr>
          <a:xfrm>
            <a:off x="2777076" y="3774087"/>
            <a:ext cx="1905668" cy="320400"/>
          </a:xfrm>
          <a:prstGeom prst="rect">
            <a:avLst/>
          </a:prstGeom>
        </p:spPr>
        <p:txBody>
          <a:bodyPr lIns="0" tIns="0" rIns="0" bIns="0"/>
          <a:lstStyle>
            <a:lvl1pPr algn="ctr">
              <a:buNone/>
              <a:defRPr sz="1400" b="1">
                <a:solidFill>
                  <a:srgbClr val="DA291C"/>
                </a:solidFill>
                <a:latin typeface="+mj-lt"/>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n-GB" dirty="0"/>
              <a:t>Name</a:t>
            </a:r>
          </a:p>
        </p:txBody>
      </p:sp>
      <p:sp>
        <p:nvSpPr>
          <p:cNvPr id="24" name="Text Placeholder 7">
            <a:extLst>
              <a:ext uri="{FF2B5EF4-FFF2-40B4-BE49-F238E27FC236}">
                <a16:creationId xmlns:a16="http://schemas.microsoft.com/office/drawing/2014/main" id="{56E0F5BF-7F55-4F2F-835C-C9483763A4EB}"/>
              </a:ext>
            </a:extLst>
          </p:cNvPr>
          <p:cNvSpPr>
            <a:spLocks noGrp="1"/>
          </p:cNvSpPr>
          <p:nvPr>
            <p:ph type="body" sz="quarter" idx="56" hasCustomPrompt="1"/>
          </p:nvPr>
        </p:nvSpPr>
        <p:spPr>
          <a:xfrm>
            <a:off x="2765533" y="4090931"/>
            <a:ext cx="1911139" cy="320400"/>
          </a:xfrm>
        </p:spPr>
        <p:txBody>
          <a:bodyPr/>
          <a:lstStyle>
            <a:lvl1pPr algn="ctr">
              <a:defRPr sz="1400"/>
            </a:lvl1pPr>
          </a:lstStyle>
          <a:p>
            <a:pPr lvl="0"/>
            <a:r>
              <a:rPr lang="en-US" dirty="0"/>
              <a:t>Title</a:t>
            </a:r>
          </a:p>
        </p:txBody>
      </p:sp>
      <p:sp>
        <p:nvSpPr>
          <p:cNvPr id="25" name="Text Placeholder 7">
            <a:extLst>
              <a:ext uri="{FF2B5EF4-FFF2-40B4-BE49-F238E27FC236}">
                <a16:creationId xmlns:a16="http://schemas.microsoft.com/office/drawing/2014/main" id="{BFA52962-93FE-479B-9C23-496A842C75FE}"/>
              </a:ext>
            </a:extLst>
          </p:cNvPr>
          <p:cNvSpPr>
            <a:spLocks noGrp="1"/>
          </p:cNvSpPr>
          <p:nvPr>
            <p:ph type="body" sz="quarter" idx="57"/>
          </p:nvPr>
        </p:nvSpPr>
        <p:spPr>
          <a:xfrm>
            <a:off x="2763943" y="4571531"/>
            <a:ext cx="1911139" cy="320400"/>
          </a:xfrm>
        </p:spPr>
        <p:txBody>
          <a:bodyPr/>
          <a:lstStyle>
            <a:lvl1pPr algn="ctr">
              <a:defRPr sz="1200"/>
            </a:lvl1pPr>
          </a:lstStyle>
          <a:p>
            <a:pPr lvl="0"/>
            <a:endParaRPr lang="en-US" dirty="0"/>
          </a:p>
        </p:txBody>
      </p:sp>
      <p:sp>
        <p:nvSpPr>
          <p:cNvPr id="27" name="Marcador de texto 3">
            <a:extLst>
              <a:ext uri="{FF2B5EF4-FFF2-40B4-BE49-F238E27FC236}">
                <a16:creationId xmlns:a16="http://schemas.microsoft.com/office/drawing/2014/main" id="{9374E478-A589-44D9-95BF-941C56606E74}"/>
              </a:ext>
            </a:extLst>
          </p:cNvPr>
          <p:cNvSpPr>
            <a:spLocks noGrp="1"/>
          </p:cNvSpPr>
          <p:nvPr>
            <p:ph type="body" sz="quarter" idx="59" hasCustomPrompt="1"/>
          </p:nvPr>
        </p:nvSpPr>
        <p:spPr>
          <a:xfrm>
            <a:off x="5164893" y="3774087"/>
            <a:ext cx="1905668" cy="320400"/>
          </a:xfrm>
          <a:prstGeom prst="rect">
            <a:avLst/>
          </a:prstGeom>
        </p:spPr>
        <p:txBody>
          <a:bodyPr lIns="0" tIns="0" rIns="0" bIns="0"/>
          <a:lstStyle>
            <a:lvl1pPr algn="ctr">
              <a:buNone/>
              <a:defRPr sz="1400" b="1">
                <a:solidFill>
                  <a:srgbClr val="DA291C"/>
                </a:solidFill>
                <a:latin typeface="+mj-lt"/>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n-GB" dirty="0"/>
              <a:t>Name</a:t>
            </a:r>
          </a:p>
        </p:txBody>
      </p:sp>
      <p:sp>
        <p:nvSpPr>
          <p:cNvPr id="28" name="Text Placeholder 7">
            <a:extLst>
              <a:ext uri="{FF2B5EF4-FFF2-40B4-BE49-F238E27FC236}">
                <a16:creationId xmlns:a16="http://schemas.microsoft.com/office/drawing/2014/main" id="{886B245A-78BF-428A-89B5-1291FF0856CD}"/>
              </a:ext>
            </a:extLst>
          </p:cNvPr>
          <p:cNvSpPr>
            <a:spLocks noGrp="1"/>
          </p:cNvSpPr>
          <p:nvPr>
            <p:ph type="body" sz="quarter" idx="60" hasCustomPrompt="1"/>
          </p:nvPr>
        </p:nvSpPr>
        <p:spPr>
          <a:xfrm>
            <a:off x="5153350" y="4090931"/>
            <a:ext cx="1911139" cy="320400"/>
          </a:xfrm>
        </p:spPr>
        <p:txBody>
          <a:bodyPr/>
          <a:lstStyle>
            <a:lvl1pPr algn="ctr">
              <a:defRPr sz="1400"/>
            </a:lvl1pPr>
          </a:lstStyle>
          <a:p>
            <a:pPr lvl="0"/>
            <a:r>
              <a:rPr lang="en-US" dirty="0"/>
              <a:t>Title</a:t>
            </a:r>
          </a:p>
        </p:txBody>
      </p:sp>
      <p:sp>
        <p:nvSpPr>
          <p:cNvPr id="29" name="Text Placeholder 7">
            <a:extLst>
              <a:ext uri="{FF2B5EF4-FFF2-40B4-BE49-F238E27FC236}">
                <a16:creationId xmlns:a16="http://schemas.microsoft.com/office/drawing/2014/main" id="{F9F295AE-60AC-46EA-813A-91CA58A38AD3}"/>
              </a:ext>
            </a:extLst>
          </p:cNvPr>
          <p:cNvSpPr>
            <a:spLocks noGrp="1"/>
          </p:cNvSpPr>
          <p:nvPr>
            <p:ph type="body" sz="quarter" idx="61"/>
          </p:nvPr>
        </p:nvSpPr>
        <p:spPr>
          <a:xfrm>
            <a:off x="5151760" y="4571531"/>
            <a:ext cx="1911139" cy="320400"/>
          </a:xfrm>
        </p:spPr>
        <p:txBody>
          <a:bodyPr/>
          <a:lstStyle>
            <a:lvl1pPr algn="ctr">
              <a:defRPr sz="1200"/>
            </a:lvl1pPr>
          </a:lstStyle>
          <a:p>
            <a:pPr lvl="0"/>
            <a:endParaRPr lang="en-US" dirty="0"/>
          </a:p>
        </p:txBody>
      </p:sp>
      <p:sp>
        <p:nvSpPr>
          <p:cNvPr id="33" name="Marcador de texto 3">
            <a:extLst>
              <a:ext uri="{FF2B5EF4-FFF2-40B4-BE49-F238E27FC236}">
                <a16:creationId xmlns:a16="http://schemas.microsoft.com/office/drawing/2014/main" id="{429AF4EC-4ECF-45FD-81B9-6BB2E0BB724A}"/>
              </a:ext>
            </a:extLst>
          </p:cNvPr>
          <p:cNvSpPr>
            <a:spLocks noGrp="1"/>
          </p:cNvSpPr>
          <p:nvPr>
            <p:ph type="body" sz="quarter" idx="63" hasCustomPrompt="1"/>
          </p:nvPr>
        </p:nvSpPr>
        <p:spPr>
          <a:xfrm>
            <a:off x="7518180" y="3774087"/>
            <a:ext cx="1905668" cy="320400"/>
          </a:xfrm>
          <a:prstGeom prst="rect">
            <a:avLst/>
          </a:prstGeom>
        </p:spPr>
        <p:txBody>
          <a:bodyPr lIns="0" tIns="0" rIns="0" bIns="0"/>
          <a:lstStyle>
            <a:lvl1pPr algn="ctr">
              <a:buNone/>
              <a:defRPr sz="1400" b="1">
                <a:solidFill>
                  <a:srgbClr val="DA291C"/>
                </a:solidFill>
                <a:latin typeface="+mj-lt"/>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n-GB" dirty="0"/>
              <a:t>Name</a:t>
            </a:r>
          </a:p>
        </p:txBody>
      </p:sp>
      <p:sp>
        <p:nvSpPr>
          <p:cNvPr id="34" name="Text Placeholder 7">
            <a:extLst>
              <a:ext uri="{FF2B5EF4-FFF2-40B4-BE49-F238E27FC236}">
                <a16:creationId xmlns:a16="http://schemas.microsoft.com/office/drawing/2014/main" id="{0927241F-B0ED-471B-9A04-E5C8EDCCD84D}"/>
              </a:ext>
            </a:extLst>
          </p:cNvPr>
          <p:cNvSpPr>
            <a:spLocks noGrp="1"/>
          </p:cNvSpPr>
          <p:nvPr>
            <p:ph type="body" sz="quarter" idx="64" hasCustomPrompt="1"/>
          </p:nvPr>
        </p:nvSpPr>
        <p:spPr>
          <a:xfrm>
            <a:off x="7506637" y="4094487"/>
            <a:ext cx="1911139" cy="320400"/>
          </a:xfrm>
        </p:spPr>
        <p:txBody>
          <a:bodyPr/>
          <a:lstStyle>
            <a:lvl1pPr algn="ctr">
              <a:defRPr sz="1400"/>
            </a:lvl1pPr>
          </a:lstStyle>
          <a:p>
            <a:pPr lvl="0"/>
            <a:r>
              <a:rPr lang="en-US" dirty="0"/>
              <a:t>Title</a:t>
            </a:r>
          </a:p>
        </p:txBody>
      </p:sp>
      <p:sp>
        <p:nvSpPr>
          <p:cNvPr id="35" name="Text Placeholder 7">
            <a:extLst>
              <a:ext uri="{FF2B5EF4-FFF2-40B4-BE49-F238E27FC236}">
                <a16:creationId xmlns:a16="http://schemas.microsoft.com/office/drawing/2014/main" id="{481F0965-84DB-441B-A919-9EB8F9A95229}"/>
              </a:ext>
            </a:extLst>
          </p:cNvPr>
          <p:cNvSpPr>
            <a:spLocks noGrp="1"/>
          </p:cNvSpPr>
          <p:nvPr>
            <p:ph type="body" sz="quarter" idx="65"/>
          </p:nvPr>
        </p:nvSpPr>
        <p:spPr>
          <a:xfrm>
            <a:off x="7505047" y="4575087"/>
            <a:ext cx="1911139" cy="320400"/>
          </a:xfrm>
        </p:spPr>
        <p:txBody>
          <a:bodyPr/>
          <a:lstStyle>
            <a:lvl1pPr algn="ctr">
              <a:defRPr sz="1200"/>
            </a:lvl1pPr>
          </a:lstStyle>
          <a:p>
            <a:pPr lvl="0"/>
            <a:endParaRPr lang="en-US" dirty="0"/>
          </a:p>
        </p:txBody>
      </p:sp>
      <p:sp>
        <p:nvSpPr>
          <p:cNvPr id="37" name="Marcador de texto 3">
            <a:extLst>
              <a:ext uri="{FF2B5EF4-FFF2-40B4-BE49-F238E27FC236}">
                <a16:creationId xmlns:a16="http://schemas.microsoft.com/office/drawing/2014/main" id="{DF1426F8-ECFC-437E-9694-A0D593323E4B}"/>
              </a:ext>
            </a:extLst>
          </p:cNvPr>
          <p:cNvSpPr>
            <a:spLocks noGrp="1"/>
          </p:cNvSpPr>
          <p:nvPr>
            <p:ph type="body" sz="quarter" idx="67" hasCustomPrompt="1"/>
          </p:nvPr>
        </p:nvSpPr>
        <p:spPr>
          <a:xfrm>
            <a:off x="9905997" y="3774087"/>
            <a:ext cx="1905668" cy="320400"/>
          </a:xfrm>
          <a:prstGeom prst="rect">
            <a:avLst/>
          </a:prstGeom>
        </p:spPr>
        <p:txBody>
          <a:bodyPr lIns="0" tIns="0" rIns="0" bIns="0"/>
          <a:lstStyle>
            <a:lvl1pPr algn="ctr">
              <a:buNone/>
              <a:defRPr sz="1400" b="1">
                <a:solidFill>
                  <a:srgbClr val="DA291C"/>
                </a:solidFill>
                <a:latin typeface="+mj-lt"/>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n-GB" dirty="0"/>
              <a:t>Name</a:t>
            </a:r>
          </a:p>
        </p:txBody>
      </p:sp>
      <p:sp>
        <p:nvSpPr>
          <p:cNvPr id="38" name="Text Placeholder 7">
            <a:extLst>
              <a:ext uri="{FF2B5EF4-FFF2-40B4-BE49-F238E27FC236}">
                <a16:creationId xmlns:a16="http://schemas.microsoft.com/office/drawing/2014/main" id="{23BEDB5C-F691-4801-95E9-B3AD4EF56B8E}"/>
              </a:ext>
            </a:extLst>
          </p:cNvPr>
          <p:cNvSpPr>
            <a:spLocks noGrp="1"/>
          </p:cNvSpPr>
          <p:nvPr>
            <p:ph type="body" sz="quarter" idx="68" hasCustomPrompt="1"/>
          </p:nvPr>
        </p:nvSpPr>
        <p:spPr>
          <a:xfrm>
            <a:off x="9894454" y="4094487"/>
            <a:ext cx="1911139" cy="320400"/>
          </a:xfrm>
        </p:spPr>
        <p:txBody>
          <a:bodyPr/>
          <a:lstStyle>
            <a:lvl1pPr algn="ctr">
              <a:defRPr sz="1400"/>
            </a:lvl1pPr>
          </a:lstStyle>
          <a:p>
            <a:pPr lvl="0"/>
            <a:r>
              <a:rPr lang="en-US" dirty="0"/>
              <a:t>Title</a:t>
            </a:r>
          </a:p>
        </p:txBody>
      </p:sp>
      <p:sp>
        <p:nvSpPr>
          <p:cNvPr id="39" name="Text Placeholder 7">
            <a:extLst>
              <a:ext uri="{FF2B5EF4-FFF2-40B4-BE49-F238E27FC236}">
                <a16:creationId xmlns:a16="http://schemas.microsoft.com/office/drawing/2014/main" id="{D9E6FC8A-0FF6-47BA-AF19-9D4278857684}"/>
              </a:ext>
            </a:extLst>
          </p:cNvPr>
          <p:cNvSpPr>
            <a:spLocks noGrp="1"/>
          </p:cNvSpPr>
          <p:nvPr>
            <p:ph type="body" sz="quarter" idx="69"/>
          </p:nvPr>
        </p:nvSpPr>
        <p:spPr>
          <a:xfrm>
            <a:off x="9892864" y="4575087"/>
            <a:ext cx="1911139" cy="320400"/>
          </a:xfrm>
        </p:spPr>
        <p:txBody>
          <a:bodyPr/>
          <a:lstStyle>
            <a:lvl1pPr algn="ctr">
              <a:defRPr sz="1200"/>
            </a:lvl1pPr>
          </a:lstStyle>
          <a:p>
            <a:pPr lvl="0"/>
            <a:endParaRPr lang="en-US" dirty="0"/>
          </a:p>
        </p:txBody>
      </p:sp>
      <p:grpSp>
        <p:nvGrpSpPr>
          <p:cNvPr id="9" name="Group 8">
            <a:extLst>
              <a:ext uri="{FF2B5EF4-FFF2-40B4-BE49-F238E27FC236}">
                <a16:creationId xmlns:a16="http://schemas.microsoft.com/office/drawing/2014/main" id="{B2D16484-7E8D-4B41-8F72-7DCD4D01B856}"/>
              </a:ext>
            </a:extLst>
          </p:cNvPr>
          <p:cNvGrpSpPr/>
          <p:nvPr userDrawn="1"/>
        </p:nvGrpSpPr>
        <p:grpSpPr>
          <a:xfrm>
            <a:off x="2515087" y="1393826"/>
            <a:ext cx="7130006" cy="3017505"/>
            <a:chOff x="2515087" y="1610580"/>
            <a:chExt cx="7130006" cy="3284907"/>
          </a:xfrm>
        </p:grpSpPr>
        <p:cxnSp>
          <p:nvCxnSpPr>
            <p:cNvPr id="32" name="Straight Connector 15">
              <a:extLst>
                <a:ext uri="{FF2B5EF4-FFF2-40B4-BE49-F238E27FC236}">
                  <a16:creationId xmlns:a16="http://schemas.microsoft.com/office/drawing/2014/main" id="{62EFDC07-05CE-40E0-BBF2-3F5FE4F2BFA4}"/>
                </a:ext>
              </a:extLst>
            </p:cNvPr>
            <p:cNvCxnSpPr>
              <a:cxnSpLocks/>
            </p:cNvCxnSpPr>
            <p:nvPr userDrawn="1"/>
          </p:nvCxnSpPr>
          <p:spPr>
            <a:xfrm>
              <a:off x="2515087" y="1610580"/>
              <a:ext cx="0" cy="3281351"/>
            </a:xfrm>
            <a:prstGeom prst="line">
              <a:avLst/>
            </a:prstGeom>
            <a:ln>
              <a:solidFill>
                <a:srgbClr val="DA281C"/>
              </a:solidFill>
            </a:ln>
          </p:spPr>
          <p:style>
            <a:lnRef idx="1">
              <a:schemeClr val="accent1"/>
            </a:lnRef>
            <a:fillRef idx="0">
              <a:schemeClr val="accent1"/>
            </a:fillRef>
            <a:effectRef idx="0">
              <a:schemeClr val="accent1"/>
            </a:effectRef>
            <a:fontRef idx="minor">
              <a:schemeClr val="tx1"/>
            </a:fontRef>
          </p:style>
        </p:cxnSp>
        <p:cxnSp>
          <p:nvCxnSpPr>
            <p:cNvPr id="41" name="Straight Connector 15">
              <a:extLst>
                <a:ext uri="{FF2B5EF4-FFF2-40B4-BE49-F238E27FC236}">
                  <a16:creationId xmlns:a16="http://schemas.microsoft.com/office/drawing/2014/main" id="{751022F7-67C4-44EC-B85A-6CC9CBA4E480}"/>
                </a:ext>
              </a:extLst>
            </p:cNvPr>
            <p:cNvCxnSpPr>
              <a:cxnSpLocks/>
            </p:cNvCxnSpPr>
            <p:nvPr userDrawn="1"/>
          </p:nvCxnSpPr>
          <p:spPr>
            <a:xfrm>
              <a:off x="4918763" y="1614136"/>
              <a:ext cx="0" cy="3281351"/>
            </a:xfrm>
            <a:prstGeom prst="line">
              <a:avLst/>
            </a:prstGeom>
            <a:ln>
              <a:solidFill>
                <a:srgbClr val="DA281C"/>
              </a:solidFill>
            </a:ln>
          </p:spPr>
          <p:style>
            <a:lnRef idx="1">
              <a:schemeClr val="accent1"/>
            </a:lnRef>
            <a:fillRef idx="0">
              <a:schemeClr val="accent1"/>
            </a:fillRef>
            <a:effectRef idx="0">
              <a:schemeClr val="accent1"/>
            </a:effectRef>
            <a:fontRef idx="minor">
              <a:schemeClr val="tx1"/>
            </a:fontRef>
          </p:style>
        </p:cxnSp>
        <p:cxnSp>
          <p:nvCxnSpPr>
            <p:cNvPr id="42" name="Straight Connector 15">
              <a:extLst>
                <a:ext uri="{FF2B5EF4-FFF2-40B4-BE49-F238E27FC236}">
                  <a16:creationId xmlns:a16="http://schemas.microsoft.com/office/drawing/2014/main" id="{0C40ABE0-56FD-4F90-B5C1-30846769BC3A}"/>
                </a:ext>
              </a:extLst>
            </p:cNvPr>
            <p:cNvCxnSpPr>
              <a:cxnSpLocks/>
            </p:cNvCxnSpPr>
            <p:nvPr userDrawn="1"/>
          </p:nvCxnSpPr>
          <p:spPr>
            <a:xfrm>
              <a:off x="7287715" y="1614136"/>
              <a:ext cx="0" cy="3281351"/>
            </a:xfrm>
            <a:prstGeom prst="line">
              <a:avLst/>
            </a:prstGeom>
            <a:ln>
              <a:solidFill>
                <a:srgbClr val="DA281C"/>
              </a:solidFill>
            </a:ln>
          </p:spPr>
          <p:style>
            <a:lnRef idx="1">
              <a:schemeClr val="accent1"/>
            </a:lnRef>
            <a:fillRef idx="0">
              <a:schemeClr val="accent1"/>
            </a:fillRef>
            <a:effectRef idx="0">
              <a:schemeClr val="accent1"/>
            </a:effectRef>
            <a:fontRef idx="minor">
              <a:schemeClr val="tx1"/>
            </a:fontRef>
          </p:style>
        </p:cxnSp>
        <p:cxnSp>
          <p:nvCxnSpPr>
            <p:cNvPr id="43" name="Straight Connector 15">
              <a:extLst>
                <a:ext uri="{FF2B5EF4-FFF2-40B4-BE49-F238E27FC236}">
                  <a16:creationId xmlns:a16="http://schemas.microsoft.com/office/drawing/2014/main" id="{592E433E-C13F-44B3-B442-1FA9152C0646}"/>
                </a:ext>
              </a:extLst>
            </p:cNvPr>
            <p:cNvCxnSpPr>
              <a:cxnSpLocks/>
            </p:cNvCxnSpPr>
            <p:nvPr userDrawn="1"/>
          </p:nvCxnSpPr>
          <p:spPr>
            <a:xfrm>
              <a:off x="9645093" y="1610580"/>
              <a:ext cx="0" cy="3281351"/>
            </a:xfrm>
            <a:prstGeom prst="line">
              <a:avLst/>
            </a:prstGeom>
            <a:ln>
              <a:solidFill>
                <a:srgbClr val="DA281C"/>
              </a:solidFill>
            </a:ln>
          </p:spPr>
          <p:style>
            <a:lnRef idx="1">
              <a:schemeClr val="accent1"/>
            </a:lnRef>
            <a:fillRef idx="0">
              <a:schemeClr val="accent1"/>
            </a:fillRef>
            <a:effectRef idx="0">
              <a:schemeClr val="accent1"/>
            </a:effectRef>
            <a:fontRef idx="minor">
              <a:schemeClr val="tx1"/>
            </a:fontRef>
          </p:style>
        </p:cxnSp>
      </p:grpSp>
      <p:sp>
        <p:nvSpPr>
          <p:cNvPr id="46" name="Picture Placeholder 5">
            <a:extLst>
              <a:ext uri="{FF2B5EF4-FFF2-40B4-BE49-F238E27FC236}">
                <a16:creationId xmlns:a16="http://schemas.microsoft.com/office/drawing/2014/main" id="{641C083B-D083-41C9-853F-A2EF50EC7E2F}"/>
              </a:ext>
            </a:extLst>
          </p:cNvPr>
          <p:cNvSpPr>
            <a:spLocks noGrp="1"/>
          </p:cNvSpPr>
          <p:nvPr>
            <p:ph type="pic" sz="quarter" idx="70"/>
          </p:nvPr>
        </p:nvSpPr>
        <p:spPr>
          <a:xfrm>
            <a:off x="2778509" y="1523332"/>
            <a:ext cx="1905668" cy="1905668"/>
          </a:xfrm>
          <a:prstGeom prst="flowChartConnector">
            <a:avLst/>
          </a:prstGeom>
          <a:ln>
            <a:solidFill>
              <a:srgbClr val="DA281C"/>
            </a:solidFill>
          </a:ln>
        </p:spPr>
      </p:sp>
      <p:sp>
        <p:nvSpPr>
          <p:cNvPr id="47" name="Picture Placeholder 5">
            <a:extLst>
              <a:ext uri="{FF2B5EF4-FFF2-40B4-BE49-F238E27FC236}">
                <a16:creationId xmlns:a16="http://schemas.microsoft.com/office/drawing/2014/main" id="{CF257D79-2F30-471E-9052-D060FB7742E4}"/>
              </a:ext>
            </a:extLst>
          </p:cNvPr>
          <p:cNvSpPr>
            <a:spLocks noGrp="1"/>
          </p:cNvSpPr>
          <p:nvPr>
            <p:ph type="pic" sz="quarter" idx="71"/>
          </p:nvPr>
        </p:nvSpPr>
        <p:spPr>
          <a:xfrm>
            <a:off x="5164893" y="1523332"/>
            <a:ext cx="1905668" cy="1905668"/>
          </a:xfrm>
          <a:prstGeom prst="flowChartConnector">
            <a:avLst/>
          </a:prstGeom>
          <a:ln>
            <a:solidFill>
              <a:srgbClr val="DA281C"/>
            </a:solidFill>
          </a:ln>
        </p:spPr>
      </p:sp>
      <p:sp>
        <p:nvSpPr>
          <p:cNvPr id="48" name="Picture Placeholder 5">
            <a:extLst>
              <a:ext uri="{FF2B5EF4-FFF2-40B4-BE49-F238E27FC236}">
                <a16:creationId xmlns:a16="http://schemas.microsoft.com/office/drawing/2014/main" id="{570866A8-28A8-4BF0-88CE-1F0D0D0FECD1}"/>
              </a:ext>
            </a:extLst>
          </p:cNvPr>
          <p:cNvSpPr>
            <a:spLocks noGrp="1"/>
          </p:cNvSpPr>
          <p:nvPr>
            <p:ph type="pic" sz="quarter" idx="72"/>
          </p:nvPr>
        </p:nvSpPr>
        <p:spPr>
          <a:xfrm>
            <a:off x="7504870" y="1523332"/>
            <a:ext cx="1905668" cy="1905668"/>
          </a:xfrm>
          <a:prstGeom prst="flowChartConnector">
            <a:avLst/>
          </a:prstGeom>
          <a:ln>
            <a:solidFill>
              <a:srgbClr val="DA281C"/>
            </a:solidFill>
          </a:ln>
        </p:spPr>
        <p:txBody>
          <a:bodyPr/>
          <a:lstStyle/>
          <a:p>
            <a:endParaRPr lang="en-US" dirty="0"/>
          </a:p>
        </p:txBody>
      </p:sp>
      <p:sp>
        <p:nvSpPr>
          <p:cNvPr id="49" name="Picture Placeholder 5">
            <a:extLst>
              <a:ext uri="{FF2B5EF4-FFF2-40B4-BE49-F238E27FC236}">
                <a16:creationId xmlns:a16="http://schemas.microsoft.com/office/drawing/2014/main" id="{BC03A5DF-5669-49F5-A317-7031368E8C93}"/>
              </a:ext>
            </a:extLst>
          </p:cNvPr>
          <p:cNvSpPr>
            <a:spLocks noGrp="1"/>
          </p:cNvSpPr>
          <p:nvPr>
            <p:ph type="pic" sz="quarter" idx="73"/>
          </p:nvPr>
        </p:nvSpPr>
        <p:spPr>
          <a:xfrm>
            <a:off x="9898335" y="1523332"/>
            <a:ext cx="1905668" cy="1905668"/>
          </a:xfrm>
          <a:prstGeom prst="flowChartConnector">
            <a:avLst/>
          </a:prstGeom>
          <a:ln>
            <a:solidFill>
              <a:srgbClr val="DA281C"/>
            </a:solidFill>
          </a:ln>
        </p:spPr>
      </p:sp>
    </p:spTree>
    <p:extLst>
      <p:ext uri="{BB962C8B-B14F-4D97-AF65-F5344CB8AC3E}">
        <p14:creationId xmlns:p14="http://schemas.microsoft.com/office/powerpoint/2010/main" val="3005212786"/>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eams 2">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D712543-C931-4CDB-8C18-B6AF63B402F6}"/>
              </a:ext>
            </a:extLst>
          </p:cNvPr>
          <p:cNvGraphicFramePr>
            <a:graphicFrameLocks noChangeAspect="1"/>
          </p:cNvGraphicFramePr>
          <p:nvPr userDrawn="1">
            <p:custDataLst>
              <p:tags r:id="rId2"/>
            </p:custDataLst>
            <p:extLst>
              <p:ext uri="{D42A27DB-BD31-4B8C-83A1-F6EECF244321}">
                <p14:modId xmlns:p14="http://schemas.microsoft.com/office/powerpoint/2010/main" val="4292325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4" name="think-cell Slide" r:id="rId4" imgW="473" imgH="474" progId="TCLayout.ActiveDocument.1">
                  <p:embed/>
                </p:oleObj>
              </mc:Choice>
              <mc:Fallback>
                <p:oleObj name="think-cell Slide" r:id="rId4" imgW="473" imgH="474" progId="TCLayout.ActiveDocument.1">
                  <p:embed/>
                  <p:pic>
                    <p:nvPicPr>
                      <p:cNvPr id="4" name="Object 3" hidden="1">
                        <a:extLst>
                          <a:ext uri="{FF2B5EF4-FFF2-40B4-BE49-F238E27FC236}">
                            <a16:creationId xmlns:a16="http://schemas.microsoft.com/office/drawing/2014/main" id="{2D712543-C931-4CDB-8C18-B6AF63B402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Marcador de texto 2">
            <a:extLst>
              <a:ext uri="{FF2B5EF4-FFF2-40B4-BE49-F238E27FC236}">
                <a16:creationId xmlns:a16="http://schemas.microsoft.com/office/drawing/2014/main" id="{3F0C780B-1E6E-4C86-B20D-A99207ADDDEE}"/>
              </a:ext>
            </a:extLst>
          </p:cNvPr>
          <p:cNvSpPr>
            <a:spLocks noGrp="1"/>
          </p:cNvSpPr>
          <p:nvPr>
            <p:ph type="body" idx="10" hasCustomPrompt="1"/>
          </p:nvPr>
        </p:nvSpPr>
        <p:spPr>
          <a:xfrm>
            <a:off x="368790" y="722639"/>
            <a:ext cx="11446270" cy="240142"/>
          </a:xfrm>
          <a:prstGeom prst="rect">
            <a:avLst/>
          </a:prstGeom>
        </p:spPr>
        <p:txBody>
          <a:bodyPr lIns="0" tIns="0" rIns="0" bIns="0" anchor="t"/>
          <a:lstStyle>
            <a:lvl1pPr marL="0" indent="0">
              <a:lnSpc>
                <a:spcPct val="100000"/>
              </a:lnSpc>
              <a:spcBef>
                <a:spcPts val="0"/>
              </a:spcBef>
              <a:buNone/>
              <a:defRPr sz="2000" b="0">
                <a:solidFill>
                  <a:srgbClr val="000000"/>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err="1"/>
              <a:t>Subtitle</a:t>
            </a:r>
            <a:endParaRPr lang="es-ES" dirty="0"/>
          </a:p>
        </p:txBody>
      </p:sp>
      <p:sp>
        <p:nvSpPr>
          <p:cNvPr id="2" name="Title 1">
            <a:extLst>
              <a:ext uri="{FF2B5EF4-FFF2-40B4-BE49-F238E27FC236}">
                <a16:creationId xmlns:a16="http://schemas.microsoft.com/office/drawing/2014/main" id="{FFE7489F-CE52-4DFB-AA46-1322AC079E9B}"/>
              </a:ext>
            </a:extLst>
          </p:cNvPr>
          <p:cNvSpPr>
            <a:spLocks noGrp="1"/>
          </p:cNvSpPr>
          <p:nvPr>
            <p:ph type="title"/>
          </p:nvPr>
        </p:nvSpPr>
        <p:spPr/>
        <p:txBody>
          <a:bodyPr/>
          <a:lstStyle/>
          <a:p>
            <a:r>
              <a:rPr lang="en-US"/>
              <a:t>Click to edit Master title style</a:t>
            </a:r>
          </a:p>
        </p:txBody>
      </p:sp>
      <p:sp>
        <p:nvSpPr>
          <p:cNvPr id="17" name="Marcador de texto 3">
            <a:extLst>
              <a:ext uri="{FF2B5EF4-FFF2-40B4-BE49-F238E27FC236}">
                <a16:creationId xmlns:a16="http://schemas.microsoft.com/office/drawing/2014/main" id="{0C49E653-61AB-48B8-9785-162E18035F96}"/>
              </a:ext>
            </a:extLst>
          </p:cNvPr>
          <p:cNvSpPr>
            <a:spLocks noGrp="1"/>
          </p:cNvSpPr>
          <p:nvPr>
            <p:ph type="body" sz="quarter" idx="15" hasCustomPrompt="1"/>
          </p:nvPr>
        </p:nvSpPr>
        <p:spPr>
          <a:xfrm>
            <a:off x="1566737" y="1962538"/>
            <a:ext cx="2158119" cy="355489"/>
          </a:xfrm>
          <a:prstGeom prst="rect">
            <a:avLst/>
          </a:prstGeom>
        </p:spPr>
        <p:txBody>
          <a:bodyPr lIns="0" tIns="0" rIns="0" bIns="0"/>
          <a:lstStyle>
            <a:lvl1pPr algn="l">
              <a:buNone/>
              <a:defRPr sz="1400" b="1">
                <a:solidFill>
                  <a:srgbClr val="DA291C"/>
                </a:solidFill>
                <a:latin typeface="+mj-lt"/>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n-GB" dirty="0"/>
              <a:t>Name</a:t>
            </a:r>
          </a:p>
        </p:txBody>
      </p:sp>
      <p:sp>
        <p:nvSpPr>
          <p:cNvPr id="20" name="Text Placeholder 7">
            <a:extLst>
              <a:ext uri="{FF2B5EF4-FFF2-40B4-BE49-F238E27FC236}">
                <a16:creationId xmlns:a16="http://schemas.microsoft.com/office/drawing/2014/main" id="{0A66AF26-BD64-4A02-B322-7168C7222F81}"/>
              </a:ext>
            </a:extLst>
          </p:cNvPr>
          <p:cNvSpPr>
            <a:spLocks noGrp="1"/>
          </p:cNvSpPr>
          <p:nvPr>
            <p:ph type="body" sz="quarter" idx="18" hasCustomPrompt="1"/>
          </p:nvPr>
        </p:nvSpPr>
        <p:spPr>
          <a:xfrm>
            <a:off x="1555195" y="2282938"/>
            <a:ext cx="2164315" cy="355489"/>
          </a:xfrm>
        </p:spPr>
        <p:txBody>
          <a:bodyPr/>
          <a:lstStyle>
            <a:lvl1pPr algn="l">
              <a:defRPr sz="1400"/>
            </a:lvl1pPr>
          </a:lstStyle>
          <a:p>
            <a:pPr lvl="0"/>
            <a:r>
              <a:rPr lang="en-US" dirty="0"/>
              <a:t>Title</a:t>
            </a:r>
          </a:p>
        </p:txBody>
      </p:sp>
      <p:sp>
        <p:nvSpPr>
          <p:cNvPr id="21" name="Text Placeholder 7">
            <a:extLst>
              <a:ext uri="{FF2B5EF4-FFF2-40B4-BE49-F238E27FC236}">
                <a16:creationId xmlns:a16="http://schemas.microsoft.com/office/drawing/2014/main" id="{0EAE9864-12F5-4411-80F9-60E742D614AC}"/>
              </a:ext>
            </a:extLst>
          </p:cNvPr>
          <p:cNvSpPr>
            <a:spLocks noGrp="1"/>
          </p:cNvSpPr>
          <p:nvPr>
            <p:ph type="body" sz="quarter" idx="19"/>
          </p:nvPr>
        </p:nvSpPr>
        <p:spPr>
          <a:xfrm>
            <a:off x="1555195" y="2753237"/>
            <a:ext cx="2164314" cy="320400"/>
          </a:xfrm>
        </p:spPr>
        <p:txBody>
          <a:bodyPr/>
          <a:lstStyle>
            <a:lvl1pPr algn="l">
              <a:defRPr sz="1200"/>
            </a:lvl1pPr>
          </a:lstStyle>
          <a:p>
            <a:pPr lvl="0"/>
            <a:endParaRPr lang="en-US" dirty="0"/>
          </a:p>
        </p:txBody>
      </p:sp>
      <p:sp>
        <p:nvSpPr>
          <p:cNvPr id="22" name="Picture Placeholder 5">
            <a:extLst>
              <a:ext uri="{FF2B5EF4-FFF2-40B4-BE49-F238E27FC236}">
                <a16:creationId xmlns:a16="http://schemas.microsoft.com/office/drawing/2014/main" id="{BF0ACD57-68A3-4F4B-8D46-AB173F72D4A6}"/>
              </a:ext>
            </a:extLst>
          </p:cNvPr>
          <p:cNvSpPr>
            <a:spLocks noGrp="1"/>
          </p:cNvSpPr>
          <p:nvPr>
            <p:ph type="pic" sz="quarter" idx="54"/>
          </p:nvPr>
        </p:nvSpPr>
        <p:spPr>
          <a:xfrm>
            <a:off x="380334" y="1962539"/>
            <a:ext cx="1026258" cy="1026258"/>
          </a:xfrm>
          <a:prstGeom prst="flowChartConnector">
            <a:avLst/>
          </a:prstGeom>
          <a:ln>
            <a:solidFill>
              <a:srgbClr val="DA281C"/>
            </a:solidFill>
          </a:ln>
        </p:spPr>
      </p:sp>
      <p:cxnSp>
        <p:nvCxnSpPr>
          <p:cNvPr id="32" name="Straight Connector 15">
            <a:extLst>
              <a:ext uri="{FF2B5EF4-FFF2-40B4-BE49-F238E27FC236}">
                <a16:creationId xmlns:a16="http://schemas.microsoft.com/office/drawing/2014/main" id="{62EFDC07-05CE-40E0-BBF2-3F5FE4F2BFA4}"/>
              </a:ext>
            </a:extLst>
          </p:cNvPr>
          <p:cNvCxnSpPr>
            <a:cxnSpLocks/>
          </p:cNvCxnSpPr>
          <p:nvPr userDrawn="1"/>
        </p:nvCxnSpPr>
        <p:spPr>
          <a:xfrm>
            <a:off x="4050698" y="1830625"/>
            <a:ext cx="0" cy="1243012"/>
          </a:xfrm>
          <a:prstGeom prst="line">
            <a:avLst/>
          </a:prstGeom>
          <a:ln>
            <a:solidFill>
              <a:srgbClr val="DA281C"/>
            </a:solidFill>
          </a:ln>
        </p:spPr>
        <p:style>
          <a:lnRef idx="1">
            <a:schemeClr val="accent1"/>
          </a:lnRef>
          <a:fillRef idx="0">
            <a:schemeClr val="accent1"/>
          </a:fillRef>
          <a:effectRef idx="0">
            <a:schemeClr val="accent1"/>
          </a:effectRef>
          <a:fontRef idx="minor">
            <a:schemeClr val="tx1"/>
          </a:fontRef>
        </p:style>
      </p:cxnSp>
      <p:sp>
        <p:nvSpPr>
          <p:cNvPr id="31" name="Marcador de texto 3">
            <a:extLst>
              <a:ext uri="{FF2B5EF4-FFF2-40B4-BE49-F238E27FC236}">
                <a16:creationId xmlns:a16="http://schemas.microsoft.com/office/drawing/2014/main" id="{BCE3AAE0-D369-4315-94A2-F25C633DE52A}"/>
              </a:ext>
            </a:extLst>
          </p:cNvPr>
          <p:cNvSpPr>
            <a:spLocks noGrp="1"/>
          </p:cNvSpPr>
          <p:nvPr>
            <p:ph type="body" sz="quarter" idx="55" hasCustomPrompt="1"/>
          </p:nvPr>
        </p:nvSpPr>
        <p:spPr>
          <a:xfrm>
            <a:off x="5635764" y="1962538"/>
            <a:ext cx="2158119" cy="355489"/>
          </a:xfrm>
          <a:prstGeom prst="rect">
            <a:avLst/>
          </a:prstGeom>
        </p:spPr>
        <p:txBody>
          <a:bodyPr lIns="0" tIns="0" rIns="0" bIns="0"/>
          <a:lstStyle>
            <a:lvl1pPr algn="l">
              <a:buNone/>
              <a:defRPr sz="1400" b="1">
                <a:solidFill>
                  <a:srgbClr val="DA291C"/>
                </a:solidFill>
                <a:latin typeface="+mj-lt"/>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n-GB" dirty="0"/>
              <a:t>Name</a:t>
            </a:r>
          </a:p>
        </p:txBody>
      </p:sp>
      <p:sp>
        <p:nvSpPr>
          <p:cNvPr id="36" name="Text Placeholder 7">
            <a:extLst>
              <a:ext uri="{FF2B5EF4-FFF2-40B4-BE49-F238E27FC236}">
                <a16:creationId xmlns:a16="http://schemas.microsoft.com/office/drawing/2014/main" id="{D95CA2C9-7129-49C4-A812-F443EBFE348E}"/>
              </a:ext>
            </a:extLst>
          </p:cNvPr>
          <p:cNvSpPr>
            <a:spLocks noGrp="1"/>
          </p:cNvSpPr>
          <p:nvPr>
            <p:ph type="body" sz="quarter" idx="56" hasCustomPrompt="1"/>
          </p:nvPr>
        </p:nvSpPr>
        <p:spPr>
          <a:xfrm>
            <a:off x="5624222" y="2282938"/>
            <a:ext cx="2164315" cy="355489"/>
          </a:xfrm>
        </p:spPr>
        <p:txBody>
          <a:bodyPr/>
          <a:lstStyle>
            <a:lvl1pPr algn="l">
              <a:defRPr sz="1400"/>
            </a:lvl1pPr>
          </a:lstStyle>
          <a:p>
            <a:pPr lvl="0"/>
            <a:r>
              <a:rPr lang="en-US" dirty="0"/>
              <a:t>Title</a:t>
            </a:r>
          </a:p>
        </p:txBody>
      </p:sp>
      <p:sp>
        <p:nvSpPr>
          <p:cNvPr id="40" name="Text Placeholder 7">
            <a:extLst>
              <a:ext uri="{FF2B5EF4-FFF2-40B4-BE49-F238E27FC236}">
                <a16:creationId xmlns:a16="http://schemas.microsoft.com/office/drawing/2014/main" id="{FB42D584-A464-4550-AF4B-E8AE0BF08D9E}"/>
              </a:ext>
            </a:extLst>
          </p:cNvPr>
          <p:cNvSpPr>
            <a:spLocks noGrp="1"/>
          </p:cNvSpPr>
          <p:nvPr>
            <p:ph type="body" sz="quarter" idx="57"/>
          </p:nvPr>
        </p:nvSpPr>
        <p:spPr>
          <a:xfrm>
            <a:off x="5624222" y="2753237"/>
            <a:ext cx="2164314" cy="320400"/>
          </a:xfrm>
        </p:spPr>
        <p:txBody>
          <a:bodyPr/>
          <a:lstStyle>
            <a:lvl1pPr algn="l">
              <a:defRPr sz="1200"/>
            </a:lvl1pPr>
          </a:lstStyle>
          <a:p>
            <a:pPr lvl="0"/>
            <a:endParaRPr lang="en-US" dirty="0"/>
          </a:p>
        </p:txBody>
      </p:sp>
      <p:sp>
        <p:nvSpPr>
          <p:cNvPr id="44" name="Picture Placeholder 5">
            <a:extLst>
              <a:ext uri="{FF2B5EF4-FFF2-40B4-BE49-F238E27FC236}">
                <a16:creationId xmlns:a16="http://schemas.microsoft.com/office/drawing/2014/main" id="{C35F13F6-0C27-4114-A91D-DC0B7873BD22}"/>
              </a:ext>
            </a:extLst>
          </p:cNvPr>
          <p:cNvSpPr>
            <a:spLocks noGrp="1"/>
          </p:cNvSpPr>
          <p:nvPr>
            <p:ph type="pic" sz="quarter" idx="58"/>
          </p:nvPr>
        </p:nvSpPr>
        <p:spPr>
          <a:xfrm>
            <a:off x="4449361" y="1962539"/>
            <a:ext cx="1026258" cy="1026258"/>
          </a:xfrm>
          <a:prstGeom prst="flowChartConnector">
            <a:avLst/>
          </a:prstGeom>
          <a:ln>
            <a:solidFill>
              <a:srgbClr val="DA281C"/>
            </a:solidFill>
          </a:ln>
        </p:spPr>
      </p:sp>
      <p:cxnSp>
        <p:nvCxnSpPr>
          <p:cNvPr id="45" name="Straight Connector 15">
            <a:extLst>
              <a:ext uri="{FF2B5EF4-FFF2-40B4-BE49-F238E27FC236}">
                <a16:creationId xmlns:a16="http://schemas.microsoft.com/office/drawing/2014/main" id="{65D29506-A892-4E70-846E-86CD1E28D86E}"/>
              </a:ext>
            </a:extLst>
          </p:cNvPr>
          <p:cNvCxnSpPr>
            <a:cxnSpLocks/>
          </p:cNvCxnSpPr>
          <p:nvPr userDrawn="1"/>
        </p:nvCxnSpPr>
        <p:spPr>
          <a:xfrm>
            <a:off x="8119725" y="1830625"/>
            <a:ext cx="0" cy="1243012"/>
          </a:xfrm>
          <a:prstGeom prst="line">
            <a:avLst/>
          </a:prstGeom>
          <a:ln>
            <a:solidFill>
              <a:srgbClr val="DA281C"/>
            </a:solidFill>
          </a:ln>
        </p:spPr>
        <p:style>
          <a:lnRef idx="1">
            <a:schemeClr val="accent1"/>
          </a:lnRef>
          <a:fillRef idx="0">
            <a:schemeClr val="accent1"/>
          </a:fillRef>
          <a:effectRef idx="0">
            <a:schemeClr val="accent1"/>
          </a:effectRef>
          <a:fontRef idx="minor">
            <a:schemeClr val="tx1"/>
          </a:fontRef>
        </p:style>
      </p:cxnSp>
      <p:sp>
        <p:nvSpPr>
          <p:cNvPr id="50" name="Marcador de texto 3">
            <a:extLst>
              <a:ext uri="{FF2B5EF4-FFF2-40B4-BE49-F238E27FC236}">
                <a16:creationId xmlns:a16="http://schemas.microsoft.com/office/drawing/2014/main" id="{0E31059C-E567-413E-B7CE-10A5CD9A9D8C}"/>
              </a:ext>
            </a:extLst>
          </p:cNvPr>
          <p:cNvSpPr>
            <a:spLocks noGrp="1"/>
          </p:cNvSpPr>
          <p:nvPr>
            <p:ph type="body" sz="quarter" idx="59" hasCustomPrompt="1"/>
          </p:nvPr>
        </p:nvSpPr>
        <p:spPr>
          <a:xfrm>
            <a:off x="9662406" y="1957297"/>
            <a:ext cx="2158119" cy="355489"/>
          </a:xfrm>
          <a:prstGeom prst="rect">
            <a:avLst/>
          </a:prstGeom>
        </p:spPr>
        <p:txBody>
          <a:bodyPr lIns="0" tIns="0" rIns="0" bIns="0"/>
          <a:lstStyle>
            <a:lvl1pPr algn="l">
              <a:buNone/>
              <a:defRPr sz="1400" b="1">
                <a:solidFill>
                  <a:srgbClr val="DA291C"/>
                </a:solidFill>
                <a:latin typeface="+mj-lt"/>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n-GB" dirty="0"/>
              <a:t>Name</a:t>
            </a:r>
          </a:p>
        </p:txBody>
      </p:sp>
      <p:sp>
        <p:nvSpPr>
          <p:cNvPr id="51" name="Text Placeholder 7">
            <a:extLst>
              <a:ext uri="{FF2B5EF4-FFF2-40B4-BE49-F238E27FC236}">
                <a16:creationId xmlns:a16="http://schemas.microsoft.com/office/drawing/2014/main" id="{23D21ECC-9BE4-41DE-A2A6-E5D6E845B01B}"/>
              </a:ext>
            </a:extLst>
          </p:cNvPr>
          <p:cNvSpPr>
            <a:spLocks noGrp="1"/>
          </p:cNvSpPr>
          <p:nvPr>
            <p:ph type="body" sz="quarter" idx="60" hasCustomPrompt="1"/>
          </p:nvPr>
        </p:nvSpPr>
        <p:spPr>
          <a:xfrm>
            <a:off x="9650864" y="2277697"/>
            <a:ext cx="2164315" cy="355489"/>
          </a:xfrm>
        </p:spPr>
        <p:txBody>
          <a:bodyPr/>
          <a:lstStyle>
            <a:lvl1pPr algn="l">
              <a:defRPr sz="1400"/>
            </a:lvl1pPr>
          </a:lstStyle>
          <a:p>
            <a:pPr lvl="0"/>
            <a:r>
              <a:rPr lang="en-US" dirty="0"/>
              <a:t>Title</a:t>
            </a:r>
          </a:p>
        </p:txBody>
      </p:sp>
      <p:sp>
        <p:nvSpPr>
          <p:cNvPr id="52" name="Text Placeholder 7">
            <a:extLst>
              <a:ext uri="{FF2B5EF4-FFF2-40B4-BE49-F238E27FC236}">
                <a16:creationId xmlns:a16="http://schemas.microsoft.com/office/drawing/2014/main" id="{B8686ED0-9DF8-45C5-8455-D3EE5E06422C}"/>
              </a:ext>
            </a:extLst>
          </p:cNvPr>
          <p:cNvSpPr>
            <a:spLocks noGrp="1"/>
          </p:cNvSpPr>
          <p:nvPr>
            <p:ph type="body" sz="quarter" idx="61"/>
          </p:nvPr>
        </p:nvSpPr>
        <p:spPr>
          <a:xfrm>
            <a:off x="9650864" y="2747996"/>
            <a:ext cx="2164314" cy="320400"/>
          </a:xfrm>
        </p:spPr>
        <p:txBody>
          <a:bodyPr/>
          <a:lstStyle>
            <a:lvl1pPr algn="l">
              <a:defRPr sz="1200"/>
            </a:lvl1pPr>
          </a:lstStyle>
          <a:p>
            <a:pPr lvl="0"/>
            <a:endParaRPr lang="en-US" dirty="0"/>
          </a:p>
        </p:txBody>
      </p:sp>
      <p:sp>
        <p:nvSpPr>
          <p:cNvPr id="53" name="Picture Placeholder 5">
            <a:extLst>
              <a:ext uri="{FF2B5EF4-FFF2-40B4-BE49-F238E27FC236}">
                <a16:creationId xmlns:a16="http://schemas.microsoft.com/office/drawing/2014/main" id="{C070D455-0FFF-40E8-98DE-98F27F76D062}"/>
              </a:ext>
            </a:extLst>
          </p:cNvPr>
          <p:cNvSpPr>
            <a:spLocks noGrp="1"/>
          </p:cNvSpPr>
          <p:nvPr>
            <p:ph type="pic" sz="quarter" idx="62"/>
          </p:nvPr>
        </p:nvSpPr>
        <p:spPr>
          <a:xfrm>
            <a:off x="8476003" y="1957298"/>
            <a:ext cx="1026258" cy="1026258"/>
          </a:xfrm>
          <a:prstGeom prst="flowChartConnector">
            <a:avLst/>
          </a:prstGeom>
          <a:ln>
            <a:solidFill>
              <a:srgbClr val="DA281C"/>
            </a:solidFill>
          </a:ln>
        </p:spPr>
      </p:sp>
      <p:sp>
        <p:nvSpPr>
          <p:cNvPr id="54" name="Marcador de texto 3">
            <a:extLst>
              <a:ext uri="{FF2B5EF4-FFF2-40B4-BE49-F238E27FC236}">
                <a16:creationId xmlns:a16="http://schemas.microsoft.com/office/drawing/2014/main" id="{30B2BE68-84A6-4D3D-92AF-CD4AF8BB1E8C}"/>
              </a:ext>
            </a:extLst>
          </p:cNvPr>
          <p:cNvSpPr>
            <a:spLocks noGrp="1"/>
          </p:cNvSpPr>
          <p:nvPr>
            <p:ph type="body" sz="quarter" idx="63" hasCustomPrompt="1"/>
          </p:nvPr>
        </p:nvSpPr>
        <p:spPr>
          <a:xfrm>
            <a:off x="1561412" y="3902474"/>
            <a:ext cx="2158119" cy="355489"/>
          </a:xfrm>
          <a:prstGeom prst="rect">
            <a:avLst/>
          </a:prstGeom>
        </p:spPr>
        <p:txBody>
          <a:bodyPr lIns="0" tIns="0" rIns="0" bIns="0"/>
          <a:lstStyle>
            <a:lvl1pPr algn="l">
              <a:buNone/>
              <a:defRPr sz="1400" b="1">
                <a:solidFill>
                  <a:srgbClr val="DA291C"/>
                </a:solidFill>
                <a:latin typeface="+mj-lt"/>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n-GB" dirty="0"/>
              <a:t>Name</a:t>
            </a:r>
          </a:p>
        </p:txBody>
      </p:sp>
      <p:sp>
        <p:nvSpPr>
          <p:cNvPr id="55" name="Text Placeholder 7">
            <a:extLst>
              <a:ext uri="{FF2B5EF4-FFF2-40B4-BE49-F238E27FC236}">
                <a16:creationId xmlns:a16="http://schemas.microsoft.com/office/drawing/2014/main" id="{369E918D-E244-40ED-BC9D-84A49D09663E}"/>
              </a:ext>
            </a:extLst>
          </p:cNvPr>
          <p:cNvSpPr>
            <a:spLocks noGrp="1"/>
          </p:cNvSpPr>
          <p:nvPr>
            <p:ph type="body" sz="quarter" idx="64" hasCustomPrompt="1"/>
          </p:nvPr>
        </p:nvSpPr>
        <p:spPr>
          <a:xfrm>
            <a:off x="1549870" y="4222874"/>
            <a:ext cx="2164315" cy="355489"/>
          </a:xfrm>
        </p:spPr>
        <p:txBody>
          <a:bodyPr/>
          <a:lstStyle>
            <a:lvl1pPr algn="l">
              <a:defRPr sz="1400"/>
            </a:lvl1pPr>
          </a:lstStyle>
          <a:p>
            <a:pPr lvl="0"/>
            <a:r>
              <a:rPr lang="en-US" dirty="0"/>
              <a:t>Title</a:t>
            </a:r>
          </a:p>
        </p:txBody>
      </p:sp>
      <p:sp>
        <p:nvSpPr>
          <p:cNvPr id="56" name="Text Placeholder 7">
            <a:extLst>
              <a:ext uri="{FF2B5EF4-FFF2-40B4-BE49-F238E27FC236}">
                <a16:creationId xmlns:a16="http://schemas.microsoft.com/office/drawing/2014/main" id="{F04FE272-AEEE-4C91-8BD6-85896A1F2AB9}"/>
              </a:ext>
            </a:extLst>
          </p:cNvPr>
          <p:cNvSpPr>
            <a:spLocks noGrp="1"/>
          </p:cNvSpPr>
          <p:nvPr>
            <p:ph type="body" sz="quarter" idx="65"/>
          </p:nvPr>
        </p:nvSpPr>
        <p:spPr>
          <a:xfrm>
            <a:off x="1549870" y="4693173"/>
            <a:ext cx="2164314" cy="320400"/>
          </a:xfrm>
        </p:spPr>
        <p:txBody>
          <a:bodyPr/>
          <a:lstStyle>
            <a:lvl1pPr algn="l">
              <a:defRPr sz="1200"/>
            </a:lvl1pPr>
          </a:lstStyle>
          <a:p>
            <a:pPr lvl="0"/>
            <a:endParaRPr lang="en-US" dirty="0"/>
          </a:p>
        </p:txBody>
      </p:sp>
      <p:sp>
        <p:nvSpPr>
          <p:cNvPr id="57" name="Picture Placeholder 5">
            <a:extLst>
              <a:ext uri="{FF2B5EF4-FFF2-40B4-BE49-F238E27FC236}">
                <a16:creationId xmlns:a16="http://schemas.microsoft.com/office/drawing/2014/main" id="{F9BBDF2E-3D99-40C0-AA28-A5CBB3739FAD}"/>
              </a:ext>
            </a:extLst>
          </p:cNvPr>
          <p:cNvSpPr>
            <a:spLocks noGrp="1"/>
          </p:cNvSpPr>
          <p:nvPr>
            <p:ph type="pic" sz="quarter" idx="66"/>
          </p:nvPr>
        </p:nvSpPr>
        <p:spPr>
          <a:xfrm>
            <a:off x="375009" y="3902475"/>
            <a:ext cx="1026258" cy="1026258"/>
          </a:xfrm>
          <a:prstGeom prst="flowChartConnector">
            <a:avLst/>
          </a:prstGeom>
          <a:ln>
            <a:solidFill>
              <a:srgbClr val="DA281C"/>
            </a:solidFill>
          </a:ln>
        </p:spPr>
      </p:sp>
      <p:cxnSp>
        <p:nvCxnSpPr>
          <p:cNvPr id="58" name="Straight Connector 15">
            <a:extLst>
              <a:ext uri="{FF2B5EF4-FFF2-40B4-BE49-F238E27FC236}">
                <a16:creationId xmlns:a16="http://schemas.microsoft.com/office/drawing/2014/main" id="{546AEE6F-35AE-452B-8B45-2A2DC0663862}"/>
              </a:ext>
            </a:extLst>
          </p:cNvPr>
          <p:cNvCxnSpPr>
            <a:cxnSpLocks/>
          </p:cNvCxnSpPr>
          <p:nvPr userDrawn="1"/>
        </p:nvCxnSpPr>
        <p:spPr>
          <a:xfrm>
            <a:off x="4051160" y="3770561"/>
            <a:ext cx="0" cy="1243012"/>
          </a:xfrm>
          <a:prstGeom prst="line">
            <a:avLst/>
          </a:prstGeom>
          <a:ln>
            <a:solidFill>
              <a:srgbClr val="DA281C"/>
            </a:solidFill>
          </a:ln>
        </p:spPr>
        <p:style>
          <a:lnRef idx="1">
            <a:schemeClr val="accent1"/>
          </a:lnRef>
          <a:fillRef idx="0">
            <a:schemeClr val="accent1"/>
          </a:fillRef>
          <a:effectRef idx="0">
            <a:schemeClr val="accent1"/>
          </a:effectRef>
          <a:fontRef idx="minor">
            <a:schemeClr val="tx1"/>
          </a:fontRef>
        </p:style>
      </p:cxnSp>
      <p:sp>
        <p:nvSpPr>
          <p:cNvPr id="59" name="Marcador de texto 3">
            <a:extLst>
              <a:ext uri="{FF2B5EF4-FFF2-40B4-BE49-F238E27FC236}">
                <a16:creationId xmlns:a16="http://schemas.microsoft.com/office/drawing/2014/main" id="{E4F2953D-F85B-44C8-B6E7-ACCB8A7EEC9A}"/>
              </a:ext>
            </a:extLst>
          </p:cNvPr>
          <p:cNvSpPr>
            <a:spLocks noGrp="1"/>
          </p:cNvSpPr>
          <p:nvPr>
            <p:ph type="body" sz="quarter" idx="67" hasCustomPrompt="1"/>
          </p:nvPr>
        </p:nvSpPr>
        <p:spPr>
          <a:xfrm>
            <a:off x="5630439" y="3902474"/>
            <a:ext cx="2158119" cy="355489"/>
          </a:xfrm>
          <a:prstGeom prst="rect">
            <a:avLst/>
          </a:prstGeom>
        </p:spPr>
        <p:txBody>
          <a:bodyPr lIns="0" tIns="0" rIns="0" bIns="0"/>
          <a:lstStyle>
            <a:lvl1pPr algn="l">
              <a:buNone/>
              <a:defRPr sz="1400" b="1">
                <a:solidFill>
                  <a:srgbClr val="DA291C"/>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n-GB" dirty="0"/>
              <a:t>Name</a:t>
            </a:r>
          </a:p>
        </p:txBody>
      </p:sp>
      <p:sp>
        <p:nvSpPr>
          <p:cNvPr id="60" name="Text Placeholder 7">
            <a:extLst>
              <a:ext uri="{FF2B5EF4-FFF2-40B4-BE49-F238E27FC236}">
                <a16:creationId xmlns:a16="http://schemas.microsoft.com/office/drawing/2014/main" id="{88C5B650-D6B6-492F-8E83-FCC0952F57B9}"/>
              </a:ext>
            </a:extLst>
          </p:cNvPr>
          <p:cNvSpPr>
            <a:spLocks noGrp="1"/>
          </p:cNvSpPr>
          <p:nvPr>
            <p:ph type="body" sz="quarter" idx="68" hasCustomPrompt="1"/>
          </p:nvPr>
        </p:nvSpPr>
        <p:spPr>
          <a:xfrm>
            <a:off x="5618897" y="4222874"/>
            <a:ext cx="2164315" cy="355489"/>
          </a:xfrm>
        </p:spPr>
        <p:txBody>
          <a:bodyPr/>
          <a:lstStyle>
            <a:lvl1pPr algn="l">
              <a:defRPr sz="1400"/>
            </a:lvl1pPr>
          </a:lstStyle>
          <a:p>
            <a:pPr lvl="0"/>
            <a:r>
              <a:rPr lang="en-US" dirty="0"/>
              <a:t>Title</a:t>
            </a:r>
          </a:p>
        </p:txBody>
      </p:sp>
      <p:sp>
        <p:nvSpPr>
          <p:cNvPr id="61" name="Text Placeholder 7">
            <a:extLst>
              <a:ext uri="{FF2B5EF4-FFF2-40B4-BE49-F238E27FC236}">
                <a16:creationId xmlns:a16="http://schemas.microsoft.com/office/drawing/2014/main" id="{93E14614-8D44-4BA1-802C-8E0213E80C69}"/>
              </a:ext>
            </a:extLst>
          </p:cNvPr>
          <p:cNvSpPr>
            <a:spLocks noGrp="1"/>
          </p:cNvSpPr>
          <p:nvPr>
            <p:ph type="body" sz="quarter" idx="69"/>
          </p:nvPr>
        </p:nvSpPr>
        <p:spPr>
          <a:xfrm>
            <a:off x="5618897" y="4693173"/>
            <a:ext cx="2164314" cy="320400"/>
          </a:xfrm>
        </p:spPr>
        <p:txBody>
          <a:bodyPr/>
          <a:lstStyle>
            <a:lvl1pPr algn="l">
              <a:defRPr sz="1200"/>
            </a:lvl1pPr>
          </a:lstStyle>
          <a:p>
            <a:pPr lvl="0"/>
            <a:endParaRPr lang="en-US" dirty="0"/>
          </a:p>
        </p:txBody>
      </p:sp>
      <p:sp>
        <p:nvSpPr>
          <p:cNvPr id="62" name="Picture Placeholder 5">
            <a:extLst>
              <a:ext uri="{FF2B5EF4-FFF2-40B4-BE49-F238E27FC236}">
                <a16:creationId xmlns:a16="http://schemas.microsoft.com/office/drawing/2014/main" id="{699203F9-C767-457D-8E27-BD83F0C8BECA}"/>
              </a:ext>
            </a:extLst>
          </p:cNvPr>
          <p:cNvSpPr>
            <a:spLocks noGrp="1"/>
          </p:cNvSpPr>
          <p:nvPr>
            <p:ph type="pic" sz="quarter" idx="70"/>
          </p:nvPr>
        </p:nvSpPr>
        <p:spPr>
          <a:xfrm>
            <a:off x="4444036" y="3902475"/>
            <a:ext cx="1026258" cy="1026258"/>
          </a:xfrm>
          <a:prstGeom prst="flowChartConnector">
            <a:avLst/>
          </a:prstGeom>
          <a:ln>
            <a:solidFill>
              <a:srgbClr val="DA281C"/>
            </a:solidFill>
          </a:ln>
        </p:spPr>
      </p:sp>
      <p:cxnSp>
        <p:nvCxnSpPr>
          <p:cNvPr id="63" name="Straight Connector 15">
            <a:extLst>
              <a:ext uri="{FF2B5EF4-FFF2-40B4-BE49-F238E27FC236}">
                <a16:creationId xmlns:a16="http://schemas.microsoft.com/office/drawing/2014/main" id="{8811FCA7-1BA7-4B13-B0C1-798561E239A0}"/>
              </a:ext>
            </a:extLst>
          </p:cNvPr>
          <p:cNvCxnSpPr>
            <a:cxnSpLocks/>
          </p:cNvCxnSpPr>
          <p:nvPr userDrawn="1"/>
        </p:nvCxnSpPr>
        <p:spPr>
          <a:xfrm>
            <a:off x="8120187" y="3770561"/>
            <a:ext cx="0" cy="1243012"/>
          </a:xfrm>
          <a:prstGeom prst="line">
            <a:avLst/>
          </a:prstGeom>
          <a:ln>
            <a:solidFill>
              <a:srgbClr val="DA281C"/>
            </a:solidFill>
          </a:ln>
        </p:spPr>
        <p:style>
          <a:lnRef idx="1">
            <a:schemeClr val="accent1"/>
          </a:lnRef>
          <a:fillRef idx="0">
            <a:schemeClr val="accent1"/>
          </a:fillRef>
          <a:effectRef idx="0">
            <a:schemeClr val="accent1"/>
          </a:effectRef>
          <a:fontRef idx="minor">
            <a:schemeClr val="tx1"/>
          </a:fontRef>
        </p:style>
      </p:cxnSp>
      <p:sp>
        <p:nvSpPr>
          <p:cNvPr id="64" name="Marcador de texto 3">
            <a:extLst>
              <a:ext uri="{FF2B5EF4-FFF2-40B4-BE49-F238E27FC236}">
                <a16:creationId xmlns:a16="http://schemas.microsoft.com/office/drawing/2014/main" id="{30DB3B35-EEBC-4B03-882E-F9026CB891DE}"/>
              </a:ext>
            </a:extLst>
          </p:cNvPr>
          <p:cNvSpPr>
            <a:spLocks noGrp="1"/>
          </p:cNvSpPr>
          <p:nvPr>
            <p:ph type="body" sz="quarter" idx="71" hasCustomPrompt="1"/>
          </p:nvPr>
        </p:nvSpPr>
        <p:spPr>
          <a:xfrm>
            <a:off x="9657081" y="3897233"/>
            <a:ext cx="2158119" cy="355489"/>
          </a:xfrm>
          <a:prstGeom prst="rect">
            <a:avLst/>
          </a:prstGeom>
        </p:spPr>
        <p:txBody>
          <a:bodyPr lIns="0" tIns="0" rIns="0" bIns="0"/>
          <a:lstStyle>
            <a:lvl1pPr algn="l">
              <a:buNone/>
              <a:defRPr sz="1400" b="1">
                <a:solidFill>
                  <a:srgbClr val="DA291C"/>
                </a:solidFill>
                <a:latin typeface="+mj-lt"/>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n-GB" dirty="0"/>
              <a:t>Name</a:t>
            </a:r>
          </a:p>
        </p:txBody>
      </p:sp>
      <p:sp>
        <p:nvSpPr>
          <p:cNvPr id="65" name="Text Placeholder 7">
            <a:extLst>
              <a:ext uri="{FF2B5EF4-FFF2-40B4-BE49-F238E27FC236}">
                <a16:creationId xmlns:a16="http://schemas.microsoft.com/office/drawing/2014/main" id="{C236C68A-D994-4F97-A78F-B29EAD8DECF7}"/>
              </a:ext>
            </a:extLst>
          </p:cNvPr>
          <p:cNvSpPr>
            <a:spLocks noGrp="1"/>
          </p:cNvSpPr>
          <p:nvPr>
            <p:ph type="body" sz="quarter" idx="72" hasCustomPrompt="1"/>
          </p:nvPr>
        </p:nvSpPr>
        <p:spPr>
          <a:xfrm>
            <a:off x="9645539" y="4217633"/>
            <a:ext cx="2164315" cy="355489"/>
          </a:xfrm>
        </p:spPr>
        <p:txBody>
          <a:bodyPr/>
          <a:lstStyle>
            <a:lvl1pPr algn="l">
              <a:defRPr sz="1400"/>
            </a:lvl1pPr>
          </a:lstStyle>
          <a:p>
            <a:pPr lvl="0"/>
            <a:r>
              <a:rPr lang="en-US" dirty="0"/>
              <a:t>Title</a:t>
            </a:r>
          </a:p>
        </p:txBody>
      </p:sp>
      <p:sp>
        <p:nvSpPr>
          <p:cNvPr id="66" name="Text Placeholder 7">
            <a:extLst>
              <a:ext uri="{FF2B5EF4-FFF2-40B4-BE49-F238E27FC236}">
                <a16:creationId xmlns:a16="http://schemas.microsoft.com/office/drawing/2014/main" id="{DE31CA3A-07C0-42D0-B758-A5DCBD8D7C4B}"/>
              </a:ext>
            </a:extLst>
          </p:cNvPr>
          <p:cNvSpPr>
            <a:spLocks noGrp="1"/>
          </p:cNvSpPr>
          <p:nvPr>
            <p:ph type="body" sz="quarter" idx="73"/>
          </p:nvPr>
        </p:nvSpPr>
        <p:spPr>
          <a:xfrm>
            <a:off x="9645539" y="4687932"/>
            <a:ext cx="2164314" cy="320400"/>
          </a:xfrm>
        </p:spPr>
        <p:txBody>
          <a:bodyPr/>
          <a:lstStyle>
            <a:lvl1pPr algn="l">
              <a:defRPr sz="1200"/>
            </a:lvl1pPr>
          </a:lstStyle>
          <a:p>
            <a:pPr lvl="0"/>
            <a:endParaRPr lang="en-US" dirty="0"/>
          </a:p>
        </p:txBody>
      </p:sp>
      <p:sp>
        <p:nvSpPr>
          <p:cNvPr id="67" name="Picture Placeholder 5">
            <a:extLst>
              <a:ext uri="{FF2B5EF4-FFF2-40B4-BE49-F238E27FC236}">
                <a16:creationId xmlns:a16="http://schemas.microsoft.com/office/drawing/2014/main" id="{A68FAB44-DC1D-4ECB-9CFE-4B4B24D71893}"/>
              </a:ext>
            </a:extLst>
          </p:cNvPr>
          <p:cNvSpPr>
            <a:spLocks noGrp="1"/>
          </p:cNvSpPr>
          <p:nvPr>
            <p:ph type="pic" sz="quarter" idx="74"/>
          </p:nvPr>
        </p:nvSpPr>
        <p:spPr>
          <a:xfrm>
            <a:off x="8470678" y="3897234"/>
            <a:ext cx="1026258" cy="1026258"/>
          </a:xfrm>
          <a:prstGeom prst="flowChartConnector">
            <a:avLst/>
          </a:prstGeom>
          <a:ln>
            <a:solidFill>
              <a:srgbClr val="DA281C"/>
            </a:solidFill>
          </a:ln>
        </p:spPr>
      </p:sp>
    </p:spTree>
    <p:extLst>
      <p:ext uri="{BB962C8B-B14F-4D97-AF65-F5344CB8AC3E}">
        <p14:creationId xmlns:p14="http://schemas.microsoft.com/office/powerpoint/2010/main" val="1220070110"/>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eam 3">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BF29E734-210D-BC45-815B-FC427C40A195}"/>
              </a:ext>
            </a:extLst>
          </p:cNvPr>
          <p:cNvSpPr/>
          <p:nvPr userDrawn="1"/>
        </p:nvSpPr>
        <p:spPr>
          <a:xfrm rot="10800000">
            <a:off x="-8399" y="-1969"/>
            <a:ext cx="6114006" cy="6863178"/>
          </a:xfrm>
          <a:custGeom>
            <a:avLst/>
            <a:gdLst>
              <a:gd name="connsiteX0" fmla="*/ 0 w 3267919"/>
              <a:gd name="connsiteY0" fmla="*/ 0 h 6858000"/>
              <a:gd name="connsiteX1" fmla="*/ 3267919 w 3267919"/>
              <a:gd name="connsiteY1" fmla="*/ 0 h 6858000"/>
              <a:gd name="connsiteX2" fmla="*/ 3267919 w 3267919"/>
              <a:gd name="connsiteY2" fmla="*/ 6858000 h 6858000"/>
              <a:gd name="connsiteX3" fmla="*/ 0 w 3267919"/>
              <a:gd name="connsiteY3" fmla="*/ 6858000 h 6858000"/>
              <a:gd name="connsiteX4" fmla="*/ 0 w 3267919"/>
              <a:gd name="connsiteY4" fmla="*/ 0 h 6858000"/>
              <a:gd name="connsiteX0" fmla="*/ 2835797 w 6103716"/>
              <a:gd name="connsiteY0" fmla="*/ 0 h 6858000"/>
              <a:gd name="connsiteX1" fmla="*/ 6103716 w 6103716"/>
              <a:gd name="connsiteY1" fmla="*/ 0 h 6858000"/>
              <a:gd name="connsiteX2" fmla="*/ 6103716 w 6103716"/>
              <a:gd name="connsiteY2" fmla="*/ 6858000 h 6858000"/>
              <a:gd name="connsiteX3" fmla="*/ 0 w 6103716"/>
              <a:gd name="connsiteY3" fmla="*/ 6858000 h 6858000"/>
              <a:gd name="connsiteX4" fmla="*/ 2835797 w 6103716"/>
              <a:gd name="connsiteY4" fmla="*/ 0 h 6858000"/>
              <a:gd name="connsiteX0" fmla="*/ 2835797 w 7255397"/>
              <a:gd name="connsiteY0" fmla="*/ 5788 h 6863788"/>
              <a:gd name="connsiteX1" fmla="*/ 7255397 w 7255397"/>
              <a:gd name="connsiteY1" fmla="*/ 0 h 6863788"/>
              <a:gd name="connsiteX2" fmla="*/ 6103716 w 7255397"/>
              <a:gd name="connsiteY2" fmla="*/ 6863788 h 6863788"/>
              <a:gd name="connsiteX3" fmla="*/ 0 w 7255397"/>
              <a:gd name="connsiteY3" fmla="*/ 6863788 h 6863788"/>
              <a:gd name="connsiteX4" fmla="*/ 2835797 w 7255397"/>
              <a:gd name="connsiteY4" fmla="*/ 5788 h 6863788"/>
              <a:gd name="connsiteX0" fmla="*/ 2835797 w 7255397"/>
              <a:gd name="connsiteY0" fmla="*/ 5788 h 6863788"/>
              <a:gd name="connsiteX1" fmla="*/ 7255397 w 7255397"/>
              <a:gd name="connsiteY1" fmla="*/ 0 h 6863788"/>
              <a:gd name="connsiteX2" fmla="*/ 7232248 w 7255397"/>
              <a:gd name="connsiteY2" fmla="*/ 6863788 h 6863788"/>
              <a:gd name="connsiteX3" fmla="*/ 0 w 7255397"/>
              <a:gd name="connsiteY3" fmla="*/ 6863788 h 6863788"/>
              <a:gd name="connsiteX4" fmla="*/ 2835797 w 7255397"/>
              <a:gd name="connsiteY4" fmla="*/ 5788 h 6863788"/>
              <a:gd name="connsiteX0" fmla="*/ 2586941 w 7006541"/>
              <a:gd name="connsiteY0" fmla="*/ 5788 h 6869576"/>
              <a:gd name="connsiteX1" fmla="*/ 7006541 w 7006541"/>
              <a:gd name="connsiteY1" fmla="*/ 0 h 6869576"/>
              <a:gd name="connsiteX2" fmla="*/ 6983392 w 7006541"/>
              <a:gd name="connsiteY2" fmla="*/ 6863788 h 6869576"/>
              <a:gd name="connsiteX3" fmla="*/ 0 w 7006541"/>
              <a:gd name="connsiteY3" fmla="*/ 6869576 h 6869576"/>
              <a:gd name="connsiteX4" fmla="*/ 2586941 w 7006541"/>
              <a:gd name="connsiteY4" fmla="*/ 5788 h 6869576"/>
              <a:gd name="connsiteX0" fmla="*/ 2586941 w 7006541"/>
              <a:gd name="connsiteY0" fmla="*/ 5788 h 6869576"/>
              <a:gd name="connsiteX1" fmla="*/ 7006541 w 7006541"/>
              <a:gd name="connsiteY1" fmla="*/ 0 h 6869576"/>
              <a:gd name="connsiteX2" fmla="*/ 6983392 w 7006541"/>
              <a:gd name="connsiteY2" fmla="*/ 6863788 h 6869576"/>
              <a:gd name="connsiteX3" fmla="*/ 0 w 7006541"/>
              <a:gd name="connsiteY3" fmla="*/ 6869576 h 6869576"/>
              <a:gd name="connsiteX4" fmla="*/ 2586941 w 7006541"/>
              <a:gd name="connsiteY4" fmla="*/ 5788 h 6869576"/>
              <a:gd name="connsiteX0" fmla="*/ 2586941 w 6983416"/>
              <a:gd name="connsiteY0" fmla="*/ 0 h 6863788"/>
              <a:gd name="connsiteX1" fmla="*/ 5148805 w 6983416"/>
              <a:gd name="connsiteY1" fmla="*/ 0 h 6863788"/>
              <a:gd name="connsiteX2" fmla="*/ 6983392 w 6983416"/>
              <a:gd name="connsiteY2" fmla="*/ 6858000 h 6863788"/>
              <a:gd name="connsiteX3" fmla="*/ 0 w 6983416"/>
              <a:gd name="connsiteY3" fmla="*/ 6863788 h 6863788"/>
              <a:gd name="connsiteX4" fmla="*/ 2586941 w 6983416"/>
              <a:gd name="connsiteY4" fmla="*/ 0 h 6863788"/>
              <a:gd name="connsiteX0" fmla="*/ 2586941 w 6983421"/>
              <a:gd name="connsiteY0" fmla="*/ 0 h 6863788"/>
              <a:gd name="connsiteX1" fmla="*/ 5513407 w 6983421"/>
              <a:gd name="connsiteY1" fmla="*/ 0 h 6863788"/>
              <a:gd name="connsiteX2" fmla="*/ 6983392 w 6983421"/>
              <a:gd name="connsiteY2" fmla="*/ 6858000 h 6863788"/>
              <a:gd name="connsiteX3" fmla="*/ 0 w 6983421"/>
              <a:gd name="connsiteY3" fmla="*/ 6863788 h 6863788"/>
              <a:gd name="connsiteX4" fmla="*/ 2586941 w 6983421"/>
              <a:gd name="connsiteY4" fmla="*/ 0 h 6863788"/>
              <a:gd name="connsiteX0" fmla="*/ 2586941 w 5513407"/>
              <a:gd name="connsiteY0" fmla="*/ 0 h 6869575"/>
              <a:gd name="connsiteX1" fmla="*/ 5513407 w 5513407"/>
              <a:gd name="connsiteY1" fmla="*/ 0 h 6869575"/>
              <a:gd name="connsiteX2" fmla="*/ 5183529 w 5513407"/>
              <a:gd name="connsiteY2" fmla="*/ 6869575 h 6869575"/>
              <a:gd name="connsiteX3" fmla="*/ 0 w 5513407"/>
              <a:gd name="connsiteY3" fmla="*/ 6863788 h 6869575"/>
              <a:gd name="connsiteX4" fmla="*/ 2586941 w 5513407"/>
              <a:gd name="connsiteY4" fmla="*/ 0 h 6869575"/>
              <a:gd name="connsiteX0" fmla="*/ 2586941 w 5513407"/>
              <a:gd name="connsiteY0" fmla="*/ 0 h 6863788"/>
              <a:gd name="connsiteX1" fmla="*/ 5513407 w 5513407"/>
              <a:gd name="connsiteY1" fmla="*/ 0 h 6863788"/>
              <a:gd name="connsiteX2" fmla="*/ 5496045 w 5513407"/>
              <a:gd name="connsiteY2" fmla="*/ 6829064 h 6863788"/>
              <a:gd name="connsiteX3" fmla="*/ 0 w 5513407"/>
              <a:gd name="connsiteY3" fmla="*/ 6863788 h 6863788"/>
              <a:gd name="connsiteX4" fmla="*/ 2586941 w 5513407"/>
              <a:gd name="connsiteY4" fmla="*/ 0 h 6863788"/>
              <a:gd name="connsiteX0" fmla="*/ 2586941 w 5520913"/>
              <a:gd name="connsiteY0" fmla="*/ 0 h 6863788"/>
              <a:gd name="connsiteX1" fmla="*/ 5513407 w 5520913"/>
              <a:gd name="connsiteY1" fmla="*/ 0 h 6863788"/>
              <a:gd name="connsiteX2" fmla="*/ 5519195 w 5520913"/>
              <a:gd name="connsiteY2" fmla="*/ 6840638 h 6863788"/>
              <a:gd name="connsiteX3" fmla="*/ 0 w 5520913"/>
              <a:gd name="connsiteY3" fmla="*/ 6863788 h 6863788"/>
              <a:gd name="connsiteX4" fmla="*/ 2586941 w 5520913"/>
              <a:gd name="connsiteY4" fmla="*/ 0 h 6863788"/>
              <a:gd name="connsiteX0" fmla="*/ 2586941 w 5543249"/>
              <a:gd name="connsiteY0" fmla="*/ 0 h 6863788"/>
              <a:gd name="connsiteX1" fmla="*/ 5513407 w 5543249"/>
              <a:gd name="connsiteY1" fmla="*/ 0 h 6863788"/>
              <a:gd name="connsiteX2" fmla="*/ 5542344 w 5543249"/>
              <a:gd name="connsiteY2" fmla="*/ 6852213 h 6863788"/>
              <a:gd name="connsiteX3" fmla="*/ 0 w 5543249"/>
              <a:gd name="connsiteY3" fmla="*/ 6863788 h 6863788"/>
              <a:gd name="connsiteX4" fmla="*/ 2586941 w 5543249"/>
              <a:gd name="connsiteY4" fmla="*/ 0 h 6863788"/>
              <a:gd name="connsiteX0" fmla="*/ 2586941 w 5543249"/>
              <a:gd name="connsiteY0" fmla="*/ 0 h 6863788"/>
              <a:gd name="connsiteX1" fmla="*/ 5513407 w 5543249"/>
              <a:gd name="connsiteY1" fmla="*/ 0 h 6863788"/>
              <a:gd name="connsiteX2" fmla="*/ 5542344 w 5543249"/>
              <a:gd name="connsiteY2" fmla="*/ 6852213 h 6863788"/>
              <a:gd name="connsiteX3" fmla="*/ 0 w 5543249"/>
              <a:gd name="connsiteY3" fmla="*/ 6863788 h 6863788"/>
              <a:gd name="connsiteX4" fmla="*/ 2586941 w 5543249"/>
              <a:gd name="connsiteY4" fmla="*/ 0 h 6863788"/>
              <a:gd name="connsiteX0" fmla="*/ 2552723 w 5509031"/>
              <a:gd name="connsiteY0" fmla="*/ 0 h 6852213"/>
              <a:gd name="connsiteX1" fmla="*/ 5479189 w 5509031"/>
              <a:gd name="connsiteY1" fmla="*/ 0 h 6852213"/>
              <a:gd name="connsiteX2" fmla="*/ 5508126 w 5509031"/>
              <a:gd name="connsiteY2" fmla="*/ 6852213 h 6852213"/>
              <a:gd name="connsiteX3" fmla="*/ 0 w 5509031"/>
              <a:gd name="connsiteY3" fmla="*/ 6789649 h 6852213"/>
              <a:gd name="connsiteX4" fmla="*/ 2552723 w 5509031"/>
              <a:gd name="connsiteY4" fmla="*/ 0 h 6852213"/>
              <a:gd name="connsiteX0" fmla="*/ 2552723 w 5494413"/>
              <a:gd name="connsiteY0" fmla="*/ 0 h 6789649"/>
              <a:gd name="connsiteX1" fmla="*/ 5479189 w 5494413"/>
              <a:gd name="connsiteY1" fmla="*/ 0 h 6789649"/>
              <a:gd name="connsiteX2" fmla="*/ 5493109 w 5494413"/>
              <a:gd name="connsiteY2" fmla="*/ 6606924 h 6789649"/>
              <a:gd name="connsiteX3" fmla="*/ 0 w 5494413"/>
              <a:gd name="connsiteY3" fmla="*/ 6789649 h 6789649"/>
              <a:gd name="connsiteX4" fmla="*/ 2552723 w 5494413"/>
              <a:gd name="connsiteY4" fmla="*/ 0 h 6789649"/>
              <a:gd name="connsiteX0" fmla="*/ 2552723 w 5479189"/>
              <a:gd name="connsiteY0" fmla="*/ 0 h 6789649"/>
              <a:gd name="connsiteX1" fmla="*/ 5479189 w 5479189"/>
              <a:gd name="connsiteY1" fmla="*/ 0 h 6789649"/>
              <a:gd name="connsiteX2" fmla="*/ 5433038 w 5479189"/>
              <a:gd name="connsiteY2" fmla="*/ 6757102 h 6789649"/>
              <a:gd name="connsiteX3" fmla="*/ 0 w 5479189"/>
              <a:gd name="connsiteY3" fmla="*/ 6789649 h 6789649"/>
              <a:gd name="connsiteX4" fmla="*/ 2552723 w 5479189"/>
              <a:gd name="connsiteY4" fmla="*/ 0 h 6789649"/>
              <a:gd name="connsiteX0" fmla="*/ 3088411 w 6014877"/>
              <a:gd name="connsiteY0" fmla="*/ 0 h 6757102"/>
              <a:gd name="connsiteX1" fmla="*/ 6014877 w 6014877"/>
              <a:gd name="connsiteY1" fmla="*/ 0 h 6757102"/>
              <a:gd name="connsiteX2" fmla="*/ 5968726 w 6014877"/>
              <a:gd name="connsiteY2" fmla="*/ 6757102 h 6757102"/>
              <a:gd name="connsiteX3" fmla="*/ 0 w 6014877"/>
              <a:gd name="connsiteY3" fmla="*/ 6737568 h 6757102"/>
              <a:gd name="connsiteX4" fmla="*/ 3088411 w 6014877"/>
              <a:gd name="connsiteY4" fmla="*/ 0 h 6757102"/>
              <a:gd name="connsiteX0" fmla="*/ 3088411 w 6014877"/>
              <a:gd name="connsiteY0" fmla="*/ 0 h 6737568"/>
              <a:gd name="connsiteX1" fmla="*/ 6014877 w 6014877"/>
              <a:gd name="connsiteY1" fmla="*/ 0 h 6737568"/>
              <a:gd name="connsiteX2" fmla="*/ 5946405 w 6014877"/>
              <a:gd name="connsiteY2" fmla="*/ 6593419 h 6737568"/>
              <a:gd name="connsiteX3" fmla="*/ 0 w 6014877"/>
              <a:gd name="connsiteY3" fmla="*/ 6737568 h 6737568"/>
              <a:gd name="connsiteX4" fmla="*/ 3088411 w 6014877"/>
              <a:gd name="connsiteY4" fmla="*/ 0 h 6737568"/>
              <a:gd name="connsiteX0" fmla="*/ 3088411 w 6014877"/>
              <a:gd name="connsiteY0" fmla="*/ 0 h 6737568"/>
              <a:gd name="connsiteX1" fmla="*/ 6014877 w 6014877"/>
              <a:gd name="connsiteY1" fmla="*/ 0 h 6737568"/>
              <a:gd name="connsiteX2" fmla="*/ 5938965 w 6014877"/>
              <a:gd name="connsiteY2" fmla="*/ 6727341 h 6737568"/>
              <a:gd name="connsiteX3" fmla="*/ 0 w 6014877"/>
              <a:gd name="connsiteY3" fmla="*/ 6737568 h 6737568"/>
              <a:gd name="connsiteX4" fmla="*/ 3088411 w 6014877"/>
              <a:gd name="connsiteY4" fmla="*/ 0 h 6737568"/>
              <a:gd name="connsiteX0" fmla="*/ 3088411 w 6014877"/>
              <a:gd name="connsiteY0" fmla="*/ 0 h 6737568"/>
              <a:gd name="connsiteX1" fmla="*/ 6014877 w 6014877"/>
              <a:gd name="connsiteY1" fmla="*/ 0 h 6737568"/>
              <a:gd name="connsiteX2" fmla="*/ 5946405 w 6014877"/>
              <a:gd name="connsiteY2" fmla="*/ 6712461 h 6737568"/>
              <a:gd name="connsiteX3" fmla="*/ 0 w 6014877"/>
              <a:gd name="connsiteY3" fmla="*/ 6737568 h 6737568"/>
              <a:gd name="connsiteX4" fmla="*/ 3088411 w 6014877"/>
              <a:gd name="connsiteY4" fmla="*/ 0 h 6737568"/>
              <a:gd name="connsiteX0" fmla="*/ 3088411 w 6014877"/>
              <a:gd name="connsiteY0" fmla="*/ 0 h 6737568"/>
              <a:gd name="connsiteX1" fmla="*/ 6014877 w 6014877"/>
              <a:gd name="connsiteY1" fmla="*/ 0 h 6737568"/>
              <a:gd name="connsiteX2" fmla="*/ 5935104 w 6014877"/>
              <a:gd name="connsiteY2" fmla="*/ 6729413 h 6737568"/>
              <a:gd name="connsiteX3" fmla="*/ 0 w 6014877"/>
              <a:gd name="connsiteY3" fmla="*/ 6737568 h 6737568"/>
              <a:gd name="connsiteX4" fmla="*/ 3088411 w 6014877"/>
              <a:gd name="connsiteY4" fmla="*/ 0 h 6737568"/>
              <a:gd name="connsiteX0" fmla="*/ 3088411 w 6014877"/>
              <a:gd name="connsiteY0" fmla="*/ 0 h 6737568"/>
              <a:gd name="connsiteX1" fmla="*/ 6014877 w 6014877"/>
              <a:gd name="connsiteY1" fmla="*/ 0 h 6737568"/>
              <a:gd name="connsiteX2" fmla="*/ 5952057 w 6014877"/>
              <a:gd name="connsiteY2" fmla="*/ 6729413 h 6737568"/>
              <a:gd name="connsiteX3" fmla="*/ 0 w 6014877"/>
              <a:gd name="connsiteY3" fmla="*/ 6737568 h 6737568"/>
              <a:gd name="connsiteX4" fmla="*/ 3088411 w 6014877"/>
              <a:gd name="connsiteY4" fmla="*/ 0 h 6737568"/>
              <a:gd name="connsiteX0" fmla="*/ 2534640 w 6014877"/>
              <a:gd name="connsiteY0" fmla="*/ 11302 h 6737568"/>
              <a:gd name="connsiteX1" fmla="*/ 6014877 w 6014877"/>
              <a:gd name="connsiteY1" fmla="*/ 0 h 6737568"/>
              <a:gd name="connsiteX2" fmla="*/ 5952057 w 6014877"/>
              <a:gd name="connsiteY2" fmla="*/ 6729413 h 6737568"/>
              <a:gd name="connsiteX3" fmla="*/ 0 w 6014877"/>
              <a:gd name="connsiteY3" fmla="*/ 6737568 h 6737568"/>
              <a:gd name="connsiteX4" fmla="*/ 2534640 w 6014877"/>
              <a:gd name="connsiteY4" fmla="*/ 11302 h 6737568"/>
              <a:gd name="connsiteX0" fmla="*/ 2534640 w 5954363"/>
              <a:gd name="connsiteY0" fmla="*/ 0 h 6726266"/>
              <a:gd name="connsiteX1" fmla="*/ 5952719 w 5954363"/>
              <a:gd name="connsiteY1" fmla="*/ 11301 h 6726266"/>
              <a:gd name="connsiteX2" fmla="*/ 5952057 w 5954363"/>
              <a:gd name="connsiteY2" fmla="*/ 6718111 h 6726266"/>
              <a:gd name="connsiteX3" fmla="*/ 0 w 5954363"/>
              <a:gd name="connsiteY3" fmla="*/ 6726266 h 6726266"/>
              <a:gd name="connsiteX4" fmla="*/ 2534640 w 5954363"/>
              <a:gd name="connsiteY4" fmla="*/ 0 h 6726266"/>
              <a:gd name="connsiteX0" fmla="*/ 2534640 w 5952207"/>
              <a:gd name="connsiteY0" fmla="*/ 0 h 6726266"/>
              <a:gd name="connsiteX1" fmla="*/ 5675834 w 5952207"/>
              <a:gd name="connsiteY1" fmla="*/ 118664 h 6726266"/>
              <a:gd name="connsiteX2" fmla="*/ 5952057 w 5952207"/>
              <a:gd name="connsiteY2" fmla="*/ 6718111 h 6726266"/>
              <a:gd name="connsiteX3" fmla="*/ 0 w 5952207"/>
              <a:gd name="connsiteY3" fmla="*/ 6726266 h 6726266"/>
              <a:gd name="connsiteX4" fmla="*/ 2534640 w 5952207"/>
              <a:gd name="connsiteY4" fmla="*/ 0 h 6726266"/>
              <a:gd name="connsiteX0" fmla="*/ 2534640 w 5958370"/>
              <a:gd name="connsiteY0" fmla="*/ 0 h 6726266"/>
              <a:gd name="connsiteX1" fmla="*/ 5958370 w 5958370"/>
              <a:gd name="connsiteY1" fmla="*/ 28253 h 6726266"/>
              <a:gd name="connsiteX2" fmla="*/ 5952057 w 5958370"/>
              <a:gd name="connsiteY2" fmla="*/ 6718111 h 6726266"/>
              <a:gd name="connsiteX3" fmla="*/ 0 w 5958370"/>
              <a:gd name="connsiteY3" fmla="*/ 6726266 h 6726266"/>
              <a:gd name="connsiteX4" fmla="*/ 2534640 w 5958370"/>
              <a:gd name="connsiteY4" fmla="*/ 0 h 6726266"/>
              <a:gd name="connsiteX0" fmla="*/ 2574194 w 5958370"/>
              <a:gd name="connsiteY0" fmla="*/ 50857 h 6698013"/>
              <a:gd name="connsiteX1" fmla="*/ 5958370 w 5958370"/>
              <a:gd name="connsiteY1" fmla="*/ 0 h 6698013"/>
              <a:gd name="connsiteX2" fmla="*/ 5952057 w 5958370"/>
              <a:gd name="connsiteY2" fmla="*/ 6689858 h 6698013"/>
              <a:gd name="connsiteX3" fmla="*/ 0 w 5958370"/>
              <a:gd name="connsiteY3" fmla="*/ 6698013 h 6698013"/>
              <a:gd name="connsiteX4" fmla="*/ 2574194 w 5958370"/>
              <a:gd name="connsiteY4" fmla="*/ 50857 h 6698013"/>
              <a:gd name="connsiteX0" fmla="*/ 2534640 w 5958370"/>
              <a:gd name="connsiteY0" fmla="*/ 0 h 6709314"/>
              <a:gd name="connsiteX1" fmla="*/ 5958370 w 5958370"/>
              <a:gd name="connsiteY1" fmla="*/ 11301 h 6709314"/>
              <a:gd name="connsiteX2" fmla="*/ 5952057 w 5958370"/>
              <a:gd name="connsiteY2" fmla="*/ 6701159 h 6709314"/>
              <a:gd name="connsiteX3" fmla="*/ 0 w 5958370"/>
              <a:gd name="connsiteY3" fmla="*/ 6709314 h 6709314"/>
              <a:gd name="connsiteX4" fmla="*/ 2534640 w 5958370"/>
              <a:gd name="connsiteY4" fmla="*/ 0 h 6709314"/>
              <a:gd name="connsiteX0" fmla="*/ 2545942 w 5969672"/>
              <a:gd name="connsiteY0" fmla="*/ 0 h 6701159"/>
              <a:gd name="connsiteX1" fmla="*/ 5969672 w 5969672"/>
              <a:gd name="connsiteY1" fmla="*/ 11301 h 6701159"/>
              <a:gd name="connsiteX2" fmla="*/ 5963359 w 5969672"/>
              <a:gd name="connsiteY2" fmla="*/ 6701159 h 6701159"/>
              <a:gd name="connsiteX3" fmla="*/ 0 w 5969672"/>
              <a:gd name="connsiteY3" fmla="*/ 6698012 h 6701159"/>
              <a:gd name="connsiteX4" fmla="*/ 2545942 w 5969672"/>
              <a:gd name="connsiteY4" fmla="*/ 0 h 67011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69672" h="6701159">
                <a:moveTo>
                  <a:pt x="2545942" y="0"/>
                </a:moveTo>
                <a:lnTo>
                  <a:pt x="5969672" y="11301"/>
                </a:lnTo>
                <a:cubicBezTo>
                  <a:pt x="5961956" y="2299230"/>
                  <a:pt x="5971075" y="4413230"/>
                  <a:pt x="5963359" y="6701159"/>
                </a:cubicBezTo>
                <a:lnTo>
                  <a:pt x="0" y="6698012"/>
                </a:lnTo>
                <a:lnTo>
                  <a:pt x="2545942" y="0"/>
                </a:lnTo>
                <a:close/>
              </a:path>
            </a:pathLst>
          </a:custGeom>
          <a:gradFill>
            <a:gsLst>
              <a:gs pos="0">
                <a:schemeClr val="accent1"/>
              </a:gs>
              <a:gs pos="100000">
                <a:schemeClr val="accent2"/>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accent4"/>
              </a:solidFill>
            </a:endParaRPr>
          </a:p>
        </p:txBody>
      </p:sp>
      <p:graphicFrame>
        <p:nvGraphicFramePr>
          <p:cNvPr id="3" name="Object 2" hidden="1">
            <a:extLst>
              <a:ext uri="{FF2B5EF4-FFF2-40B4-BE49-F238E27FC236}">
                <a16:creationId xmlns:a16="http://schemas.microsoft.com/office/drawing/2014/main" id="{C18526C9-16E3-4A1D-828A-4692734F055E}"/>
              </a:ext>
            </a:extLst>
          </p:cNvPr>
          <p:cNvGraphicFramePr>
            <a:graphicFrameLocks noChangeAspect="1"/>
          </p:cNvGraphicFramePr>
          <p:nvPr userDrawn="1">
            <p:custDataLst>
              <p:tags r:id="rId2"/>
            </p:custDataLst>
            <p:extLst>
              <p:ext uri="{D42A27DB-BD31-4B8C-83A1-F6EECF244321}">
                <p14:modId xmlns:p14="http://schemas.microsoft.com/office/powerpoint/2010/main" val="26420901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48" name="think-cell Slide" r:id="rId5" imgW="473" imgH="474" progId="TCLayout.ActiveDocument.1">
                  <p:embed/>
                </p:oleObj>
              </mc:Choice>
              <mc:Fallback>
                <p:oleObj name="think-cell Slide" r:id="rId5" imgW="473" imgH="474" progId="TCLayout.ActiveDocument.1">
                  <p:embed/>
                  <p:pic>
                    <p:nvPicPr>
                      <p:cNvPr id="3" name="Object 2" hidden="1">
                        <a:extLst>
                          <a:ext uri="{FF2B5EF4-FFF2-40B4-BE49-F238E27FC236}">
                            <a16:creationId xmlns:a16="http://schemas.microsoft.com/office/drawing/2014/main" id="{C18526C9-16E3-4A1D-828A-4692734F055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B2B384D-A05A-4439-838E-B66DA57DCB38}"/>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Verdana" panose="020B0604030504040204" pitchFamily="34" charset="0"/>
              <a:ea typeface="+mj-ea"/>
              <a:cs typeface="+mj-cs"/>
              <a:sym typeface="Verdana" panose="020B0604030504040204" pitchFamily="34" charset="0"/>
            </a:endParaRPr>
          </a:p>
        </p:txBody>
      </p:sp>
      <p:sp>
        <p:nvSpPr>
          <p:cNvPr id="8" name="Text Placeholder 7">
            <a:extLst>
              <a:ext uri="{FF2B5EF4-FFF2-40B4-BE49-F238E27FC236}">
                <a16:creationId xmlns:a16="http://schemas.microsoft.com/office/drawing/2014/main" id="{3A15B74D-3758-47B9-82C3-FFA884FCE23F}"/>
              </a:ext>
            </a:extLst>
          </p:cNvPr>
          <p:cNvSpPr>
            <a:spLocks noGrp="1"/>
          </p:cNvSpPr>
          <p:nvPr>
            <p:ph type="body" sz="quarter" idx="18"/>
          </p:nvPr>
        </p:nvSpPr>
        <p:spPr>
          <a:xfrm>
            <a:off x="376664" y="1973484"/>
            <a:ext cx="3342849" cy="2540643"/>
          </a:xfrm>
        </p:spPr>
        <p:txBody>
          <a:bodyPr/>
          <a:lstStyle>
            <a:lvl1pPr>
              <a:defRPr sz="1400">
                <a:solidFill>
                  <a:schemeClr val="bg1"/>
                </a:solidFill>
              </a:defRPr>
            </a:lvl1pPr>
          </a:lstStyle>
          <a:p>
            <a:pPr lvl="0"/>
            <a:r>
              <a:rPr lang="en-US" dirty="0"/>
              <a:t>Click to edit Master text styles</a:t>
            </a:r>
          </a:p>
        </p:txBody>
      </p:sp>
      <p:sp>
        <p:nvSpPr>
          <p:cNvPr id="18" name="CuadroTexto 64">
            <a:extLst>
              <a:ext uri="{FF2B5EF4-FFF2-40B4-BE49-F238E27FC236}">
                <a16:creationId xmlns:a16="http://schemas.microsoft.com/office/drawing/2014/main" id="{7EEFB272-44BD-4440-81FD-B5BE8200048F}"/>
              </a:ext>
            </a:extLst>
          </p:cNvPr>
          <p:cNvSpPr txBox="1"/>
          <p:nvPr userDrawn="1"/>
        </p:nvSpPr>
        <p:spPr>
          <a:xfrm>
            <a:off x="10882303" y="6449284"/>
            <a:ext cx="936214" cy="138499"/>
          </a:xfrm>
          <a:prstGeom prst="rect">
            <a:avLst/>
          </a:prstGeom>
          <a:noFill/>
        </p:spPr>
        <p:txBody>
          <a:bodyPr wrap="square" lIns="0" tIns="0" rIns="0" bIns="0" rtlCol="0">
            <a:spAutoFit/>
          </a:bodyPr>
          <a:lstStyle/>
          <a:p>
            <a:pPr algn="r"/>
            <a:fld id="{A4EEDD72-1D6A-6B46-BCFA-C211F73E9379}" type="slidenum">
              <a:rPr lang="es-ES" sz="900" b="1" smtClean="0">
                <a:solidFill>
                  <a:schemeClr val="accent1"/>
                </a:solidFill>
                <a:latin typeface="Verdana" panose="020B0604030504040204" pitchFamily="34" charset="0"/>
                <a:ea typeface="Verdana" panose="020B0604030504040204" pitchFamily="34" charset="0"/>
                <a:cs typeface="Verdana" panose="020B0604030504040204" pitchFamily="34" charset="0"/>
              </a:rPr>
              <a:pPr algn="r"/>
              <a:t>‹N›</a:t>
            </a:fld>
            <a:endParaRPr lang="es-ES" sz="900" b="1" dirty="0">
              <a:solidFill>
                <a:schemeClr val="accent1"/>
              </a:solidFill>
              <a:latin typeface="Verdana" panose="020B0604030504040204" pitchFamily="34" charset="0"/>
              <a:ea typeface="Verdana" panose="020B0604030504040204" pitchFamily="34" charset="0"/>
              <a:cs typeface="Verdana" panose="020B0604030504040204" pitchFamily="34" charset="0"/>
            </a:endParaRPr>
          </a:p>
        </p:txBody>
      </p:sp>
      <p:sp>
        <p:nvSpPr>
          <p:cNvPr id="9" name="Title 8">
            <a:extLst>
              <a:ext uri="{FF2B5EF4-FFF2-40B4-BE49-F238E27FC236}">
                <a16:creationId xmlns:a16="http://schemas.microsoft.com/office/drawing/2014/main" id="{965B48A6-C16F-42F8-ABA4-E292AD3ADAB5}"/>
              </a:ext>
            </a:extLst>
          </p:cNvPr>
          <p:cNvSpPr>
            <a:spLocks noGrp="1"/>
          </p:cNvSpPr>
          <p:nvPr>
            <p:ph type="title"/>
          </p:nvPr>
        </p:nvSpPr>
        <p:spPr>
          <a:xfrm>
            <a:off x="375074" y="252000"/>
            <a:ext cx="4028652" cy="432000"/>
          </a:xfrm>
        </p:spPr>
        <p:txBody>
          <a:bodyPr/>
          <a:lstStyle>
            <a:lvl1pPr>
              <a:defRPr>
                <a:solidFill>
                  <a:schemeClr val="bg1"/>
                </a:solidFill>
              </a:defRPr>
            </a:lvl1pPr>
          </a:lstStyle>
          <a:p>
            <a:endParaRPr lang="en-US" dirty="0"/>
          </a:p>
        </p:txBody>
      </p:sp>
      <p:pic>
        <p:nvPicPr>
          <p:cNvPr id="21" name="Graphic 10">
            <a:extLst>
              <a:ext uri="{FF2B5EF4-FFF2-40B4-BE49-F238E27FC236}">
                <a16:creationId xmlns:a16="http://schemas.microsoft.com/office/drawing/2014/main" id="{B6011187-AA8E-452B-973C-511891D6AD7A}"/>
              </a:ext>
            </a:extLst>
          </p:cNvPr>
          <p:cNvPicPr>
            <a:picLocks noChangeAspect="1"/>
          </p:cNvPicPr>
          <p:nvPr userDrawn="1"/>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70517" y="6420188"/>
            <a:ext cx="675863" cy="162467"/>
          </a:xfrm>
          <a:prstGeom prst="rect">
            <a:avLst/>
          </a:prstGeom>
        </p:spPr>
      </p:pic>
      <p:sp>
        <p:nvSpPr>
          <p:cNvPr id="16" name="Footer Placeholder 4">
            <a:extLst>
              <a:ext uri="{FF2B5EF4-FFF2-40B4-BE49-F238E27FC236}">
                <a16:creationId xmlns:a16="http://schemas.microsoft.com/office/drawing/2014/main" id="{0633D098-B8C0-4C54-8883-C95D031F0CA0}"/>
              </a:ext>
            </a:extLst>
          </p:cNvPr>
          <p:cNvSpPr txBox="1"/>
          <p:nvPr userDrawn="1"/>
        </p:nvSpPr>
        <p:spPr>
          <a:xfrm>
            <a:off x="5361433" y="6449284"/>
            <a:ext cx="1475068" cy="133372"/>
          </a:xfrm>
          <a:prstGeom prst="rect">
            <a:avLst/>
          </a:prstGeom>
        </p:spPr>
        <p:txBody>
          <a:bodyPr vert="horz" lIns="0" tIns="0" rIns="0" bIns="0" rtlCol="0" anchor="t" anchorCtr="0">
            <a:noAutofit/>
          </a:bodyPr>
          <a:lstStyle>
            <a:defPPr>
              <a:defRPr lang="es-ES"/>
            </a:defPPr>
            <a:lvl1pPr marL="0" algn="l" defTabSz="914400" rtl="0" eaLnBrk="1" latinLnBrk="0" hangingPunct="1">
              <a:defRPr sz="9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dirty="0">
                <a:solidFill>
                  <a:schemeClr val="tx2"/>
                </a:solidFill>
                <a:ea typeface="Arial" charset="0"/>
                <a:cs typeface="Arial" charset="0"/>
              </a:rPr>
              <a:t>Adecco.com</a:t>
            </a:r>
          </a:p>
        </p:txBody>
      </p:sp>
      <p:sp>
        <p:nvSpPr>
          <p:cNvPr id="17" name="Marcador de texto 3">
            <a:extLst>
              <a:ext uri="{FF2B5EF4-FFF2-40B4-BE49-F238E27FC236}">
                <a16:creationId xmlns:a16="http://schemas.microsoft.com/office/drawing/2014/main" id="{32DFA04D-5523-4069-B6BB-7EFFAC9E1C5C}"/>
              </a:ext>
            </a:extLst>
          </p:cNvPr>
          <p:cNvSpPr>
            <a:spLocks noGrp="1"/>
          </p:cNvSpPr>
          <p:nvPr>
            <p:ph type="body" sz="quarter" idx="59" hasCustomPrompt="1"/>
          </p:nvPr>
        </p:nvSpPr>
        <p:spPr>
          <a:xfrm>
            <a:off x="5164893" y="4228281"/>
            <a:ext cx="1905668" cy="320400"/>
          </a:xfrm>
          <a:prstGeom prst="rect">
            <a:avLst/>
          </a:prstGeom>
        </p:spPr>
        <p:txBody>
          <a:bodyPr lIns="0" tIns="0" rIns="0" bIns="0"/>
          <a:lstStyle>
            <a:lvl1pPr algn="ctr">
              <a:buNone/>
              <a:defRPr sz="1400" b="1">
                <a:solidFill>
                  <a:srgbClr val="DA291C"/>
                </a:solidFill>
                <a:latin typeface="+mj-lt"/>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n-GB" dirty="0"/>
              <a:t>Name</a:t>
            </a:r>
          </a:p>
        </p:txBody>
      </p:sp>
      <p:sp>
        <p:nvSpPr>
          <p:cNvPr id="19" name="Text Placeholder 7">
            <a:extLst>
              <a:ext uri="{FF2B5EF4-FFF2-40B4-BE49-F238E27FC236}">
                <a16:creationId xmlns:a16="http://schemas.microsoft.com/office/drawing/2014/main" id="{B84400EA-2732-41DF-AAA0-2F83D4322FBE}"/>
              </a:ext>
            </a:extLst>
          </p:cNvPr>
          <p:cNvSpPr>
            <a:spLocks noGrp="1"/>
          </p:cNvSpPr>
          <p:nvPr>
            <p:ph type="body" sz="quarter" idx="60" hasCustomPrompt="1"/>
          </p:nvPr>
        </p:nvSpPr>
        <p:spPr>
          <a:xfrm>
            <a:off x="5153350" y="4548681"/>
            <a:ext cx="1911139" cy="320400"/>
          </a:xfrm>
        </p:spPr>
        <p:txBody>
          <a:bodyPr/>
          <a:lstStyle>
            <a:lvl1pPr algn="ctr">
              <a:defRPr sz="1400"/>
            </a:lvl1pPr>
          </a:lstStyle>
          <a:p>
            <a:pPr lvl="0"/>
            <a:r>
              <a:rPr lang="en-US" dirty="0"/>
              <a:t>Title</a:t>
            </a:r>
          </a:p>
        </p:txBody>
      </p:sp>
      <p:sp>
        <p:nvSpPr>
          <p:cNvPr id="23" name="Text Placeholder 7">
            <a:extLst>
              <a:ext uri="{FF2B5EF4-FFF2-40B4-BE49-F238E27FC236}">
                <a16:creationId xmlns:a16="http://schemas.microsoft.com/office/drawing/2014/main" id="{C6D23C22-8F7E-4F84-A73B-496E66852871}"/>
              </a:ext>
            </a:extLst>
          </p:cNvPr>
          <p:cNvSpPr>
            <a:spLocks noGrp="1"/>
          </p:cNvSpPr>
          <p:nvPr>
            <p:ph type="body" sz="quarter" idx="61"/>
          </p:nvPr>
        </p:nvSpPr>
        <p:spPr>
          <a:xfrm>
            <a:off x="5151760" y="5029281"/>
            <a:ext cx="1911139" cy="320400"/>
          </a:xfrm>
        </p:spPr>
        <p:txBody>
          <a:bodyPr/>
          <a:lstStyle>
            <a:lvl1pPr algn="ctr">
              <a:defRPr sz="1200"/>
            </a:lvl1pPr>
          </a:lstStyle>
          <a:p>
            <a:pPr lvl="0"/>
            <a:endParaRPr lang="en-US" dirty="0"/>
          </a:p>
        </p:txBody>
      </p:sp>
      <p:sp>
        <p:nvSpPr>
          <p:cNvPr id="24" name="Marcador de texto 3">
            <a:extLst>
              <a:ext uri="{FF2B5EF4-FFF2-40B4-BE49-F238E27FC236}">
                <a16:creationId xmlns:a16="http://schemas.microsoft.com/office/drawing/2014/main" id="{0C848B65-DBFF-4B66-B63B-523E596907CF}"/>
              </a:ext>
            </a:extLst>
          </p:cNvPr>
          <p:cNvSpPr>
            <a:spLocks noGrp="1"/>
          </p:cNvSpPr>
          <p:nvPr>
            <p:ph type="body" sz="quarter" idx="63" hasCustomPrompt="1"/>
          </p:nvPr>
        </p:nvSpPr>
        <p:spPr>
          <a:xfrm>
            <a:off x="7518180" y="4231837"/>
            <a:ext cx="1905668" cy="320400"/>
          </a:xfrm>
          <a:prstGeom prst="rect">
            <a:avLst/>
          </a:prstGeom>
        </p:spPr>
        <p:txBody>
          <a:bodyPr lIns="0" tIns="0" rIns="0" bIns="0"/>
          <a:lstStyle>
            <a:lvl1pPr algn="ctr">
              <a:buNone/>
              <a:defRPr sz="1400" b="1">
                <a:solidFill>
                  <a:srgbClr val="DA291C"/>
                </a:solidFill>
                <a:latin typeface="+mj-lt"/>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n-GB" dirty="0"/>
              <a:t>Name</a:t>
            </a:r>
          </a:p>
        </p:txBody>
      </p:sp>
      <p:sp>
        <p:nvSpPr>
          <p:cNvPr id="25" name="Text Placeholder 7">
            <a:extLst>
              <a:ext uri="{FF2B5EF4-FFF2-40B4-BE49-F238E27FC236}">
                <a16:creationId xmlns:a16="http://schemas.microsoft.com/office/drawing/2014/main" id="{9301CE55-8097-4098-9D4B-E0B2F39F30AC}"/>
              </a:ext>
            </a:extLst>
          </p:cNvPr>
          <p:cNvSpPr>
            <a:spLocks noGrp="1"/>
          </p:cNvSpPr>
          <p:nvPr>
            <p:ph type="body" sz="quarter" idx="64" hasCustomPrompt="1"/>
          </p:nvPr>
        </p:nvSpPr>
        <p:spPr>
          <a:xfrm>
            <a:off x="7506637" y="4552237"/>
            <a:ext cx="1911139" cy="320400"/>
          </a:xfrm>
        </p:spPr>
        <p:txBody>
          <a:bodyPr/>
          <a:lstStyle>
            <a:lvl1pPr algn="ctr">
              <a:defRPr sz="1400"/>
            </a:lvl1pPr>
          </a:lstStyle>
          <a:p>
            <a:pPr lvl="0"/>
            <a:r>
              <a:rPr lang="en-US" dirty="0"/>
              <a:t>Title</a:t>
            </a:r>
          </a:p>
        </p:txBody>
      </p:sp>
      <p:sp>
        <p:nvSpPr>
          <p:cNvPr id="26" name="Text Placeholder 7">
            <a:extLst>
              <a:ext uri="{FF2B5EF4-FFF2-40B4-BE49-F238E27FC236}">
                <a16:creationId xmlns:a16="http://schemas.microsoft.com/office/drawing/2014/main" id="{A8906D81-7376-4EA7-91AB-6A9DEF7EA462}"/>
              </a:ext>
            </a:extLst>
          </p:cNvPr>
          <p:cNvSpPr>
            <a:spLocks noGrp="1"/>
          </p:cNvSpPr>
          <p:nvPr>
            <p:ph type="body" sz="quarter" idx="65"/>
          </p:nvPr>
        </p:nvSpPr>
        <p:spPr>
          <a:xfrm>
            <a:off x="7505047" y="5032837"/>
            <a:ext cx="1911139" cy="320400"/>
          </a:xfrm>
        </p:spPr>
        <p:txBody>
          <a:bodyPr/>
          <a:lstStyle>
            <a:lvl1pPr algn="ctr">
              <a:defRPr sz="1200"/>
            </a:lvl1pPr>
          </a:lstStyle>
          <a:p>
            <a:pPr lvl="0"/>
            <a:endParaRPr lang="en-US" dirty="0"/>
          </a:p>
        </p:txBody>
      </p:sp>
      <p:sp>
        <p:nvSpPr>
          <p:cNvPr id="27" name="Marcador de texto 3">
            <a:extLst>
              <a:ext uri="{FF2B5EF4-FFF2-40B4-BE49-F238E27FC236}">
                <a16:creationId xmlns:a16="http://schemas.microsoft.com/office/drawing/2014/main" id="{70CEF643-CDDE-4396-8BA5-3331E75E3BBD}"/>
              </a:ext>
            </a:extLst>
          </p:cNvPr>
          <p:cNvSpPr>
            <a:spLocks noGrp="1"/>
          </p:cNvSpPr>
          <p:nvPr>
            <p:ph type="body" sz="quarter" idx="67" hasCustomPrompt="1"/>
          </p:nvPr>
        </p:nvSpPr>
        <p:spPr>
          <a:xfrm>
            <a:off x="9905997" y="4231837"/>
            <a:ext cx="1905668" cy="320400"/>
          </a:xfrm>
          <a:prstGeom prst="rect">
            <a:avLst/>
          </a:prstGeom>
        </p:spPr>
        <p:txBody>
          <a:bodyPr lIns="0" tIns="0" rIns="0" bIns="0"/>
          <a:lstStyle>
            <a:lvl1pPr algn="ctr">
              <a:buNone/>
              <a:defRPr sz="1400" b="1">
                <a:solidFill>
                  <a:srgbClr val="DA291C"/>
                </a:solidFill>
                <a:latin typeface="+mj-lt"/>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n-GB" dirty="0"/>
              <a:t>Name</a:t>
            </a:r>
          </a:p>
        </p:txBody>
      </p:sp>
      <p:sp>
        <p:nvSpPr>
          <p:cNvPr id="28" name="Text Placeholder 7">
            <a:extLst>
              <a:ext uri="{FF2B5EF4-FFF2-40B4-BE49-F238E27FC236}">
                <a16:creationId xmlns:a16="http://schemas.microsoft.com/office/drawing/2014/main" id="{106EDF3B-A193-4DAB-BFB4-19D111781D50}"/>
              </a:ext>
            </a:extLst>
          </p:cNvPr>
          <p:cNvSpPr>
            <a:spLocks noGrp="1"/>
          </p:cNvSpPr>
          <p:nvPr>
            <p:ph type="body" sz="quarter" idx="68" hasCustomPrompt="1"/>
          </p:nvPr>
        </p:nvSpPr>
        <p:spPr>
          <a:xfrm>
            <a:off x="9894454" y="4552237"/>
            <a:ext cx="1911139" cy="320400"/>
          </a:xfrm>
        </p:spPr>
        <p:txBody>
          <a:bodyPr/>
          <a:lstStyle>
            <a:lvl1pPr algn="ctr">
              <a:defRPr sz="1400"/>
            </a:lvl1pPr>
          </a:lstStyle>
          <a:p>
            <a:pPr lvl="0"/>
            <a:r>
              <a:rPr lang="en-US" dirty="0"/>
              <a:t>Title</a:t>
            </a:r>
          </a:p>
        </p:txBody>
      </p:sp>
      <p:sp>
        <p:nvSpPr>
          <p:cNvPr id="29" name="Text Placeholder 7">
            <a:extLst>
              <a:ext uri="{FF2B5EF4-FFF2-40B4-BE49-F238E27FC236}">
                <a16:creationId xmlns:a16="http://schemas.microsoft.com/office/drawing/2014/main" id="{5927D876-FC6C-46A8-A907-EFB4CC1AB4D7}"/>
              </a:ext>
            </a:extLst>
          </p:cNvPr>
          <p:cNvSpPr>
            <a:spLocks noGrp="1"/>
          </p:cNvSpPr>
          <p:nvPr>
            <p:ph type="body" sz="quarter" idx="69"/>
          </p:nvPr>
        </p:nvSpPr>
        <p:spPr>
          <a:xfrm>
            <a:off x="9892864" y="5032837"/>
            <a:ext cx="1911139" cy="320400"/>
          </a:xfrm>
        </p:spPr>
        <p:txBody>
          <a:bodyPr/>
          <a:lstStyle>
            <a:lvl1pPr algn="ctr">
              <a:defRPr sz="1200"/>
            </a:lvl1pPr>
          </a:lstStyle>
          <a:p>
            <a:pPr lvl="0"/>
            <a:endParaRPr lang="en-US" dirty="0"/>
          </a:p>
        </p:txBody>
      </p:sp>
      <p:sp>
        <p:nvSpPr>
          <p:cNvPr id="30" name="Picture Placeholder 5">
            <a:extLst>
              <a:ext uri="{FF2B5EF4-FFF2-40B4-BE49-F238E27FC236}">
                <a16:creationId xmlns:a16="http://schemas.microsoft.com/office/drawing/2014/main" id="{A0FC89CF-891C-4A16-AD77-25DC4569DCBE}"/>
              </a:ext>
            </a:extLst>
          </p:cNvPr>
          <p:cNvSpPr>
            <a:spLocks noGrp="1"/>
          </p:cNvSpPr>
          <p:nvPr>
            <p:ph type="pic" sz="quarter" idx="71"/>
          </p:nvPr>
        </p:nvSpPr>
        <p:spPr>
          <a:xfrm>
            <a:off x="5244821" y="2123954"/>
            <a:ext cx="1762796" cy="1762796"/>
          </a:xfrm>
          <a:prstGeom prst="flowChartConnector">
            <a:avLst/>
          </a:prstGeom>
          <a:ln>
            <a:solidFill>
              <a:srgbClr val="DA281C"/>
            </a:solidFill>
          </a:ln>
        </p:spPr>
        <p:txBody>
          <a:bodyPr/>
          <a:lstStyle/>
          <a:p>
            <a:endParaRPr lang="en-US" dirty="0"/>
          </a:p>
        </p:txBody>
      </p:sp>
      <p:sp>
        <p:nvSpPr>
          <p:cNvPr id="31" name="Picture Placeholder 5">
            <a:extLst>
              <a:ext uri="{FF2B5EF4-FFF2-40B4-BE49-F238E27FC236}">
                <a16:creationId xmlns:a16="http://schemas.microsoft.com/office/drawing/2014/main" id="{0E097020-4B61-4F3F-B7DF-2CD06143C919}"/>
              </a:ext>
            </a:extLst>
          </p:cNvPr>
          <p:cNvSpPr>
            <a:spLocks noGrp="1"/>
          </p:cNvSpPr>
          <p:nvPr>
            <p:ph type="pic" sz="quarter" idx="72"/>
          </p:nvPr>
        </p:nvSpPr>
        <p:spPr>
          <a:xfrm>
            <a:off x="7602198" y="2123954"/>
            <a:ext cx="1762796" cy="1762796"/>
          </a:xfrm>
          <a:prstGeom prst="flowChartConnector">
            <a:avLst/>
          </a:prstGeom>
          <a:ln>
            <a:solidFill>
              <a:srgbClr val="DA281C"/>
            </a:solidFill>
          </a:ln>
        </p:spPr>
      </p:sp>
      <p:sp>
        <p:nvSpPr>
          <p:cNvPr id="32" name="Picture Placeholder 5">
            <a:extLst>
              <a:ext uri="{FF2B5EF4-FFF2-40B4-BE49-F238E27FC236}">
                <a16:creationId xmlns:a16="http://schemas.microsoft.com/office/drawing/2014/main" id="{A65608AE-88E1-4C04-883D-8A6887104EBC}"/>
              </a:ext>
            </a:extLst>
          </p:cNvPr>
          <p:cNvSpPr>
            <a:spLocks noGrp="1"/>
          </p:cNvSpPr>
          <p:nvPr>
            <p:ph type="pic" sz="quarter" idx="73"/>
          </p:nvPr>
        </p:nvSpPr>
        <p:spPr>
          <a:xfrm>
            <a:off x="9967035" y="2123954"/>
            <a:ext cx="1762796" cy="1762796"/>
          </a:xfrm>
          <a:prstGeom prst="flowChartConnector">
            <a:avLst/>
          </a:prstGeom>
          <a:ln>
            <a:solidFill>
              <a:srgbClr val="DA281C"/>
            </a:solidFill>
          </a:ln>
        </p:spPr>
      </p:sp>
      <p:cxnSp>
        <p:nvCxnSpPr>
          <p:cNvPr id="33" name="Straight Connector 15">
            <a:extLst>
              <a:ext uri="{FF2B5EF4-FFF2-40B4-BE49-F238E27FC236}">
                <a16:creationId xmlns:a16="http://schemas.microsoft.com/office/drawing/2014/main" id="{98FB1C65-9750-4157-AAF8-D72671C5259A}"/>
              </a:ext>
            </a:extLst>
          </p:cNvPr>
          <p:cNvCxnSpPr>
            <a:cxnSpLocks/>
          </p:cNvCxnSpPr>
          <p:nvPr userDrawn="1"/>
        </p:nvCxnSpPr>
        <p:spPr>
          <a:xfrm>
            <a:off x="7287715" y="1925148"/>
            <a:ext cx="0" cy="3014238"/>
          </a:xfrm>
          <a:prstGeom prst="line">
            <a:avLst/>
          </a:prstGeom>
          <a:ln>
            <a:solidFill>
              <a:srgbClr val="DA281C"/>
            </a:solidFill>
          </a:ln>
        </p:spPr>
        <p:style>
          <a:lnRef idx="1">
            <a:schemeClr val="accent1"/>
          </a:lnRef>
          <a:fillRef idx="0">
            <a:schemeClr val="accent1"/>
          </a:fillRef>
          <a:effectRef idx="0">
            <a:schemeClr val="accent1"/>
          </a:effectRef>
          <a:fontRef idx="minor">
            <a:schemeClr val="tx1"/>
          </a:fontRef>
        </p:style>
      </p:cxnSp>
      <p:cxnSp>
        <p:nvCxnSpPr>
          <p:cNvPr id="34" name="Straight Connector 15">
            <a:extLst>
              <a:ext uri="{FF2B5EF4-FFF2-40B4-BE49-F238E27FC236}">
                <a16:creationId xmlns:a16="http://schemas.microsoft.com/office/drawing/2014/main" id="{5C8766AE-E86C-44FC-B29F-CEAD833A59F0}"/>
              </a:ext>
            </a:extLst>
          </p:cNvPr>
          <p:cNvCxnSpPr>
            <a:cxnSpLocks/>
          </p:cNvCxnSpPr>
          <p:nvPr userDrawn="1"/>
        </p:nvCxnSpPr>
        <p:spPr>
          <a:xfrm>
            <a:off x="9645093" y="1921881"/>
            <a:ext cx="0" cy="3014238"/>
          </a:xfrm>
          <a:prstGeom prst="line">
            <a:avLst/>
          </a:prstGeom>
          <a:ln>
            <a:solidFill>
              <a:srgbClr val="DA281C"/>
            </a:solidFill>
          </a:ln>
        </p:spPr>
        <p:style>
          <a:lnRef idx="1">
            <a:schemeClr val="accent1"/>
          </a:lnRef>
          <a:fillRef idx="0">
            <a:schemeClr val="accent1"/>
          </a:fillRef>
          <a:effectRef idx="0">
            <a:schemeClr val="accent1"/>
          </a:effectRef>
          <a:fontRef idx="minor">
            <a:schemeClr val="tx1"/>
          </a:fontRef>
        </p:style>
      </p:cxnSp>
      <p:sp>
        <p:nvSpPr>
          <p:cNvPr id="35" name="Marcador de texto 2">
            <a:extLst>
              <a:ext uri="{FF2B5EF4-FFF2-40B4-BE49-F238E27FC236}">
                <a16:creationId xmlns:a16="http://schemas.microsoft.com/office/drawing/2014/main" id="{132744E5-992B-45C3-8D2C-25BADF34710F}"/>
              </a:ext>
            </a:extLst>
          </p:cNvPr>
          <p:cNvSpPr>
            <a:spLocks noGrp="1"/>
          </p:cNvSpPr>
          <p:nvPr>
            <p:ph type="body" idx="10" hasCustomPrompt="1"/>
          </p:nvPr>
        </p:nvSpPr>
        <p:spPr>
          <a:xfrm>
            <a:off x="368790" y="722639"/>
            <a:ext cx="4034936" cy="324000"/>
          </a:xfrm>
          <a:prstGeom prst="rect">
            <a:avLst/>
          </a:prstGeom>
        </p:spPr>
        <p:txBody>
          <a:bodyPr lIns="0" tIns="0" rIns="0" bIns="0" anchor="t"/>
          <a:lstStyle>
            <a:lvl1pPr marL="0" indent="0">
              <a:lnSpc>
                <a:spcPct val="100000"/>
              </a:lnSpc>
              <a:spcBef>
                <a:spcPts val="0"/>
              </a:spcBef>
              <a:buNone/>
              <a:defRPr sz="2000" b="0">
                <a:solidFill>
                  <a:schemeClr val="bg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err="1"/>
              <a:t>Subtitle</a:t>
            </a:r>
            <a:endParaRPr lang="es-ES" dirty="0"/>
          </a:p>
        </p:txBody>
      </p:sp>
      <p:sp>
        <p:nvSpPr>
          <p:cNvPr id="36" name="Rectangle 35">
            <a:extLst>
              <a:ext uri="{FF2B5EF4-FFF2-40B4-BE49-F238E27FC236}">
                <a16:creationId xmlns:a16="http://schemas.microsoft.com/office/drawing/2014/main" id="{8AEB10D8-C2A4-468A-8A99-15A2B2FFF868}"/>
              </a:ext>
            </a:extLst>
          </p:cNvPr>
          <p:cNvSpPr/>
          <p:nvPr userDrawn="1"/>
        </p:nvSpPr>
        <p:spPr>
          <a:xfrm>
            <a:off x="3051745"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7" name="Rectangle 36">
            <a:extLst>
              <a:ext uri="{FF2B5EF4-FFF2-40B4-BE49-F238E27FC236}">
                <a16:creationId xmlns:a16="http://schemas.microsoft.com/office/drawing/2014/main" id="{6B13A137-21B4-4440-9996-9EA6C24DE0E4}"/>
              </a:ext>
            </a:extLst>
          </p:cNvPr>
          <p:cNvSpPr/>
          <p:nvPr userDrawn="1"/>
        </p:nvSpPr>
        <p:spPr>
          <a:xfrm>
            <a:off x="7490"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8" name="Rectangle 37">
            <a:extLst>
              <a:ext uri="{FF2B5EF4-FFF2-40B4-BE49-F238E27FC236}">
                <a16:creationId xmlns:a16="http://schemas.microsoft.com/office/drawing/2014/main" id="{D0D7225D-BA97-4905-BD63-A448539729D9}"/>
              </a:ext>
            </a:extLst>
          </p:cNvPr>
          <p:cNvSpPr/>
          <p:nvPr userDrawn="1"/>
        </p:nvSpPr>
        <p:spPr>
          <a:xfrm>
            <a:off x="9149414"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9" name="Rectangle 38">
            <a:extLst>
              <a:ext uri="{FF2B5EF4-FFF2-40B4-BE49-F238E27FC236}">
                <a16:creationId xmlns:a16="http://schemas.microsoft.com/office/drawing/2014/main" id="{95168E9B-A410-45D5-9ECB-A7B513A98221}"/>
              </a:ext>
            </a:extLst>
          </p:cNvPr>
          <p:cNvSpPr/>
          <p:nvPr userDrawn="1"/>
        </p:nvSpPr>
        <p:spPr>
          <a:xfrm>
            <a:off x="6105159"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Tree>
    <p:extLst>
      <p:ext uri="{BB962C8B-B14F-4D97-AF65-F5344CB8AC3E}">
        <p14:creationId xmlns:p14="http://schemas.microsoft.com/office/powerpoint/2010/main" val="322137414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ext 4 columns + titl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EAD1AAE-5F63-4F10-9BB6-9EE29C6A4E01}"/>
              </a:ext>
            </a:extLst>
          </p:cNvPr>
          <p:cNvGraphicFramePr>
            <a:graphicFrameLocks noChangeAspect="1"/>
          </p:cNvGraphicFramePr>
          <p:nvPr userDrawn="1">
            <p:custDataLst>
              <p:tags r:id="rId2"/>
            </p:custDataLst>
            <p:extLst>
              <p:ext uri="{D42A27DB-BD31-4B8C-83A1-F6EECF244321}">
                <p14:modId xmlns:p14="http://schemas.microsoft.com/office/powerpoint/2010/main" val="11424316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2" name="think-cell Slide" r:id="rId4" imgW="473" imgH="474" progId="TCLayout.ActiveDocument.1">
                  <p:embed/>
                </p:oleObj>
              </mc:Choice>
              <mc:Fallback>
                <p:oleObj name="think-cell Slide" r:id="rId4" imgW="473" imgH="474" progId="TCLayout.ActiveDocument.1">
                  <p:embed/>
                  <p:pic>
                    <p:nvPicPr>
                      <p:cNvPr id="4" name="Object 3" hidden="1">
                        <a:extLst>
                          <a:ext uri="{FF2B5EF4-FFF2-40B4-BE49-F238E27FC236}">
                            <a16:creationId xmlns:a16="http://schemas.microsoft.com/office/drawing/2014/main" id="{CEAD1AAE-5F63-4F10-9BB6-9EE29C6A4E0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ext Placeholder 12" descr="Body text will be presented like this">
            <a:extLst>
              <a:ext uri="{FF2B5EF4-FFF2-40B4-BE49-F238E27FC236}">
                <a16:creationId xmlns:a16="http://schemas.microsoft.com/office/drawing/2014/main" id="{222F074C-9474-1441-92BA-E96D35681FC8}"/>
              </a:ext>
            </a:extLst>
          </p:cNvPr>
          <p:cNvSpPr>
            <a:spLocks noGrp="1"/>
          </p:cNvSpPr>
          <p:nvPr>
            <p:ph type="body" sz="quarter" idx="14" hasCustomPrompt="1"/>
          </p:nvPr>
        </p:nvSpPr>
        <p:spPr>
          <a:xfrm>
            <a:off x="368790" y="1764000"/>
            <a:ext cx="2628000" cy="4032000"/>
          </a:xfrm>
          <a:prstGeom prst="rect">
            <a:avLst/>
          </a:prstGeom>
        </p:spPr>
        <p:txBody>
          <a:bodyPr wrap="square" lIns="0" tIns="0" rIns="0" bIns="0"/>
          <a:lstStyle>
            <a:lvl1pPr marL="0" indent="0" algn="ctr">
              <a:lnSpc>
                <a:spcPct val="110000"/>
              </a:lnSpc>
              <a:spcBef>
                <a:spcPts val="0"/>
              </a:spcBef>
              <a:buNone/>
              <a:defRPr sz="1400" b="0">
                <a:latin typeface="+mn-lt"/>
              </a:defRPr>
            </a:lvl1pPr>
            <a:lvl2pPr marL="0" indent="0">
              <a:lnSpc>
                <a:spcPct val="120000"/>
              </a:lnSpc>
              <a:defRPr sz="1200"/>
            </a:lvl2pPr>
            <a:lvl3pPr>
              <a:defRPr sz="1600"/>
            </a:lvl3pPr>
            <a:lvl4pPr>
              <a:defRPr sz="1600"/>
            </a:lvl4pPr>
            <a:lvl5pPr>
              <a:defRPr sz="1600"/>
            </a:lvl5pPr>
          </a:lstStyle>
          <a:p>
            <a:pPr lvl="0"/>
            <a:r>
              <a:rPr lang="en-US" dirty="0"/>
              <a:t>Click to edit Master text styles</a:t>
            </a:r>
          </a:p>
        </p:txBody>
      </p:sp>
      <p:sp>
        <p:nvSpPr>
          <p:cNvPr id="13" name="Text Placeholder 12" descr="Body text will be presented like this">
            <a:extLst>
              <a:ext uri="{FF2B5EF4-FFF2-40B4-BE49-F238E27FC236}">
                <a16:creationId xmlns:a16="http://schemas.microsoft.com/office/drawing/2014/main" id="{E123D2C1-20C7-B24D-B631-0B216E71BBB8}"/>
              </a:ext>
            </a:extLst>
          </p:cNvPr>
          <p:cNvSpPr>
            <a:spLocks noGrp="1"/>
          </p:cNvSpPr>
          <p:nvPr>
            <p:ph type="body" sz="quarter" idx="25" hasCustomPrompt="1"/>
          </p:nvPr>
        </p:nvSpPr>
        <p:spPr>
          <a:xfrm>
            <a:off x="3308260" y="1764000"/>
            <a:ext cx="2628000" cy="4032000"/>
          </a:xfrm>
          <a:prstGeom prst="rect">
            <a:avLst/>
          </a:prstGeom>
        </p:spPr>
        <p:txBody>
          <a:bodyPr wrap="square" lIns="0" tIns="0" rIns="0" bIns="0"/>
          <a:lstStyle>
            <a:lvl1pPr marL="0" indent="0" algn="ctr">
              <a:lnSpc>
                <a:spcPct val="110000"/>
              </a:lnSpc>
              <a:spcBef>
                <a:spcPts val="0"/>
              </a:spcBef>
              <a:buNone/>
              <a:defRPr sz="1400" b="0">
                <a:latin typeface="+mn-lt"/>
              </a:defRPr>
            </a:lvl1pPr>
            <a:lvl2pPr marL="0" indent="0">
              <a:lnSpc>
                <a:spcPct val="120000"/>
              </a:lnSpc>
              <a:defRPr sz="1200"/>
            </a:lvl2pPr>
            <a:lvl3pPr>
              <a:defRPr sz="1600"/>
            </a:lvl3pPr>
            <a:lvl4pPr>
              <a:defRPr sz="1600"/>
            </a:lvl4pPr>
            <a:lvl5pPr>
              <a:defRPr sz="1600"/>
            </a:lvl5pPr>
          </a:lstStyle>
          <a:p>
            <a:pPr lvl="0"/>
            <a:r>
              <a:rPr lang="en-US" dirty="0"/>
              <a:t>Click to edit Master text styles</a:t>
            </a:r>
          </a:p>
        </p:txBody>
      </p:sp>
      <p:sp>
        <p:nvSpPr>
          <p:cNvPr id="18" name="Text Placeholder 12" descr="Body text will be presented like this">
            <a:extLst>
              <a:ext uri="{FF2B5EF4-FFF2-40B4-BE49-F238E27FC236}">
                <a16:creationId xmlns:a16="http://schemas.microsoft.com/office/drawing/2014/main" id="{4EBFC386-3520-B542-A356-7958C9441B98}"/>
              </a:ext>
            </a:extLst>
          </p:cNvPr>
          <p:cNvSpPr>
            <a:spLocks noGrp="1"/>
          </p:cNvSpPr>
          <p:nvPr>
            <p:ph type="body" sz="quarter" idx="26" hasCustomPrompt="1"/>
          </p:nvPr>
        </p:nvSpPr>
        <p:spPr>
          <a:xfrm>
            <a:off x="6247730" y="1764000"/>
            <a:ext cx="2628000" cy="4032000"/>
          </a:xfrm>
          <a:prstGeom prst="rect">
            <a:avLst/>
          </a:prstGeom>
        </p:spPr>
        <p:txBody>
          <a:bodyPr wrap="square" lIns="0" tIns="0" rIns="0" bIns="0"/>
          <a:lstStyle>
            <a:lvl1pPr marL="0" indent="0" algn="ctr">
              <a:lnSpc>
                <a:spcPct val="110000"/>
              </a:lnSpc>
              <a:spcBef>
                <a:spcPts val="0"/>
              </a:spcBef>
              <a:buNone/>
              <a:defRPr sz="1400" b="0">
                <a:latin typeface="+mn-lt"/>
              </a:defRPr>
            </a:lvl1pPr>
            <a:lvl2pPr marL="0" indent="0">
              <a:lnSpc>
                <a:spcPct val="120000"/>
              </a:lnSpc>
              <a:defRPr sz="1200"/>
            </a:lvl2pPr>
            <a:lvl3pPr>
              <a:defRPr sz="1600"/>
            </a:lvl3pPr>
            <a:lvl4pPr>
              <a:defRPr sz="1600"/>
            </a:lvl4pPr>
            <a:lvl5pPr>
              <a:defRPr sz="1600"/>
            </a:lvl5pPr>
          </a:lstStyle>
          <a:p>
            <a:pPr lvl="0"/>
            <a:r>
              <a:rPr lang="en-US" dirty="0"/>
              <a:t>Click to edit Master text styles</a:t>
            </a:r>
          </a:p>
        </p:txBody>
      </p:sp>
      <p:sp>
        <p:nvSpPr>
          <p:cNvPr id="19" name="Text Placeholder 12" descr="Body text will be presented like this">
            <a:extLst>
              <a:ext uri="{FF2B5EF4-FFF2-40B4-BE49-F238E27FC236}">
                <a16:creationId xmlns:a16="http://schemas.microsoft.com/office/drawing/2014/main" id="{B39FD9AC-9727-2A48-88FA-87D0E68DBDBA}"/>
              </a:ext>
            </a:extLst>
          </p:cNvPr>
          <p:cNvSpPr>
            <a:spLocks noGrp="1"/>
          </p:cNvSpPr>
          <p:nvPr>
            <p:ph type="body" sz="quarter" idx="27" hasCustomPrompt="1"/>
          </p:nvPr>
        </p:nvSpPr>
        <p:spPr>
          <a:xfrm>
            <a:off x="9187200" y="1764000"/>
            <a:ext cx="2628000" cy="4032000"/>
          </a:xfrm>
          <a:prstGeom prst="rect">
            <a:avLst/>
          </a:prstGeom>
        </p:spPr>
        <p:txBody>
          <a:bodyPr wrap="square" lIns="0" tIns="0" rIns="0" bIns="0"/>
          <a:lstStyle>
            <a:lvl1pPr marL="0" indent="0" algn="ctr">
              <a:lnSpc>
                <a:spcPct val="110000"/>
              </a:lnSpc>
              <a:spcBef>
                <a:spcPts val="0"/>
              </a:spcBef>
              <a:buNone/>
              <a:defRPr sz="1400" b="0">
                <a:latin typeface="+mn-lt"/>
              </a:defRPr>
            </a:lvl1pPr>
            <a:lvl2pPr marL="0" indent="0">
              <a:lnSpc>
                <a:spcPct val="120000"/>
              </a:lnSpc>
              <a:defRPr sz="1200"/>
            </a:lvl2pPr>
            <a:lvl3pPr>
              <a:defRPr sz="1600"/>
            </a:lvl3pPr>
            <a:lvl4pPr>
              <a:defRPr sz="1600"/>
            </a:lvl4pPr>
            <a:lvl5pPr>
              <a:defRPr sz="1600"/>
            </a:lvl5pPr>
          </a:lstStyle>
          <a:p>
            <a:pPr lvl="0"/>
            <a:r>
              <a:rPr lang="en-US" dirty="0"/>
              <a:t>Click to edit Master text styles</a:t>
            </a:r>
          </a:p>
        </p:txBody>
      </p:sp>
      <p:sp>
        <p:nvSpPr>
          <p:cNvPr id="6" name="Marcador de texto 5">
            <a:extLst>
              <a:ext uri="{FF2B5EF4-FFF2-40B4-BE49-F238E27FC236}">
                <a16:creationId xmlns:a16="http://schemas.microsoft.com/office/drawing/2014/main" id="{52634D77-C330-CF4B-9D59-C72C7B81A965}"/>
              </a:ext>
            </a:extLst>
          </p:cNvPr>
          <p:cNvSpPr>
            <a:spLocks noGrp="1"/>
          </p:cNvSpPr>
          <p:nvPr>
            <p:ph type="body" sz="quarter" idx="28" hasCustomPrompt="1"/>
          </p:nvPr>
        </p:nvSpPr>
        <p:spPr>
          <a:xfrm>
            <a:off x="368790" y="1396800"/>
            <a:ext cx="2628000" cy="239712"/>
          </a:xfrm>
          <a:prstGeom prst="rect">
            <a:avLst/>
          </a:prstGeom>
        </p:spPr>
        <p:txBody>
          <a:bodyPr lIns="0" tIns="0" rIns="0" bIns="0"/>
          <a:lstStyle>
            <a:lvl1pPr marL="0" indent="0" algn="ctr">
              <a:lnSpc>
                <a:spcPct val="110000"/>
              </a:lnSpc>
              <a:buNone/>
              <a:defRPr sz="1400" b="1">
                <a:latin typeface="+mj-lt"/>
              </a:defRPr>
            </a:lvl1pPr>
            <a:lvl2pPr indent="0">
              <a:lnSpc>
                <a:spcPct val="110000"/>
              </a:lnSpc>
              <a:buNone/>
              <a:defRPr sz="1000" b="1">
                <a:latin typeface="+mj-lt"/>
              </a:defRPr>
            </a:lvl2pPr>
            <a:lvl3pPr indent="0">
              <a:lnSpc>
                <a:spcPct val="110000"/>
              </a:lnSpc>
              <a:buNone/>
              <a:defRPr sz="1000" b="1">
                <a:latin typeface="+mj-lt"/>
              </a:defRPr>
            </a:lvl3pPr>
            <a:lvl4pPr indent="0">
              <a:lnSpc>
                <a:spcPct val="110000"/>
              </a:lnSpc>
              <a:buNone/>
              <a:defRPr sz="1000" b="1">
                <a:latin typeface="+mj-lt"/>
              </a:defRPr>
            </a:lvl4pPr>
            <a:lvl5pPr indent="0">
              <a:lnSpc>
                <a:spcPct val="110000"/>
              </a:lnSpc>
              <a:buNone/>
              <a:defRPr sz="1000" b="1">
                <a:latin typeface="+mj-lt"/>
              </a:defRPr>
            </a:lvl5pPr>
          </a:lstStyle>
          <a:p>
            <a:pPr lvl="0"/>
            <a:r>
              <a:rPr lang="es-ES" dirty="0" err="1"/>
              <a:t>Title</a:t>
            </a:r>
            <a:endParaRPr lang="en-GB" dirty="0"/>
          </a:p>
        </p:txBody>
      </p:sp>
      <p:sp>
        <p:nvSpPr>
          <p:cNvPr id="28" name="Marcador de texto 5">
            <a:extLst>
              <a:ext uri="{FF2B5EF4-FFF2-40B4-BE49-F238E27FC236}">
                <a16:creationId xmlns:a16="http://schemas.microsoft.com/office/drawing/2014/main" id="{82C001E4-8932-CF48-81EF-E783FF31A31E}"/>
              </a:ext>
            </a:extLst>
          </p:cNvPr>
          <p:cNvSpPr>
            <a:spLocks noGrp="1"/>
          </p:cNvSpPr>
          <p:nvPr>
            <p:ph type="body" sz="quarter" idx="29" hasCustomPrompt="1"/>
          </p:nvPr>
        </p:nvSpPr>
        <p:spPr>
          <a:xfrm>
            <a:off x="3308260" y="1396800"/>
            <a:ext cx="2628000" cy="239712"/>
          </a:xfrm>
          <a:prstGeom prst="rect">
            <a:avLst/>
          </a:prstGeom>
        </p:spPr>
        <p:txBody>
          <a:bodyPr lIns="0" tIns="0" rIns="0" bIns="0"/>
          <a:lstStyle>
            <a:lvl1pPr marL="0" indent="0" algn="ctr">
              <a:lnSpc>
                <a:spcPct val="110000"/>
              </a:lnSpc>
              <a:buNone/>
              <a:defRPr sz="1400" b="1">
                <a:latin typeface="+mj-lt"/>
              </a:defRPr>
            </a:lvl1pPr>
            <a:lvl2pPr indent="0">
              <a:lnSpc>
                <a:spcPct val="110000"/>
              </a:lnSpc>
              <a:buNone/>
              <a:defRPr sz="1000" b="1">
                <a:latin typeface="+mj-lt"/>
              </a:defRPr>
            </a:lvl2pPr>
            <a:lvl3pPr indent="0">
              <a:lnSpc>
                <a:spcPct val="110000"/>
              </a:lnSpc>
              <a:buNone/>
              <a:defRPr sz="1000" b="1">
                <a:latin typeface="+mj-lt"/>
              </a:defRPr>
            </a:lvl3pPr>
            <a:lvl4pPr indent="0">
              <a:lnSpc>
                <a:spcPct val="110000"/>
              </a:lnSpc>
              <a:buNone/>
              <a:defRPr sz="1000" b="1">
                <a:latin typeface="+mj-lt"/>
              </a:defRPr>
            </a:lvl4pPr>
            <a:lvl5pPr indent="0">
              <a:lnSpc>
                <a:spcPct val="110000"/>
              </a:lnSpc>
              <a:buNone/>
              <a:defRPr sz="1000" b="1">
                <a:latin typeface="+mj-lt"/>
              </a:defRPr>
            </a:lvl5pPr>
          </a:lstStyle>
          <a:p>
            <a:pPr lvl="0"/>
            <a:r>
              <a:rPr lang="es-ES" dirty="0" err="1"/>
              <a:t>Title</a:t>
            </a:r>
            <a:endParaRPr lang="en-GB" dirty="0"/>
          </a:p>
        </p:txBody>
      </p:sp>
      <p:sp>
        <p:nvSpPr>
          <p:cNvPr id="29" name="Marcador de texto 5">
            <a:extLst>
              <a:ext uri="{FF2B5EF4-FFF2-40B4-BE49-F238E27FC236}">
                <a16:creationId xmlns:a16="http://schemas.microsoft.com/office/drawing/2014/main" id="{54A3C4D8-EE40-CF42-80FC-6BF7CA84F0AF}"/>
              </a:ext>
            </a:extLst>
          </p:cNvPr>
          <p:cNvSpPr>
            <a:spLocks noGrp="1"/>
          </p:cNvSpPr>
          <p:nvPr>
            <p:ph type="body" sz="quarter" idx="30" hasCustomPrompt="1"/>
          </p:nvPr>
        </p:nvSpPr>
        <p:spPr>
          <a:xfrm>
            <a:off x="6247730" y="1396800"/>
            <a:ext cx="2628000" cy="239712"/>
          </a:xfrm>
          <a:prstGeom prst="rect">
            <a:avLst/>
          </a:prstGeom>
        </p:spPr>
        <p:txBody>
          <a:bodyPr lIns="0" tIns="0" rIns="0" bIns="0"/>
          <a:lstStyle>
            <a:lvl1pPr marL="0" indent="0" algn="ctr">
              <a:lnSpc>
                <a:spcPct val="110000"/>
              </a:lnSpc>
              <a:buNone/>
              <a:defRPr sz="1400" b="1">
                <a:latin typeface="+mj-lt"/>
              </a:defRPr>
            </a:lvl1pPr>
            <a:lvl2pPr indent="0">
              <a:lnSpc>
                <a:spcPct val="110000"/>
              </a:lnSpc>
              <a:buNone/>
              <a:defRPr sz="1000" b="1">
                <a:latin typeface="+mj-lt"/>
              </a:defRPr>
            </a:lvl2pPr>
            <a:lvl3pPr indent="0">
              <a:lnSpc>
                <a:spcPct val="110000"/>
              </a:lnSpc>
              <a:buNone/>
              <a:defRPr sz="1000" b="1">
                <a:latin typeface="+mj-lt"/>
              </a:defRPr>
            </a:lvl3pPr>
            <a:lvl4pPr indent="0">
              <a:lnSpc>
                <a:spcPct val="110000"/>
              </a:lnSpc>
              <a:buNone/>
              <a:defRPr sz="1000" b="1">
                <a:latin typeface="+mj-lt"/>
              </a:defRPr>
            </a:lvl4pPr>
            <a:lvl5pPr indent="0">
              <a:lnSpc>
                <a:spcPct val="110000"/>
              </a:lnSpc>
              <a:buNone/>
              <a:defRPr sz="1000" b="1">
                <a:latin typeface="+mj-lt"/>
              </a:defRPr>
            </a:lvl5pPr>
          </a:lstStyle>
          <a:p>
            <a:pPr lvl="0"/>
            <a:r>
              <a:rPr lang="es-ES" dirty="0" err="1"/>
              <a:t>Title</a:t>
            </a:r>
            <a:endParaRPr lang="en-GB" dirty="0"/>
          </a:p>
        </p:txBody>
      </p:sp>
      <p:sp>
        <p:nvSpPr>
          <p:cNvPr id="30" name="Marcador de texto 5">
            <a:extLst>
              <a:ext uri="{FF2B5EF4-FFF2-40B4-BE49-F238E27FC236}">
                <a16:creationId xmlns:a16="http://schemas.microsoft.com/office/drawing/2014/main" id="{E7621128-BB5D-3748-8C7D-1FBF6C592063}"/>
              </a:ext>
            </a:extLst>
          </p:cNvPr>
          <p:cNvSpPr>
            <a:spLocks noGrp="1"/>
          </p:cNvSpPr>
          <p:nvPr>
            <p:ph type="body" sz="quarter" idx="31" hasCustomPrompt="1"/>
          </p:nvPr>
        </p:nvSpPr>
        <p:spPr>
          <a:xfrm>
            <a:off x="9187200" y="1396800"/>
            <a:ext cx="2628000" cy="239712"/>
          </a:xfrm>
          <a:prstGeom prst="rect">
            <a:avLst/>
          </a:prstGeom>
        </p:spPr>
        <p:txBody>
          <a:bodyPr lIns="0" tIns="0" rIns="0" bIns="0"/>
          <a:lstStyle>
            <a:lvl1pPr marL="0" indent="0" algn="ctr">
              <a:lnSpc>
                <a:spcPct val="110000"/>
              </a:lnSpc>
              <a:buNone/>
              <a:defRPr sz="1400" b="1">
                <a:latin typeface="+mj-lt"/>
              </a:defRPr>
            </a:lvl1pPr>
            <a:lvl2pPr indent="0">
              <a:lnSpc>
                <a:spcPct val="110000"/>
              </a:lnSpc>
              <a:buNone/>
              <a:defRPr sz="1000" b="1">
                <a:latin typeface="+mj-lt"/>
              </a:defRPr>
            </a:lvl2pPr>
            <a:lvl3pPr indent="0">
              <a:lnSpc>
                <a:spcPct val="110000"/>
              </a:lnSpc>
              <a:buNone/>
              <a:defRPr sz="1000" b="1">
                <a:latin typeface="+mj-lt"/>
              </a:defRPr>
            </a:lvl3pPr>
            <a:lvl4pPr indent="0">
              <a:lnSpc>
                <a:spcPct val="110000"/>
              </a:lnSpc>
              <a:buNone/>
              <a:defRPr sz="1000" b="1">
                <a:latin typeface="+mj-lt"/>
              </a:defRPr>
            </a:lvl4pPr>
            <a:lvl5pPr indent="0">
              <a:lnSpc>
                <a:spcPct val="110000"/>
              </a:lnSpc>
              <a:buNone/>
              <a:defRPr sz="1000" b="1">
                <a:latin typeface="+mj-lt"/>
              </a:defRPr>
            </a:lvl5pPr>
          </a:lstStyle>
          <a:p>
            <a:pPr lvl="0"/>
            <a:r>
              <a:rPr lang="es-ES" dirty="0" err="1"/>
              <a:t>Title</a:t>
            </a:r>
            <a:endParaRPr lang="en-GB" dirty="0"/>
          </a:p>
        </p:txBody>
      </p:sp>
      <p:sp>
        <p:nvSpPr>
          <p:cNvPr id="14" name="Marcador de texto 2">
            <a:extLst>
              <a:ext uri="{FF2B5EF4-FFF2-40B4-BE49-F238E27FC236}">
                <a16:creationId xmlns:a16="http://schemas.microsoft.com/office/drawing/2014/main" id="{D23A926E-5A65-422A-8E34-A1836395D8E1}"/>
              </a:ext>
            </a:extLst>
          </p:cNvPr>
          <p:cNvSpPr>
            <a:spLocks noGrp="1"/>
          </p:cNvSpPr>
          <p:nvPr>
            <p:ph type="body" idx="10" hasCustomPrompt="1"/>
          </p:nvPr>
        </p:nvSpPr>
        <p:spPr>
          <a:xfrm>
            <a:off x="368790" y="722639"/>
            <a:ext cx="11446270" cy="324000"/>
          </a:xfrm>
          <a:prstGeom prst="rect">
            <a:avLst/>
          </a:prstGeom>
        </p:spPr>
        <p:txBody>
          <a:bodyPr lIns="0" tIns="0" rIns="0" bIns="0" anchor="t"/>
          <a:lstStyle>
            <a:lvl1pPr marL="0" indent="0">
              <a:lnSpc>
                <a:spcPct val="100000"/>
              </a:lnSpc>
              <a:spcBef>
                <a:spcPts val="0"/>
              </a:spcBef>
              <a:buNone/>
              <a:defRPr sz="2000" b="0">
                <a:solidFill>
                  <a:srgbClr val="000000"/>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err="1"/>
              <a:t>Subtitle</a:t>
            </a:r>
            <a:endParaRPr lang="es-ES" dirty="0"/>
          </a:p>
        </p:txBody>
      </p:sp>
      <p:sp>
        <p:nvSpPr>
          <p:cNvPr id="2" name="Title 1">
            <a:extLst>
              <a:ext uri="{FF2B5EF4-FFF2-40B4-BE49-F238E27FC236}">
                <a16:creationId xmlns:a16="http://schemas.microsoft.com/office/drawing/2014/main" id="{9BDB2B6F-178E-4507-A9C8-8DEE8605ABA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10217468"/>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ullet list or objetc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9F2F819-31EE-4767-B31E-A161B188D96C}"/>
              </a:ext>
            </a:extLst>
          </p:cNvPr>
          <p:cNvGraphicFramePr>
            <a:graphicFrameLocks noChangeAspect="1"/>
          </p:cNvGraphicFramePr>
          <p:nvPr userDrawn="1">
            <p:custDataLst>
              <p:tags r:id="rId2"/>
            </p:custDataLst>
            <p:extLst>
              <p:ext uri="{D42A27DB-BD31-4B8C-83A1-F6EECF244321}">
                <p14:modId xmlns:p14="http://schemas.microsoft.com/office/powerpoint/2010/main" val="34206013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796" name="think-cell Slide" r:id="rId4" imgW="473" imgH="474" progId="TCLayout.ActiveDocument.1">
                  <p:embed/>
                </p:oleObj>
              </mc:Choice>
              <mc:Fallback>
                <p:oleObj name="think-cell Slide" r:id="rId4" imgW="473" imgH="474" progId="TCLayout.ActiveDocument.1">
                  <p:embed/>
                  <p:pic>
                    <p:nvPicPr>
                      <p:cNvPr id="4" name="Object 3" hidden="1">
                        <a:extLst>
                          <a:ext uri="{FF2B5EF4-FFF2-40B4-BE49-F238E27FC236}">
                            <a16:creationId xmlns:a16="http://schemas.microsoft.com/office/drawing/2014/main" id="{A9F2F819-31EE-4767-B31E-A161B188D9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3" name="Marcador de texto 2">
            <a:extLst>
              <a:ext uri="{FF2B5EF4-FFF2-40B4-BE49-F238E27FC236}">
                <a16:creationId xmlns:a16="http://schemas.microsoft.com/office/drawing/2014/main" id="{D2007C2E-9B72-4F4A-BD7D-8C2DE3EFE85A}"/>
              </a:ext>
            </a:extLst>
          </p:cNvPr>
          <p:cNvSpPr>
            <a:spLocks noGrp="1"/>
          </p:cNvSpPr>
          <p:nvPr>
            <p:ph idx="17" hasCustomPrompt="1"/>
          </p:nvPr>
        </p:nvSpPr>
        <p:spPr>
          <a:xfrm>
            <a:off x="368790" y="1396800"/>
            <a:ext cx="5556946" cy="4752000"/>
          </a:xfrm>
          <a:prstGeom prst="rect">
            <a:avLst/>
          </a:prstGeom>
        </p:spPr>
        <p:txBody>
          <a:bodyPr vert="horz" lIns="0" tIns="0" rIns="0" bIns="0" rtlCol="0">
            <a:normAutofit/>
          </a:bodyPr>
          <a:lstStyle>
            <a:lvl1pPr>
              <a:lnSpc>
                <a:spcPct val="90000"/>
              </a:lnSpc>
              <a:buClr>
                <a:schemeClr val="accent1"/>
              </a:buClr>
              <a:defRPr sz="1400">
                <a:latin typeface="+mn-lt"/>
              </a:defRPr>
            </a:lvl1pPr>
            <a:lvl2pPr marL="262800" indent="-262800">
              <a:lnSpc>
                <a:spcPct val="90000"/>
              </a:lnSpc>
              <a:spcBef>
                <a:spcPts val="1200"/>
              </a:spcBef>
              <a:buClr>
                <a:schemeClr val="accent1"/>
              </a:buClr>
              <a:buSzPct val="100000"/>
              <a:buFont typeface="Arial" panose="020B0604020202020204" pitchFamily="34" charset="0"/>
              <a:buChar char="•"/>
              <a:defRPr sz="1400">
                <a:latin typeface="+mn-lt"/>
              </a:defRPr>
            </a:lvl2pPr>
            <a:lvl3pPr marL="720000" indent="-158400">
              <a:lnSpc>
                <a:spcPct val="120000"/>
              </a:lnSpc>
              <a:buClr>
                <a:schemeClr val="tx1"/>
              </a:buClr>
              <a:buSzPct val="100000"/>
              <a:buFont typeface="Apple Symbols" panose="02000000000000000000" pitchFamily="2" charset="-79"/>
              <a:buChar char="≫"/>
              <a:defRPr sz="1000">
                <a:latin typeface="+mn-lt"/>
              </a:defRPr>
            </a:lvl3pPr>
            <a:lvl4pPr marL="864000" indent="-144000">
              <a:lnSpc>
                <a:spcPct val="120000"/>
              </a:lnSpc>
              <a:buSzPct val="80000"/>
              <a:buFont typeface="Courier New" panose="02070309020205020404" pitchFamily="49" charset="0"/>
              <a:buChar char="o"/>
              <a:defRPr sz="1000">
                <a:latin typeface="+mn-lt"/>
              </a:defRPr>
            </a:lvl4pPr>
            <a:lvl5pPr>
              <a:defRPr>
                <a:latin typeface="+mn-lt"/>
              </a:defRPr>
            </a:lvl5pPr>
          </a:lstStyle>
          <a:p>
            <a:pPr lvl="0"/>
            <a:r>
              <a:rPr lang="es-ES" dirty="0" err="1"/>
              <a:t>First</a:t>
            </a:r>
            <a:r>
              <a:rPr lang="es-ES" dirty="0"/>
              <a:t> </a:t>
            </a:r>
            <a:r>
              <a:rPr lang="es-ES" dirty="0" err="1"/>
              <a:t>level</a:t>
            </a:r>
            <a:r>
              <a:rPr lang="es-ES" dirty="0"/>
              <a:t> </a:t>
            </a:r>
          </a:p>
          <a:p>
            <a:pPr lvl="1"/>
            <a:r>
              <a:rPr lang="es-ES" dirty="0" err="1"/>
              <a:t>Second</a:t>
            </a:r>
            <a:r>
              <a:rPr lang="es-ES" dirty="0"/>
              <a:t> </a:t>
            </a:r>
            <a:r>
              <a:rPr lang="es-ES" dirty="0" err="1"/>
              <a:t>level</a:t>
            </a:r>
            <a:endParaRPr lang="es-ES" dirty="0"/>
          </a:p>
        </p:txBody>
      </p:sp>
      <p:sp>
        <p:nvSpPr>
          <p:cNvPr id="7" name="Marcador de texto 2">
            <a:extLst>
              <a:ext uri="{FF2B5EF4-FFF2-40B4-BE49-F238E27FC236}">
                <a16:creationId xmlns:a16="http://schemas.microsoft.com/office/drawing/2014/main" id="{6271452A-7728-49FB-A732-1220BCA471F0}"/>
              </a:ext>
            </a:extLst>
          </p:cNvPr>
          <p:cNvSpPr>
            <a:spLocks noGrp="1"/>
          </p:cNvSpPr>
          <p:nvPr>
            <p:ph type="body" idx="10" hasCustomPrompt="1"/>
          </p:nvPr>
        </p:nvSpPr>
        <p:spPr>
          <a:xfrm>
            <a:off x="368790" y="722639"/>
            <a:ext cx="11446270" cy="324000"/>
          </a:xfrm>
          <a:prstGeom prst="rect">
            <a:avLst/>
          </a:prstGeom>
        </p:spPr>
        <p:txBody>
          <a:bodyPr lIns="0" tIns="0" rIns="0" bIns="0" anchor="t"/>
          <a:lstStyle>
            <a:lvl1pPr marL="0" indent="0">
              <a:lnSpc>
                <a:spcPct val="100000"/>
              </a:lnSpc>
              <a:spcBef>
                <a:spcPts val="0"/>
              </a:spcBef>
              <a:buNone/>
              <a:defRPr sz="2000" b="0">
                <a:solidFill>
                  <a:srgbClr val="000000"/>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err="1"/>
              <a:t>Subtitle</a:t>
            </a:r>
            <a:endParaRPr lang="es-ES" dirty="0"/>
          </a:p>
        </p:txBody>
      </p:sp>
      <p:sp>
        <p:nvSpPr>
          <p:cNvPr id="6" name="Marcador de texto 2">
            <a:extLst>
              <a:ext uri="{FF2B5EF4-FFF2-40B4-BE49-F238E27FC236}">
                <a16:creationId xmlns:a16="http://schemas.microsoft.com/office/drawing/2014/main" id="{C9B6671F-D092-401E-B330-80D231745F54}"/>
              </a:ext>
            </a:extLst>
          </p:cNvPr>
          <p:cNvSpPr>
            <a:spLocks noGrp="1"/>
          </p:cNvSpPr>
          <p:nvPr>
            <p:ph idx="18" hasCustomPrompt="1"/>
          </p:nvPr>
        </p:nvSpPr>
        <p:spPr>
          <a:xfrm>
            <a:off x="6256800" y="1396800"/>
            <a:ext cx="5558400" cy="4752000"/>
          </a:xfrm>
          <a:prstGeom prst="rect">
            <a:avLst/>
          </a:prstGeom>
        </p:spPr>
        <p:txBody>
          <a:bodyPr vert="horz" lIns="0" tIns="0" rIns="0" bIns="0" rtlCol="0">
            <a:normAutofit/>
          </a:bodyPr>
          <a:lstStyle>
            <a:lvl1pPr>
              <a:lnSpc>
                <a:spcPct val="90000"/>
              </a:lnSpc>
              <a:buClr>
                <a:schemeClr val="accent1"/>
              </a:buClr>
              <a:defRPr sz="1400">
                <a:latin typeface="+mn-lt"/>
              </a:defRPr>
            </a:lvl1pPr>
            <a:lvl2pPr marL="262800" indent="-262800">
              <a:lnSpc>
                <a:spcPct val="90000"/>
              </a:lnSpc>
              <a:spcBef>
                <a:spcPts val="1200"/>
              </a:spcBef>
              <a:buClr>
                <a:schemeClr val="accent1"/>
              </a:buClr>
              <a:buSzPct val="100000"/>
              <a:buFont typeface="Arial" panose="020B0604020202020204" pitchFamily="34" charset="0"/>
              <a:buChar char="•"/>
              <a:defRPr sz="1400">
                <a:latin typeface="+mn-lt"/>
              </a:defRPr>
            </a:lvl2pPr>
            <a:lvl3pPr marL="720000" indent="-158400">
              <a:lnSpc>
                <a:spcPct val="120000"/>
              </a:lnSpc>
              <a:buClr>
                <a:schemeClr val="tx1"/>
              </a:buClr>
              <a:buSzPct val="100000"/>
              <a:buFont typeface="Apple Symbols" panose="02000000000000000000" pitchFamily="2" charset="-79"/>
              <a:buChar char="≫"/>
              <a:defRPr sz="1000">
                <a:latin typeface="+mn-lt"/>
              </a:defRPr>
            </a:lvl3pPr>
            <a:lvl4pPr marL="864000" indent="-144000">
              <a:lnSpc>
                <a:spcPct val="120000"/>
              </a:lnSpc>
              <a:buSzPct val="80000"/>
              <a:buFont typeface="Courier New" panose="02070309020205020404" pitchFamily="49" charset="0"/>
              <a:buChar char="o"/>
              <a:defRPr sz="1000">
                <a:latin typeface="+mn-lt"/>
              </a:defRPr>
            </a:lvl4pPr>
            <a:lvl5pPr>
              <a:defRPr>
                <a:latin typeface="+mn-lt"/>
              </a:defRPr>
            </a:lvl5pPr>
          </a:lstStyle>
          <a:p>
            <a:pPr lvl="0"/>
            <a:r>
              <a:rPr lang="es-ES" dirty="0" err="1"/>
              <a:t>First</a:t>
            </a:r>
            <a:r>
              <a:rPr lang="es-ES" dirty="0"/>
              <a:t> </a:t>
            </a:r>
            <a:r>
              <a:rPr lang="es-ES" dirty="0" err="1"/>
              <a:t>level</a:t>
            </a:r>
            <a:r>
              <a:rPr lang="es-ES" dirty="0"/>
              <a:t> </a:t>
            </a:r>
          </a:p>
          <a:p>
            <a:pPr lvl="1"/>
            <a:r>
              <a:rPr lang="es-ES" dirty="0" err="1"/>
              <a:t>Second</a:t>
            </a:r>
            <a:r>
              <a:rPr lang="es-ES" dirty="0"/>
              <a:t> </a:t>
            </a:r>
            <a:r>
              <a:rPr lang="es-ES" dirty="0" err="1"/>
              <a:t>level</a:t>
            </a:r>
            <a:endParaRPr lang="es-ES" dirty="0"/>
          </a:p>
        </p:txBody>
      </p:sp>
      <p:sp>
        <p:nvSpPr>
          <p:cNvPr id="2" name="Title 1">
            <a:extLst>
              <a:ext uri="{FF2B5EF4-FFF2-40B4-BE49-F238E27FC236}">
                <a16:creationId xmlns:a16="http://schemas.microsoft.com/office/drawing/2014/main" id="{52DEC637-4E16-4A65-A111-E6E48B4672C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1968118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ullet list + Tex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38AE4BD-3985-4867-A356-6E8A1D32231F}"/>
              </a:ext>
            </a:extLst>
          </p:cNvPr>
          <p:cNvGraphicFramePr>
            <a:graphicFrameLocks noChangeAspect="1"/>
          </p:cNvGraphicFramePr>
          <p:nvPr userDrawn="1">
            <p:custDataLst>
              <p:tags r:id="rId2"/>
            </p:custDataLst>
            <p:extLst>
              <p:ext uri="{D42A27DB-BD31-4B8C-83A1-F6EECF244321}">
                <p14:modId xmlns:p14="http://schemas.microsoft.com/office/powerpoint/2010/main" val="39593287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20" name="think-cell Slide" r:id="rId4" imgW="473" imgH="474" progId="TCLayout.ActiveDocument.1">
                  <p:embed/>
                </p:oleObj>
              </mc:Choice>
              <mc:Fallback>
                <p:oleObj name="think-cell Slide" r:id="rId4" imgW="473" imgH="474" progId="TCLayout.ActiveDocument.1">
                  <p:embed/>
                  <p:pic>
                    <p:nvPicPr>
                      <p:cNvPr id="4" name="Object 3" hidden="1">
                        <a:extLst>
                          <a:ext uri="{FF2B5EF4-FFF2-40B4-BE49-F238E27FC236}">
                            <a16:creationId xmlns:a16="http://schemas.microsoft.com/office/drawing/2014/main" id="{238AE4BD-3985-4867-A356-6E8A1D32231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Content Placeholder 2">
            <a:extLst>
              <a:ext uri="{FF2B5EF4-FFF2-40B4-BE49-F238E27FC236}">
                <a16:creationId xmlns:a16="http://schemas.microsoft.com/office/drawing/2014/main" id="{E13D4D86-65A2-674B-8740-25F1F0703B69}"/>
              </a:ext>
            </a:extLst>
          </p:cNvPr>
          <p:cNvSpPr>
            <a:spLocks noGrp="1"/>
          </p:cNvSpPr>
          <p:nvPr>
            <p:ph idx="1" hasCustomPrompt="1"/>
          </p:nvPr>
        </p:nvSpPr>
        <p:spPr>
          <a:xfrm>
            <a:off x="368789" y="1396800"/>
            <a:ext cx="11451735" cy="338137"/>
          </a:xfrm>
          <a:prstGeom prst="rect">
            <a:avLst/>
          </a:prstGeom>
        </p:spPr>
        <p:txBody>
          <a:bodyPr lIns="0" tIns="0" rIns="0" bIns="0" anchor="t"/>
          <a:lstStyle>
            <a:lvl1pPr>
              <a:lnSpc>
                <a:spcPct val="120000"/>
              </a:lnSpc>
              <a:spcBef>
                <a:spcPts val="0"/>
              </a:spcBef>
              <a:buNone/>
              <a:defRPr sz="1600" b="1">
                <a:solidFill>
                  <a:schemeClr val="accent1"/>
                </a:solidFill>
                <a:latin typeface="+mj-lt"/>
                <a:cs typeface="Verdana" panose="020B0604030504040204" pitchFamily="34" charset="0"/>
              </a:defRPr>
            </a:lvl1pPr>
            <a:lvl2pPr>
              <a:defRPr>
                <a:latin typeface="+mj-lt"/>
                <a:cs typeface="Arial" panose="020B0604020202020204" pitchFamily="34" charset="0"/>
              </a:defRPr>
            </a:lvl2pPr>
            <a:lvl3pPr marL="547687" indent="-285750">
              <a:buClr>
                <a:schemeClr val="accent1"/>
              </a:buClr>
              <a:buFont typeface="Courier New" panose="02070309020205020404" pitchFamily="49" charset="0"/>
              <a:buChar char="o"/>
              <a:defRPr sz="1600">
                <a:latin typeface="+mj-lt"/>
                <a:cs typeface="Arial" panose="020B0604020202020204" pitchFamily="34" charset="0"/>
              </a:defRPr>
            </a:lvl3pPr>
            <a:lvl4pPr marL="711200" indent="-174625">
              <a:buClr>
                <a:schemeClr val="accent1"/>
              </a:buClr>
              <a:buFont typeface="Courier New" panose="02070309020205020404" pitchFamily="49" charset="0"/>
              <a:buChar char="o"/>
              <a:defRPr sz="1600">
                <a:latin typeface="+mj-lt"/>
                <a:cs typeface="Arial" panose="020B0604020202020204" pitchFamily="34" charset="0"/>
              </a:defRPr>
            </a:lvl4pPr>
            <a:lvl5pPr marL="900113" indent="-188913">
              <a:buClr>
                <a:schemeClr val="accent1"/>
              </a:buClr>
              <a:buFont typeface="Courier New" panose="02070309020205020404" pitchFamily="49" charset="0"/>
              <a:buChar char="o"/>
              <a:defRPr sz="1600">
                <a:latin typeface="+mj-lt"/>
                <a:cs typeface="Arial" panose="020B0604020202020204" pitchFamily="34" charset="0"/>
              </a:defRPr>
            </a:lvl5pPr>
          </a:lstStyle>
          <a:p>
            <a:pPr lvl="0"/>
            <a:r>
              <a:rPr lang="en-US" dirty="0"/>
              <a:t>Click to edit Title</a:t>
            </a:r>
          </a:p>
        </p:txBody>
      </p:sp>
      <p:sp>
        <p:nvSpPr>
          <p:cNvPr id="5" name="Marcador de contenido 4">
            <a:extLst>
              <a:ext uri="{FF2B5EF4-FFF2-40B4-BE49-F238E27FC236}">
                <a16:creationId xmlns:a16="http://schemas.microsoft.com/office/drawing/2014/main" id="{54F772DC-9BB0-FD40-BA8F-7563DE243E20}"/>
              </a:ext>
            </a:extLst>
          </p:cNvPr>
          <p:cNvSpPr>
            <a:spLocks noGrp="1"/>
          </p:cNvSpPr>
          <p:nvPr>
            <p:ph sz="quarter" idx="16" hasCustomPrompt="1"/>
          </p:nvPr>
        </p:nvSpPr>
        <p:spPr>
          <a:xfrm>
            <a:off x="6343200" y="1900800"/>
            <a:ext cx="5472000" cy="4248000"/>
          </a:xfrm>
          <a:prstGeom prst="rect">
            <a:avLst/>
          </a:prstGeom>
        </p:spPr>
        <p:txBody>
          <a:bodyPr lIns="0" tIns="0" rIns="0" bIns="0"/>
          <a:lstStyle>
            <a:lvl1pPr marL="0" indent="0">
              <a:lnSpc>
                <a:spcPct val="120000"/>
              </a:lnSpc>
              <a:spcBef>
                <a:spcPts val="0"/>
              </a:spcBef>
              <a:buNone/>
              <a:defRPr sz="1400" b="1" i="1">
                <a:solidFill>
                  <a:schemeClr val="tx1"/>
                </a:solidFill>
                <a:latin typeface="+mn-lt"/>
              </a:defRPr>
            </a:lvl1pPr>
          </a:lstStyle>
          <a:p>
            <a:pPr lvl="0"/>
            <a:r>
              <a:rPr lang="es-ES" dirty="0"/>
              <a:t>Text</a:t>
            </a:r>
            <a:endParaRPr lang="en-GB" dirty="0"/>
          </a:p>
        </p:txBody>
      </p:sp>
      <p:sp>
        <p:nvSpPr>
          <p:cNvPr id="21" name="Marcador de texto 2">
            <a:extLst>
              <a:ext uri="{FF2B5EF4-FFF2-40B4-BE49-F238E27FC236}">
                <a16:creationId xmlns:a16="http://schemas.microsoft.com/office/drawing/2014/main" id="{8AA37285-5DCF-9D48-B155-8D75AB2F2D16}"/>
              </a:ext>
            </a:extLst>
          </p:cNvPr>
          <p:cNvSpPr>
            <a:spLocks noGrp="1"/>
          </p:cNvSpPr>
          <p:nvPr>
            <p:ph idx="17" hasCustomPrompt="1"/>
          </p:nvPr>
        </p:nvSpPr>
        <p:spPr>
          <a:xfrm>
            <a:off x="368790" y="1900800"/>
            <a:ext cx="5472000" cy="4248000"/>
          </a:xfrm>
          <a:prstGeom prst="rect">
            <a:avLst/>
          </a:prstGeom>
        </p:spPr>
        <p:txBody>
          <a:bodyPr vert="horz" lIns="0" tIns="0" rIns="0" bIns="0" rtlCol="0">
            <a:normAutofit/>
          </a:bodyPr>
          <a:lstStyle>
            <a:lvl1pPr>
              <a:lnSpc>
                <a:spcPct val="90000"/>
              </a:lnSpc>
              <a:buClr>
                <a:schemeClr val="accent1"/>
              </a:buClr>
              <a:defRPr sz="1400">
                <a:latin typeface="+mn-lt"/>
              </a:defRPr>
            </a:lvl1pPr>
            <a:lvl2pPr marL="262800" indent="-262800">
              <a:lnSpc>
                <a:spcPct val="90000"/>
              </a:lnSpc>
              <a:spcBef>
                <a:spcPts val="1200"/>
              </a:spcBef>
              <a:buClr>
                <a:schemeClr val="accent1"/>
              </a:buClr>
              <a:buSzPct val="100000"/>
              <a:buFont typeface="Arial" panose="020B0604020202020204" pitchFamily="34" charset="0"/>
              <a:buChar char="•"/>
              <a:defRPr sz="1400">
                <a:latin typeface="+mn-lt"/>
              </a:defRPr>
            </a:lvl2pPr>
            <a:lvl3pPr marL="720000" indent="-158400">
              <a:lnSpc>
                <a:spcPct val="120000"/>
              </a:lnSpc>
              <a:buClr>
                <a:schemeClr val="tx1"/>
              </a:buClr>
              <a:buSzPct val="100000"/>
              <a:buFont typeface="Apple Symbols" panose="02000000000000000000" pitchFamily="2" charset="-79"/>
              <a:buChar char="≫"/>
              <a:defRPr sz="1000">
                <a:latin typeface="+mn-lt"/>
              </a:defRPr>
            </a:lvl3pPr>
            <a:lvl4pPr marL="864000" indent="-144000">
              <a:lnSpc>
                <a:spcPct val="120000"/>
              </a:lnSpc>
              <a:buSzPct val="80000"/>
              <a:buFont typeface="Courier New" panose="02070309020205020404" pitchFamily="49" charset="0"/>
              <a:buChar char="o"/>
              <a:defRPr sz="1000">
                <a:latin typeface="+mn-lt"/>
              </a:defRPr>
            </a:lvl4pPr>
            <a:lvl5pPr>
              <a:defRPr>
                <a:latin typeface="+mn-lt"/>
              </a:defRPr>
            </a:lvl5pPr>
          </a:lstStyle>
          <a:p>
            <a:pPr lvl="0"/>
            <a:r>
              <a:rPr lang="es-ES" dirty="0" err="1"/>
              <a:t>First</a:t>
            </a:r>
            <a:r>
              <a:rPr lang="es-ES" dirty="0"/>
              <a:t> </a:t>
            </a:r>
            <a:r>
              <a:rPr lang="es-ES" dirty="0" err="1"/>
              <a:t>level</a:t>
            </a:r>
            <a:r>
              <a:rPr lang="es-ES" dirty="0"/>
              <a:t> </a:t>
            </a:r>
          </a:p>
          <a:p>
            <a:pPr lvl="1"/>
            <a:r>
              <a:rPr lang="es-ES" dirty="0" err="1"/>
              <a:t>Second</a:t>
            </a:r>
            <a:r>
              <a:rPr lang="es-ES" dirty="0"/>
              <a:t> </a:t>
            </a:r>
            <a:r>
              <a:rPr lang="es-ES" dirty="0" err="1"/>
              <a:t>level</a:t>
            </a:r>
            <a:endParaRPr lang="es-ES" dirty="0"/>
          </a:p>
        </p:txBody>
      </p:sp>
      <p:cxnSp>
        <p:nvCxnSpPr>
          <p:cNvPr id="26" name="Straight Connector 15">
            <a:extLst>
              <a:ext uri="{FF2B5EF4-FFF2-40B4-BE49-F238E27FC236}">
                <a16:creationId xmlns:a16="http://schemas.microsoft.com/office/drawing/2014/main" id="{A2D37FB5-1BAB-A84D-B795-B4972CB53698}"/>
              </a:ext>
            </a:extLst>
          </p:cNvPr>
          <p:cNvCxnSpPr>
            <a:cxnSpLocks/>
          </p:cNvCxnSpPr>
          <p:nvPr userDrawn="1"/>
        </p:nvCxnSpPr>
        <p:spPr>
          <a:xfrm>
            <a:off x="6091995" y="1990800"/>
            <a:ext cx="0" cy="4068000"/>
          </a:xfrm>
          <a:prstGeom prst="line">
            <a:avLst/>
          </a:prstGeom>
          <a:ln>
            <a:solidFill>
              <a:srgbClr val="DA281C"/>
            </a:solidFill>
          </a:ln>
        </p:spPr>
        <p:style>
          <a:lnRef idx="1">
            <a:schemeClr val="accent1"/>
          </a:lnRef>
          <a:fillRef idx="0">
            <a:schemeClr val="accent1"/>
          </a:fillRef>
          <a:effectRef idx="0">
            <a:schemeClr val="accent1"/>
          </a:effectRef>
          <a:fontRef idx="minor">
            <a:schemeClr val="tx1"/>
          </a:fontRef>
        </p:style>
      </p:cxnSp>
      <p:sp>
        <p:nvSpPr>
          <p:cNvPr id="12" name="Marcador de texto 2">
            <a:extLst>
              <a:ext uri="{FF2B5EF4-FFF2-40B4-BE49-F238E27FC236}">
                <a16:creationId xmlns:a16="http://schemas.microsoft.com/office/drawing/2014/main" id="{D5937F15-FEDE-4292-AB3A-84B31FE559C2}"/>
              </a:ext>
            </a:extLst>
          </p:cNvPr>
          <p:cNvSpPr>
            <a:spLocks noGrp="1"/>
          </p:cNvSpPr>
          <p:nvPr>
            <p:ph type="body" idx="10" hasCustomPrompt="1"/>
          </p:nvPr>
        </p:nvSpPr>
        <p:spPr>
          <a:xfrm>
            <a:off x="368790" y="722639"/>
            <a:ext cx="11446270" cy="324000"/>
          </a:xfrm>
          <a:prstGeom prst="rect">
            <a:avLst/>
          </a:prstGeom>
        </p:spPr>
        <p:txBody>
          <a:bodyPr lIns="0" tIns="0" rIns="0" bIns="0" anchor="t"/>
          <a:lstStyle>
            <a:lvl1pPr marL="0" indent="0">
              <a:lnSpc>
                <a:spcPct val="100000"/>
              </a:lnSpc>
              <a:spcBef>
                <a:spcPts val="0"/>
              </a:spcBef>
              <a:buNone/>
              <a:defRPr sz="2000" b="0">
                <a:solidFill>
                  <a:srgbClr val="000000"/>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err="1"/>
              <a:t>Subtitle</a:t>
            </a:r>
            <a:endParaRPr lang="es-ES" dirty="0"/>
          </a:p>
        </p:txBody>
      </p:sp>
      <p:sp>
        <p:nvSpPr>
          <p:cNvPr id="2" name="Title 1">
            <a:extLst>
              <a:ext uri="{FF2B5EF4-FFF2-40B4-BE49-F238E27FC236}">
                <a16:creationId xmlns:a16="http://schemas.microsoft.com/office/drawing/2014/main" id="{A86D2C50-5798-4682-B37E-EF925F982A1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3460469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xt + im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13FA11E-9470-4228-96B0-44982DA20521}"/>
              </a:ext>
            </a:extLst>
          </p:cNvPr>
          <p:cNvGraphicFramePr>
            <a:graphicFrameLocks noChangeAspect="1"/>
          </p:cNvGraphicFramePr>
          <p:nvPr userDrawn="1">
            <p:custDataLst>
              <p:tags r:id="rId2"/>
            </p:custDataLst>
            <p:extLst>
              <p:ext uri="{D42A27DB-BD31-4B8C-83A1-F6EECF244321}">
                <p14:modId xmlns:p14="http://schemas.microsoft.com/office/powerpoint/2010/main" val="9288735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44" name="think-cell Slide" r:id="rId5" imgW="473" imgH="474" progId="TCLayout.ActiveDocument.1">
                  <p:embed/>
                </p:oleObj>
              </mc:Choice>
              <mc:Fallback>
                <p:oleObj name="think-cell Slide" r:id="rId5" imgW="473" imgH="474" progId="TCLayout.ActiveDocument.1">
                  <p:embed/>
                  <p:pic>
                    <p:nvPicPr>
                      <p:cNvPr id="6" name="Object 5" hidden="1">
                        <a:extLst>
                          <a:ext uri="{FF2B5EF4-FFF2-40B4-BE49-F238E27FC236}">
                            <a16:creationId xmlns:a16="http://schemas.microsoft.com/office/drawing/2014/main" id="{613FA11E-9470-4228-96B0-44982DA2052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0F9410D-3796-4909-B40D-B35A3BBC6173}"/>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Verdana" panose="020B0604030504040204" pitchFamily="34" charset="0"/>
              <a:ea typeface="+mj-ea"/>
              <a:cs typeface="+mj-cs"/>
              <a:sym typeface="Verdana" panose="020B0604030504040204" pitchFamily="34" charset="0"/>
            </a:endParaRPr>
          </a:p>
        </p:txBody>
      </p:sp>
      <p:sp>
        <p:nvSpPr>
          <p:cNvPr id="3" name="Marcador de posición de imagen 2">
            <a:extLst>
              <a:ext uri="{FF2B5EF4-FFF2-40B4-BE49-F238E27FC236}">
                <a16:creationId xmlns:a16="http://schemas.microsoft.com/office/drawing/2014/main" id="{1059AFB1-C7D6-6743-933B-FA747A91A0A4}"/>
              </a:ext>
            </a:extLst>
          </p:cNvPr>
          <p:cNvSpPr>
            <a:spLocks noGrp="1"/>
          </p:cNvSpPr>
          <p:nvPr>
            <p:ph type="pic" sz="quarter" idx="12" hasCustomPrompt="1"/>
          </p:nvPr>
        </p:nvSpPr>
        <p:spPr>
          <a:xfrm>
            <a:off x="6415200" y="1396800"/>
            <a:ext cx="5400000" cy="4752000"/>
          </a:xfrm>
          <a:prstGeom prst="rect">
            <a:avLst/>
          </a:prstGeom>
        </p:spPr>
        <p:txBody>
          <a:bodyPr anchor="ctr"/>
          <a:lstStyle>
            <a:lvl1pPr marL="228600" marR="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a:solidFill>
                  <a:schemeClr val="tx1"/>
                </a:solidFill>
              </a:defRPr>
            </a:lvl1pPr>
          </a:lstStyle>
          <a:p>
            <a:pPr marL="228600" marR="0" lvl="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Drag picture to placeholder </a:t>
            </a:r>
            <a:br>
              <a:rPr lang="en-US" dirty="0"/>
            </a:br>
            <a:r>
              <a:rPr lang="en-US" dirty="0"/>
              <a:t>or click icon to add</a:t>
            </a:r>
          </a:p>
        </p:txBody>
      </p:sp>
      <p:sp>
        <p:nvSpPr>
          <p:cNvPr id="8" name="Marcador de texto 2">
            <a:extLst>
              <a:ext uri="{FF2B5EF4-FFF2-40B4-BE49-F238E27FC236}">
                <a16:creationId xmlns:a16="http://schemas.microsoft.com/office/drawing/2014/main" id="{2B43F0E0-6DB6-43E7-8D4A-015CF8E695A2}"/>
              </a:ext>
            </a:extLst>
          </p:cNvPr>
          <p:cNvSpPr>
            <a:spLocks noGrp="1"/>
          </p:cNvSpPr>
          <p:nvPr>
            <p:ph type="body" idx="10" hasCustomPrompt="1"/>
          </p:nvPr>
        </p:nvSpPr>
        <p:spPr>
          <a:xfrm>
            <a:off x="368790" y="722639"/>
            <a:ext cx="11448000" cy="324000"/>
          </a:xfrm>
          <a:prstGeom prst="rect">
            <a:avLst/>
          </a:prstGeom>
        </p:spPr>
        <p:txBody>
          <a:bodyPr lIns="0" tIns="0" rIns="0" bIns="0" anchor="t"/>
          <a:lstStyle>
            <a:lvl1pPr marL="0" indent="0">
              <a:lnSpc>
                <a:spcPct val="100000"/>
              </a:lnSpc>
              <a:spcBef>
                <a:spcPts val="0"/>
              </a:spcBef>
              <a:buNone/>
              <a:defRPr sz="2000" b="0">
                <a:solidFill>
                  <a:srgbClr val="000000"/>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err="1"/>
              <a:t>Subtitle</a:t>
            </a:r>
            <a:endParaRPr lang="es-ES" dirty="0"/>
          </a:p>
        </p:txBody>
      </p:sp>
      <p:sp>
        <p:nvSpPr>
          <p:cNvPr id="5" name="Text Placeholder 4">
            <a:extLst>
              <a:ext uri="{FF2B5EF4-FFF2-40B4-BE49-F238E27FC236}">
                <a16:creationId xmlns:a16="http://schemas.microsoft.com/office/drawing/2014/main" id="{D4D8F7B4-B48D-42AF-A1AD-CD5D18B1F8B0}"/>
              </a:ext>
            </a:extLst>
          </p:cNvPr>
          <p:cNvSpPr>
            <a:spLocks noGrp="1"/>
          </p:cNvSpPr>
          <p:nvPr>
            <p:ph type="body" sz="quarter" idx="13"/>
          </p:nvPr>
        </p:nvSpPr>
        <p:spPr>
          <a:xfrm>
            <a:off x="368790" y="1396800"/>
            <a:ext cx="5731200" cy="4752000"/>
          </a:xfrm>
        </p:spPr>
        <p:txBody>
          <a:bodyPr/>
          <a:lstStyle>
            <a:lvl1pPr>
              <a:defRPr sz="14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uadroTexto 64">
            <a:extLst>
              <a:ext uri="{FF2B5EF4-FFF2-40B4-BE49-F238E27FC236}">
                <a16:creationId xmlns:a16="http://schemas.microsoft.com/office/drawing/2014/main" id="{34D55F5F-B8A8-4CC8-BD1E-447D4AAC4A20}"/>
              </a:ext>
            </a:extLst>
          </p:cNvPr>
          <p:cNvSpPr txBox="1"/>
          <p:nvPr userDrawn="1"/>
        </p:nvSpPr>
        <p:spPr>
          <a:xfrm>
            <a:off x="10882303" y="6449284"/>
            <a:ext cx="936214" cy="138499"/>
          </a:xfrm>
          <a:prstGeom prst="rect">
            <a:avLst/>
          </a:prstGeom>
          <a:noFill/>
        </p:spPr>
        <p:txBody>
          <a:bodyPr wrap="square" lIns="0" tIns="0" rIns="0" bIns="0" rtlCol="0">
            <a:spAutoFit/>
          </a:bodyPr>
          <a:lstStyle/>
          <a:p>
            <a:pPr algn="r"/>
            <a:fld id="{A4EEDD72-1D6A-6B46-BCFA-C211F73E9379}" type="slidenum">
              <a:rPr lang="es-ES" sz="900" b="1" smtClean="0">
                <a:solidFill>
                  <a:schemeClr val="accent1"/>
                </a:solidFill>
                <a:latin typeface="Verdana" panose="020B0604030504040204" pitchFamily="34" charset="0"/>
                <a:ea typeface="Verdana" panose="020B0604030504040204" pitchFamily="34" charset="0"/>
                <a:cs typeface="Verdana" panose="020B0604030504040204" pitchFamily="34" charset="0"/>
              </a:rPr>
              <a:pPr algn="r"/>
              <a:t>‹N›</a:t>
            </a:fld>
            <a:endParaRPr lang="es-ES" sz="900" b="1" dirty="0">
              <a:solidFill>
                <a:schemeClr val="accent1"/>
              </a:solidFill>
              <a:latin typeface="Verdana" panose="020B0604030504040204" pitchFamily="34" charset="0"/>
              <a:ea typeface="Verdana" panose="020B0604030504040204" pitchFamily="34" charset="0"/>
              <a:cs typeface="Verdana" panose="020B0604030504040204" pitchFamily="34" charset="0"/>
            </a:endParaRPr>
          </a:p>
        </p:txBody>
      </p:sp>
      <p:sp>
        <p:nvSpPr>
          <p:cNvPr id="4" name="Title 3">
            <a:extLst>
              <a:ext uri="{FF2B5EF4-FFF2-40B4-BE49-F238E27FC236}">
                <a16:creationId xmlns:a16="http://schemas.microsoft.com/office/drawing/2014/main" id="{E7FABB4E-642F-4400-9ED2-88EFF07D55A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8980260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ext + objec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BAE9E93-F472-47F1-91F6-977226623423}"/>
              </a:ext>
            </a:extLst>
          </p:cNvPr>
          <p:cNvGraphicFramePr>
            <a:graphicFrameLocks noChangeAspect="1"/>
          </p:cNvGraphicFramePr>
          <p:nvPr userDrawn="1">
            <p:custDataLst>
              <p:tags r:id="rId2"/>
            </p:custDataLst>
            <p:extLst>
              <p:ext uri="{D42A27DB-BD31-4B8C-83A1-F6EECF244321}">
                <p14:modId xmlns:p14="http://schemas.microsoft.com/office/powerpoint/2010/main" val="38366655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68" name="think-cell Slide" r:id="rId5" imgW="473" imgH="474" progId="TCLayout.ActiveDocument.1">
                  <p:embed/>
                </p:oleObj>
              </mc:Choice>
              <mc:Fallback>
                <p:oleObj name="think-cell Slide" r:id="rId5" imgW="473" imgH="474" progId="TCLayout.ActiveDocument.1">
                  <p:embed/>
                  <p:pic>
                    <p:nvPicPr>
                      <p:cNvPr id="7" name="Object 6" hidden="1">
                        <a:extLst>
                          <a:ext uri="{FF2B5EF4-FFF2-40B4-BE49-F238E27FC236}">
                            <a16:creationId xmlns:a16="http://schemas.microsoft.com/office/drawing/2014/main" id="{FBAE9E93-F472-47F1-91F6-97722662342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D1778B4-7C1F-4CAD-BAA1-687FE82F7B7B}"/>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Verdana" panose="020B0604030504040204" pitchFamily="34" charset="0"/>
              <a:ea typeface="+mj-ea"/>
              <a:cs typeface="+mj-cs"/>
              <a:sym typeface="Verdana" panose="020B0604030504040204" pitchFamily="34" charset="0"/>
            </a:endParaRPr>
          </a:p>
        </p:txBody>
      </p:sp>
      <p:sp>
        <p:nvSpPr>
          <p:cNvPr id="10" name="Marcador de contenido 4">
            <a:extLst>
              <a:ext uri="{FF2B5EF4-FFF2-40B4-BE49-F238E27FC236}">
                <a16:creationId xmlns:a16="http://schemas.microsoft.com/office/drawing/2014/main" id="{467CE687-F3D9-B346-A542-5EED792BEFF1}"/>
              </a:ext>
            </a:extLst>
          </p:cNvPr>
          <p:cNvSpPr>
            <a:spLocks noGrp="1"/>
          </p:cNvSpPr>
          <p:nvPr>
            <p:ph sz="quarter" idx="13" hasCustomPrompt="1"/>
          </p:nvPr>
        </p:nvSpPr>
        <p:spPr>
          <a:xfrm>
            <a:off x="6415200" y="1396800"/>
            <a:ext cx="5400000" cy="4752000"/>
          </a:xfrm>
          <a:prstGeom prst="rect">
            <a:avLst/>
          </a:prstGeom>
        </p:spPr>
        <p:txBody>
          <a:bodyPr anchor="t"/>
          <a:lstStyle>
            <a:lvl1pPr marL="228600" marR="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b="0" i="0" kern="1200" dirty="0" smtClean="0">
                <a:solidFill>
                  <a:schemeClr val="tx1"/>
                </a:solidFill>
                <a:latin typeface="+mn-lt"/>
                <a:ea typeface="+mn-ea"/>
                <a:cs typeface="+mn-cs"/>
              </a:defRPr>
            </a:lvl1pPr>
          </a:lstStyle>
          <a:p>
            <a:pPr marL="228600" marR="0" lvl="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Click to add a table, </a:t>
            </a:r>
            <a:br>
              <a:rPr lang="en-US" dirty="0"/>
            </a:br>
            <a:r>
              <a:rPr lang="en-US" dirty="0"/>
              <a:t>chart or image</a:t>
            </a:r>
          </a:p>
        </p:txBody>
      </p:sp>
      <p:sp>
        <p:nvSpPr>
          <p:cNvPr id="8" name="Marcador de texto 2">
            <a:extLst>
              <a:ext uri="{FF2B5EF4-FFF2-40B4-BE49-F238E27FC236}">
                <a16:creationId xmlns:a16="http://schemas.microsoft.com/office/drawing/2014/main" id="{3BF9BE23-447B-43CC-B3A5-202F7CFB8F53}"/>
              </a:ext>
            </a:extLst>
          </p:cNvPr>
          <p:cNvSpPr>
            <a:spLocks noGrp="1"/>
          </p:cNvSpPr>
          <p:nvPr>
            <p:ph type="body" idx="10" hasCustomPrompt="1"/>
          </p:nvPr>
        </p:nvSpPr>
        <p:spPr>
          <a:xfrm>
            <a:off x="368790" y="722639"/>
            <a:ext cx="11446270" cy="324000"/>
          </a:xfrm>
          <a:prstGeom prst="rect">
            <a:avLst/>
          </a:prstGeom>
        </p:spPr>
        <p:txBody>
          <a:bodyPr lIns="0" tIns="0" rIns="0" bIns="0" anchor="t"/>
          <a:lstStyle>
            <a:lvl1pPr marL="0" indent="0">
              <a:lnSpc>
                <a:spcPct val="100000"/>
              </a:lnSpc>
              <a:spcBef>
                <a:spcPts val="0"/>
              </a:spcBef>
              <a:buNone/>
              <a:defRPr sz="2000" b="0">
                <a:solidFill>
                  <a:srgbClr val="000000"/>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err="1"/>
              <a:t>Subtitle</a:t>
            </a:r>
            <a:endParaRPr lang="es-ES" dirty="0"/>
          </a:p>
        </p:txBody>
      </p:sp>
      <p:sp>
        <p:nvSpPr>
          <p:cNvPr id="3" name="Text Placeholder 2">
            <a:extLst>
              <a:ext uri="{FF2B5EF4-FFF2-40B4-BE49-F238E27FC236}">
                <a16:creationId xmlns:a16="http://schemas.microsoft.com/office/drawing/2014/main" id="{7CDC7040-0411-412B-AC50-A22E5F263386}"/>
              </a:ext>
            </a:extLst>
          </p:cNvPr>
          <p:cNvSpPr>
            <a:spLocks noGrp="1"/>
          </p:cNvSpPr>
          <p:nvPr>
            <p:ph type="body" sz="quarter" idx="14"/>
          </p:nvPr>
        </p:nvSpPr>
        <p:spPr>
          <a:xfrm>
            <a:off x="368790" y="1396800"/>
            <a:ext cx="5731200" cy="4752000"/>
          </a:xfrm>
        </p:spPr>
        <p:txBody>
          <a:bodyPr/>
          <a:lstStyle>
            <a:lvl1pPr>
              <a:defRPr sz="14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a:extLst>
              <a:ext uri="{FF2B5EF4-FFF2-40B4-BE49-F238E27FC236}">
                <a16:creationId xmlns:a16="http://schemas.microsoft.com/office/drawing/2014/main" id="{259FD00C-3D55-4286-9382-8E87FAB630A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128627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Object and bullet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BAE9E93-F472-47F1-91F6-977226623423}"/>
              </a:ext>
            </a:extLst>
          </p:cNvPr>
          <p:cNvGraphicFramePr>
            <a:graphicFrameLocks noChangeAspect="1"/>
          </p:cNvGraphicFramePr>
          <p:nvPr userDrawn="1">
            <p:custDataLst>
              <p:tags r:id="rId2"/>
            </p:custDataLst>
            <p:extLst>
              <p:ext uri="{D42A27DB-BD31-4B8C-83A1-F6EECF244321}">
                <p14:modId xmlns:p14="http://schemas.microsoft.com/office/powerpoint/2010/main" val="37535424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92" name="think-cell Slide" r:id="rId5" imgW="473" imgH="474" progId="TCLayout.ActiveDocument.1">
                  <p:embed/>
                </p:oleObj>
              </mc:Choice>
              <mc:Fallback>
                <p:oleObj name="think-cell Slide" r:id="rId5" imgW="473" imgH="474" progId="TCLayout.ActiveDocument.1">
                  <p:embed/>
                  <p:pic>
                    <p:nvPicPr>
                      <p:cNvPr id="7" name="Object 6" hidden="1">
                        <a:extLst>
                          <a:ext uri="{FF2B5EF4-FFF2-40B4-BE49-F238E27FC236}">
                            <a16:creationId xmlns:a16="http://schemas.microsoft.com/office/drawing/2014/main" id="{FBAE9E93-F472-47F1-91F6-97722662342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D1778B4-7C1F-4CAD-BAA1-687FE82F7B7B}"/>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Verdana" panose="020B0604030504040204" pitchFamily="34" charset="0"/>
              <a:ea typeface="+mj-ea"/>
              <a:cs typeface="+mj-cs"/>
              <a:sym typeface="Verdana" panose="020B0604030504040204" pitchFamily="34" charset="0"/>
            </a:endParaRPr>
          </a:p>
        </p:txBody>
      </p:sp>
      <p:sp>
        <p:nvSpPr>
          <p:cNvPr id="10" name="Marcador de contenido 4">
            <a:extLst>
              <a:ext uri="{FF2B5EF4-FFF2-40B4-BE49-F238E27FC236}">
                <a16:creationId xmlns:a16="http://schemas.microsoft.com/office/drawing/2014/main" id="{467CE687-F3D9-B346-A542-5EED792BEFF1}"/>
              </a:ext>
            </a:extLst>
          </p:cNvPr>
          <p:cNvSpPr>
            <a:spLocks noGrp="1"/>
          </p:cNvSpPr>
          <p:nvPr>
            <p:ph sz="quarter" idx="13" hasCustomPrompt="1"/>
          </p:nvPr>
        </p:nvSpPr>
        <p:spPr>
          <a:xfrm>
            <a:off x="371475" y="1396800"/>
            <a:ext cx="5400000" cy="4752000"/>
          </a:xfrm>
          <a:prstGeom prst="rect">
            <a:avLst/>
          </a:prstGeom>
        </p:spPr>
        <p:txBody>
          <a:bodyPr anchor="t"/>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b="0" i="0" kern="1200" dirty="0">
                <a:solidFill>
                  <a:schemeClr val="tx1"/>
                </a:solidFill>
                <a:latin typeface="+mn-lt"/>
                <a:ea typeface="+mn-ea"/>
                <a:cs typeface="+mn-cs"/>
              </a:defRPr>
            </a:lvl1pPr>
          </a:lstStyle>
          <a:p>
            <a:pPr marL="228600" marR="0" lvl="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Click to add a table, </a:t>
            </a:r>
            <a:br>
              <a:rPr lang="en-US" dirty="0"/>
            </a:br>
            <a:r>
              <a:rPr lang="en-US" dirty="0"/>
              <a:t>chart or image</a:t>
            </a:r>
          </a:p>
        </p:txBody>
      </p:sp>
      <p:sp>
        <p:nvSpPr>
          <p:cNvPr id="8" name="Marcador de texto 2">
            <a:extLst>
              <a:ext uri="{FF2B5EF4-FFF2-40B4-BE49-F238E27FC236}">
                <a16:creationId xmlns:a16="http://schemas.microsoft.com/office/drawing/2014/main" id="{3BF9BE23-447B-43CC-B3A5-202F7CFB8F53}"/>
              </a:ext>
            </a:extLst>
          </p:cNvPr>
          <p:cNvSpPr>
            <a:spLocks noGrp="1"/>
          </p:cNvSpPr>
          <p:nvPr>
            <p:ph type="body" idx="10" hasCustomPrompt="1"/>
          </p:nvPr>
        </p:nvSpPr>
        <p:spPr>
          <a:xfrm>
            <a:off x="368790" y="722639"/>
            <a:ext cx="11446270" cy="324000"/>
          </a:xfrm>
          <a:prstGeom prst="rect">
            <a:avLst/>
          </a:prstGeom>
        </p:spPr>
        <p:txBody>
          <a:bodyPr lIns="0" tIns="0" rIns="0" bIns="0" anchor="t"/>
          <a:lstStyle>
            <a:lvl1pPr marL="0" indent="0">
              <a:lnSpc>
                <a:spcPct val="100000"/>
              </a:lnSpc>
              <a:spcBef>
                <a:spcPts val="0"/>
              </a:spcBef>
              <a:buNone/>
              <a:defRPr sz="2000" b="0">
                <a:solidFill>
                  <a:srgbClr val="000000"/>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err="1"/>
              <a:t>Subtitle</a:t>
            </a:r>
            <a:endParaRPr lang="es-ES" dirty="0"/>
          </a:p>
        </p:txBody>
      </p:sp>
      <p:sp>
        <p:nvSpPr>
          <p:cNvPr id="5" name="Title 4">
            <a:extLst>
              <a:ext uri="{FF2B5EF4-FFF2-40B4-BE49-F238E27FC236}">
                <a16:creationId xmlns:a16="http://schemas.microsoft.com/office/drawing/2014/main" id="{259FD00C-3D55-4286-9382-8E87FAB630A4}"/>
              </a:ext>
            </a:extLst>
          </p:cNvPr>
          <p:cNvSpPr>
            <a:spLocks noGrp="1"/>
          </p:cNvSpPr>
          <p:nvPr>
            <p:ph type="title"/>
          </p:nvPr>
        </p:nvSpPr>
        <p:spPr/>
        <p:txBody>
          <a:bodyPr/>
          <a:lstStyle/>
          <a:p>
            <a:r>
              <a:rPr lang="en-US"/>
              <a:t>Click to edit Master title style</a:t>
            </a:r>
          </a:p>
        </p:txBody>
      </p:sp>
      <p:sp>
        <p:nvSpPr>
          <p:cNvPr id="9" name="Marcador de texto 3">
            <a:extLst>
              <a:ext uri="{FF2B5EF4-FFF2-40B4-BE49-F238E27FC236}">
                <a16:creationId xmlns:a16="http://schemas.microsoft.com/office/drawing/2014/main" id="{6843D7AD-9152-47D5-99D0-BBBA0319B9C3}"/>
              </a:ext>
            </a:extLst>
          </p:cNvPr>
          <p:cNvSpPr>
            <a:spLocks noGrp="1"/>
          </p:cNvSpPr>
          <p:nvPr>
            <p:ph type="body" sz="quarter" idx="30"/>
          </p:nvPr>
        </p:nvSpPr>
        <p:spPr>
          <a:xfrm>
            <a:off x="6630036" y="1401673"/>
            <a:ext cx="2240476" cy="286806"/>
          </a:xfrm>
          <a:prstGeom prst="rect">
            <a:avLst/>
          </a:prstGeom>
        </p:spPr>
        <p:txBody>
          <a:bodyPr lIns="0" tIns="0" rIns="0" bIns="0"/>
          <a:lstStyle>
            <a:lvl1pPr algn="l">
              <a:buNone/>
              <a:defRPr sz="1400" b="1">
                <a:solidFill>
                  <a:schemeClr val="tx1"/>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endParaRPr lang="en-GB" dirty="0"/>
          </a:p>
        </p:txBody>
      </p:sp>
      <p:sp>
        <p:nvSpPr>
          <p:cNvPr id="11" name="Text Placeholder 9">
            <a:extLst>
              <a:ext uri="{FF2B5EF4-FFF2-40B4-BE49-F238E27FC236}">
                <a16:creationId xmlns:a16="http://schemas.microsoft.com/office/drawing/2014/main" id="{F6C32404-FCB5-4BAA-83C4-43D88A66A05B}"/>
              </a:ext>
            </a:extLst>
          </p:cNvPr>
          <p:cNvSpPr>
            <a:spLocks noGrp="1"/>
          </p:cNvSpPr>
          <p:nvPr>
            <p:ph type="body" sz="quarter" idx="31"/>
          </p:nvPr>
        </p:nvSpPr>
        <p:spPr>
          <a:xfrm>
            <a:off x="6632836" y="1723016"/>
            <a:ext cx="2244464" cy="324000"/>
          </a:xfrm>
        </p:spPr>
        <p:txBody>
          <a:bodyPr/>
          <a:lstStyle>
            <a:lvl1pPr algn="l">
              <a:defRPr sz="1400"/>
            </a:lvl1pPr>
          </a:lstStyle>
          <a:p>
            <a:pPr lvl="0"/>
            <a:r>
              <a:rPr lang="en-US" dirty="0"/>
              <a:t>Click to edit Master text styles</a:t>
            </a:r>
          </a:p>
        </p:txBody>
      </p:sp>
      <p:sp>
        <p:nvSpPr>
          <p:cNvPr id="12" name="Marcador de texto 3">
            <a:extLst>
              <a:ext uri="{FF2B5EF4-FFF2-40B4-BE49-F238E27FC236}">
                <a16:creationId xmlns:a16="http://schemas.microsoft.com/office/drawing/2014/main" id="{4428ED6C-FDDD-49C4-957F-C4BFB8975BE7}"/>
              </a:ext>
            </a:extLst>
          </p:cNvPr>
          <p:cNvSpPr>
            <a:spLocks noGrp="1"/>
          </p:cNvSpPr>
          <p:nvPr>
            <p:ph type="body" sz="quarter" idx="32"/>
          </p:nvPr>
        </p:nvSpPr>
        <p:spPr>
          <a:xfrm>
            <a:off x="9567796" y="1406529"/>
            <a:ext cx="2240476" cy="286806"/>
          </a:xfrm>
          <a:prstGeom prst="rect">
            <a:avLst/>
          </a:prstGeom>
        </p:spPr>
        <p:txBody>
          <a:bodyPr lIns="0" tIns="0" rIns="0" bIns="0"/>
          <a:lstStyle>
            <a:lvl1pPr algn="l">
              <a:buNone/>
              <a:defRPr sz="1400" b="1">
                <a:solidFill>
                  <a:schemeClr val="tx1"/>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endParaRPr lang="en-GB" dirty="0"/>
          </a:p>
        </p:txBody>
      </p:sp>
      <p:sp>
        <p:nvSpPr>
          <p:cNvPr id="13" name="Text Placeholder 9">
            <a:extLst>
              <a:ext uri="{FF2B5EF4-FFF2-40B4-BE49-F238E27FC236}">
                <a16:creationId xmlns:a16="http://schemas.microsoft.com/office/drawing/2014/main" id="{9B8C1556-02E4-45AD-90E7-792D074953E7}"/>
              </a:ext>
            </a:extLst>
          </p:cNvPr>
          <p:cNvSpPr>
            <a:spLocks noGrp="1"/>
          </p:cNvSpPr>
          <p:nvPr>
            <p:ph type="body" sz="quarter" idx="33"/>
          </p:nvPr>
        </p:nvSpPr>
        <p:spPr>
          <a:xfrm>
            <a:off x="9570596" y="1727872"/>
            <a:ext cx="2244464" cy="324000"/>
          </a:xfrm>
        </p:spPr>
        <p:txBody>
          <a:bodyPr/>
          <a:lstStyle>
            <a:lvl1pPr algn="l">
              <a:defRPr sz="1400"/>
            </a:lvl1pPr>
          </a:lstStyle>
          <a:p>
            <a:pPr lvl="0"/>
            <a:r>
              <a:rPr lang="en-US" dirty="0"/>
              <a:t>Click to edit Master text styles</a:t>
            </a:r>
          </a:p>
        </p:txBody>
      </p:sp>
      <p:sp>
        <p:nvSpPr>
          <p:cNvPr id="14" name="Marcador de texto 3">
            <a:extLst>
              <a:ext uri="{FF2B5EF4-FFF2-40B4-BE49-F238E27FC236}">
                <a16:creationId xmlns:a16="http://schemas.microsoft.com/office/drawing/2014/main" id="{ACB180FB-1454-47DD-BB9E-B2DA4A8A3DFB}"/>
              </a:ext>
            </a:extLst>
          </p:cNvPr>
          <p:cNvSpPr>
            <a:spLocks noGrp="1"/>
          </p:cNvSpPr>
          <p:nvPr>
            <p:ph type="body" sz="quarter" idx="34"/>
          </p:nvPr>
        </p:nvSpPr>
        <p:spPr>
          <a:xfrm>
            <a:off x="6623248" y="3107657"/>
            <a:ext cx="2240476" cy="286806"/>
          </a:xfrm>
          <a:prstGeom prst="rect">
            <a:avLst/>
          </a:prstGeom>
        </p:spPr>
        <p:txBody>
          <a:bodyPr lIns="0" tIns="0" rIns="0" bIns="0"/>
          <a:lstStyle>
            <a:lvl1pPr algn="l">
              <a:buNone/>
              <a:defRPr sz="1400" b="1">
                <a:solidFill>
                  <a:schemeClr val="tx1"/>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endParaRPr lang="en-GB" dirty="0"/>
          </a:p>
        </p:txBody>
      </p:sp>
      <p:sp>
        <p:nvSpPr>
          <p:cNvPr id="15" name="Text Placeholder 9">
            <a:extLst>
              <a:ext uri="{FF2B5EF4-FFF2-40B4-BE49-F238E27FC236}">
                <a16:creationId xmlns:a16="http://schemas.microsoft.com/office/drawing/2014/main" id="{C77B9DC8-DC18-449C-B522-DEE36E2B24C5}"/>
              </a:ext>
            </a:extLst>
          </p:cNvPr>
          <p:cNvSpPr>
            <a:spLocks noGrp="1"/>
          </p:cNvSpPr>
          <p:nvPr>
            <p:ph type="body" sz="quarter" idx="35"/>
          </p:nvPr>
        </p:nvSpPr>
        <p:spPr>
          <a:xfrm>
            <a:off x="6626048" y="3429000"/>
            <a:ext cx="2244464" cy="324000"/>
          </a:xfrm>
        </p:spPr>
        <p:txBody>
          <a:bodyPr/>
          <a:lstStyle>
            <a:lvl1pPr algn="l">
              <a:defRPr sz="1400"/>
            </a:lvl1pPr>
          </a:lstStyle>
          <a:p>
            <a:pPr lvl="0"/>
            <a:r>
              <a:rPr lang="en-US" dirty="0"/>
              <a:t>Click to edit Master text styles</a:t>
            </a:r>
          </a:p>
        </p:txBody>
      </p:sp>
      <p:sp>
        <p:nvSpPr>
          <p:cNvPr id="16" name="Marcador de texto 3">
            <a:extLst>
              <a:ext uri="{FF2B5EF4-FFF2-40B4-BE49-F238E27FC236}">
                <a16:creationId xmlns:a16="http://schemas.microsoft.com/office/drawing/2014/main" id="{46E1AF4A-780C-4EE6-9928-7BC8D0AC343C}"/>
              </a:ext>
            </a:extLst>
          </p:cNvPr>
          <p:cNvSpPr>
            <a:spLocks noGrp="1"/>
          </p:cNvSpPr>
          <p:nvPr>
            <p:ph type="body" sz="quarter" idx="36"/>
          </p:nvPr>
        </p:nvSpPr>
        <p:spPr>
          <a:xfrm>
            <a:off x="9561008" y="3112513"/>
            <a:ext cx="2240476" cy="286806"/>
          </a:xfrm>
          <a:prstGeom prst="rect">
            <a:avLst/>
          </a:prstGeom>
        </p:spPr>
        <p:txBody>
          <a:bodyPr lIns="0" tIns="0" rIns="0" bIns="0"/>
          <a:lstStyle>
            <a:lvl1pPr algn="l">
              <a:buNone/>
              <a:defRPr sz="1400" b="1">
                <a:solidFill>
                  <a:schemeClr val="tx1"/>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endParaRPr lang="en-GB" dirty="0"/>
          </a:p>
        </p:txBody>
      </p:sp>
      <p:sp>
        <p:nvSpPr>
          <p:cNvPr id="17" name="Text Placeholder 9">
            <a:extLst>
              <a:ext uri="{FF2B5EF4-FFF2-40B4-BE49-F238E27FC236}">
                <a16:creationId xmlns:a16="http://schemas.microsoft.com/office/drawing/2014/main" id="{72E05E5C-8D35-4D51-B233-065C8E31725C}"/>
              </a:ext>
            </a:extLst>
          </p:cNvPr>
          <p:cNvSpPr>
            <a:spLocks noGrp="1"/>
          </p:cNvSpPr>
          <p:nvPr>
            <p:ph type="body" sz="quarter" idx="37"/>
          </p:nvPr>
        </p:nvSpPr>
        <p:spPr>
          <a:xfrm>
            <a:off x="9563808" y="3433856"/>
            <a:ext cx="2244464" cy="324000"/>
          </a:xfrm>
        </p:spPr>
        <p:txBody>
          <a:bodyPr/>
          <a:lstStyle>
            <a:lvl1pPr algn="l">
              <a:defRPr sz="1400"/>
            </a:lvl1pPr>
          </a:lstStyle>
          <a:p>
            <a:pPr lvl="0"/>
            <a:r>
              <a:rPr lang="en-US" dirty="0"/>
              <a:t>Click to edit Master text styles</a:t>
            </a:r>
          </a:p>
        </p:txBody>
      </p:sp>
      <p:sp>
        <p:nvSpPr>
          <p:cNvPr id="18" name="Marcador de texto 3">
            <a:extLst>
              <a:ext uri="{FF2B5EF4-FFF2-40B4-BE49-F238E27FC236}">
                <a16:creationId xmlns:a16="http://schemas.microsoft.com/office/drawing/2014/main" id="{1187544D-6621-47E7-8A6D-A879FECBCAFD}"/>
              </a:ext>
            </a:extLst>
          </p:cNvPr>
          <p:cNvSpPr>
            <a:spLocks noGrp="1"/>
          </p:cNvSpPr>
          <p:nvPr>
            <p:ph type="body" sz="quarter" idx="38"/>
          </p:nvPr>
        </p:nvSpPr>
        <p:spPr>
          <a:xfrm>
            <a:off x="6623248" y="4822565"/>
            <a:ext cx="2240476" cy="286806"/>
          </a:xfrm>
          <a:prstGeom prst="rect">
            <a:avLst/>
          </a:prstGeom>
        </p:spPr>
        <p:txBody>
          <a:bodyPr lIns="0" tIns="0" rIns="0" bIns="0"/>
          <a:lstStyle>
            <a:lvl1pPr algn="l">
              <a:buNone/>
              <a:defRPr sz="1400" b="1">
                <a:solidFill>
                  <a:schemeClr val="tx1"/>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endParaRPr lang="en-GB" dirty="0"/>
          </a:p>
        </p:txBody>
      </p:sp>
      <p:sp>
        <p:nvSpPr>
          <p:cNvPr id="19" name="Text Placeholder 9">
            <a:extLst>
              <a:ext uri="{FF2B5EF4-FFF2-40B4-BE49-F238E27FC236}">
                <a16:creationId xmlns:a16="http://schemas.microsoft.com/office/drawing/2014/main" id="{FB4F0186-A1CF-411A-8226-0A48C5C32182}"/>
              </a:ext>
            </a:extLst>
          </p:cNvPr>
          <p:cNvSpPr>
            <a:spLocks noGrp="1"/>
          </p:cNvSpPr>
          <p:nvPr>
            <p:ph type="body" sz="quarter" idx="39"/>
          </p:nvPr>
        </p:nvSpPr>
        <p:spPr>
          <a:xfrm>
            <a:off x="6626048" y="5143908"/>
            <a:ext cx="2244464" cy="324000"/>
          </a:xfrm>
        </p:spPr>
        <p:txBody>
          <a:bodyPr/>
          <a:lstStyle>
            <a:lvl1pPr algn="l">
              <a:defRPr sz="1400"/>
            </a:lvl1pPr>
          </a:lstStyle>
          <a:p>
            <a:pPr lvl="0"/>
            <a:r>
              <a:rPr lang="en-US" dirty="0"/>
              <a:t>Click to edit Master text styles</a:t>
            </a:r>
          </a:p>
        </p:txBody>
      </p:sp>
      <p:sp>
        <p:nvSpPr>
          <p:cNvPr id="20" name="Marcador de texto 3">
            <a:extLst>
              <a:ext uri="{FF2B5EF4-FFF2-40B4-BE49-F238E27FC236}">
                <a16:creationId xmlns:a16="http://schemas.microsoft.com/office/drawing/2014/main" id="{F2FE3AC2-2796-480C-A108-6D0C2DEB1228}"/>
              </a:ext>
            </a:extLst>
          </p:cNvPr>
          <p:cNvSpPr>
            <a:spLocks noGrp="1"/>
          </p:cNvSpPr>
          <p:nvPr>
            <p:ph type="body" sz="quarter" idx="40"/>
          </p:nvPr>
        </p:nvSpPr>
        <p:spPr>
          <a:xfrm>
            <a:off x="9561008" y="4827421"/>
            <a:ext cx="2240476" cy="286806"/>
          </a:xfrm>
          <a:prstGeom prst="rect">
            <a:avLst/>
          </a:prstGeom>
        </p:spPr>
        <p:txBody>
          <a:bodyPr lIns="0" tIns="0" rIns="0" bIns="0"/>
          <a:lstStyle>
            <a:lvl1pPr algn="l">
              <a:buNone/>
              <a:defRPr sz="1400" b="1">
                <a:solidFill>
                  <a:schemeClr val="tx1"/>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endParaRPr lang="en-GB" dirty="0"/>
          </a:p>
        </p:txBody>
      </p:sp>
      <p:sp>
        <p:nvSpPr>
          <p:cNvPr id="21" name="Text Placeholder 9">
            <a:extLst>
              <a:ext uri="{FF2B5EF4-FFF2-40B4-BE49-F238E27FC236}">
                <a16:creationId xmlns:a16="http://schemas.microsoft.com/office/drawing/2014/main" id="{2355334D-7950-4F8F-AE01-195858149FAB}"/>
              </a:ext>
            </a:extLst>
          </p:cNvPr>
          <p:cNvSpPr>
            <a:spLocks noGrp="1"/>
          </p:cNvSpPr>
          <p:nvPr>
            <p:ph type="body" sz="quarter" idx="41"/>
          </p:nvPr>
        </p:nvSpPr>
        <p:spPr>
          <a:xfrm>
            <a:off x="9563808" y="5148764"/>
            <a:ext cx="2244464" cy="324000"/>
          </a:xfrm>
        </p:spPr>
        <p:txBody>
          <a:bodyPr/>
          <a:lstStyle>
            <a:lvl1pPr algn="l">
              <a:defRPr sz="1400"/>
            </a:lvl1pPr>
          </a:lstStyle>
          <a:p>
            <a:pPr lvl="0"/>
            <a:r>
              <a:rPr lang="en-US" dirty="0"/>
              <a:t>Click to edit Master text styles</a:t>
            </a:r>
          </a:p>
        </p:txBody>
      </p:sp>
    </p:spTree>
    <p:extLst>
      <p:ext uri="{BB962C8B-B14F-4D97-AF65-F5344CB8AC3E}">
        <p14:creationId xmlns:p14="http://schemas.microsoft.com/office/powerpoint/2010/main" val="422818517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_Object and bullet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BAE9E93-F472-47F1-91F6-977226623423}"/>
              </a:ext>
            </a:extLst>
          </p:cNvPr>
          <p:cNvGraphicFramePr>
            <a:graphicFrameLocks noChangeAspect="1"/>
          </p:cNvGraphicFramePr>
          <p:nvPr userDrawn="1">
            <p:custDataLst>
              <p:tags r:id="rId2"/>
            </p:custDataLst>
            <p:extLst>
              <p:ext uri="{D42A27DB-BD31-4B8C-83A1-F6EECF244321}">
                <p14:modId xmlns:p14="http://schemas.microsoft.com/office/powerpoint/2010/main" val="25164278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16" name="think-cell Slide" r:id="rId5" imgW="473" imgH="474" progId="TCLayout.ActiveDocument.1">
                  <p:embed/>
                </p:oleObj>
              </mc:Choice>
              <mc:Fallback>
                <p:oleObj name="think-cell Slide" r:id="rId5" imgW="473" imgH="474" progId="TCLayout.ActiveDocument.1">
                  <p:embed/>
                  <p:pic>
                    <p:nvPicPr>
                      <p:cNvPr id="7" name="Object 6" hidden="1">
                        <a:extLst>
                          <a:ext uri="{FF2B5EF4-FFF2-40B4-BE49-F238E27FC236}">
                            <a16:creationId xmlns:a16="http://schemas.microsoft.com/office/drawing/2014/main" id="{FBAE9E93-F472-47F1-91F6-97722662342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D1778B4-7C1F-4CAD-BAA1-687FE82F7B7B}"/>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Verdana" panose="020B0604030504040204" pitchFamily="34" charset="0"/>
              <a:ea typeface="+mj-ea"/>
              <a:cs typeface="+mj-cs"/>
              <a:sym typeface="Verdana" panose="020B0604030504040204" pitchFamily="34" charset="0"/>
            </a:endParaRPr>
          </a:p>
        </p:txBody>
      </p:sp>
      <p:sp>
        <p:nvSpPr>
          <p:cNvPr id="10" name="Marcador de contenido 4">
            <a:extLst>
              <a:ext uri="{FF2B5EF4-FFF2-40B4-BE49-F238E27FC236}">
                <a16:creationId xmlns:a16="http://schemas.microsoft.com/office/drawing/2014/main" id="{467CE687-F3D9-B346-A542-5EED792BEFF1}"/>
              </a:ext>
            </a:extLst>
          </p:cNvPr>
          <p:cNvSpPr>
            <a:spLocks noGrp="1"/>
          </p:cNvSpPr>
          <p:nvPr>
            <p:ph sz="quarter" idx="13" hasCustomPrompt="1"/>
          </p:nvPr>
        </p:nvSpPr>
        <p:spPr>
          <a:xfrm>
            <a:off x="6420525" y="1396800"/>
            <a:ext cx="5400000" cy="4752000"/>
          </a:xfrm>
          <a:prstGeom prst="rect">
            <a:avLst/>
          </a:prstGeom>
        </p:spPr>
        <p:txBody>
          <a:bodyPr anchor="t"/>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b="0" i="0" kern="1200" dirty="0">
                <a:solidFill>
                  <a:schemeClr val="tx1"/>
                </a:solidFill>
                <a:latin typeface="+mn-lt"/>
                <a:ea typeface="+mn-ea"/>
                <a:cs typeface="+mn-cs"/>
              </a:defRPr>
            </a:lvl1pPr>
          </a:lstStyle>
          <a:p>
            <a:pPr marL="228600" marR="0" lvl="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Click to add a table, </a:t>
            </a:r>
            <a:br>
              <a:rPr lang="en-US" dirty="0"/>
            </a:br>
            <a:r>
              <a:rPr lang="en-US" dirty="0"/>
              <a:t>chart or image</a:t>
            </a:r>
          </a:p>
        </p:txBody>
      </p:sp>
      <p:sp>
        <p:nvSpPr>
          <p:cNvPr id="8" name="Marcador de texto 2">
            <a:extLst>
              <a:ext uri="{FF2B5EF4-FFF2-40B4-BE49-F238E27FC236}">
                <a16:creationId xmlns:a16="http://schemas.microsoft.com/office/drawing/2014/main" id="{3BF9BE23-447B-43CC-B3A5-202F7CFB8F53}"/>
              </a:ext>
            </a:extLst>
          </p:cNvPr>
          <p:cNvSpPr>
            <a:spLocks noGrp="1"/>
          </p:cNvSpPr>
          <p:nvPr>
            <p:ph type="body" idx="10" hasCustomPrompt="1"/>
          </p:nvPr>
        </p:nvSpPr>
        <p:spPr>
          <a:xfrm>
            <a:off x="368790" y="722639"/>
            <a:ext cx="11446270" cy="324000"/>
          </a:xfrm>
          <a:prstGeom prst="rect">
            <a:avLst/>
          </a:prstGeom>
        </p:spPr>
        <p:txBody>
          <a:bodyPr lIns="0" tIns="0" rIns="0" bIns="0" anchor="t"/>
          <a:lstStyle>
            <a:lvl1pPr marL="0" indent="0">
              <a:lnSpc>
                <a:spcPct val="100000"/>
              </a:lnSpc>
              <a:spcBef>
                <a:spcPts val="0"/>
              </a:spcBef>
              <a:buNone/>
              <a:defRPr sz="2000" b="0">
                <a:solidFill>
                  <a:srgbClr val="000000"/>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err="1"/>
              <a:t>Subtitle</a:t>
            </a:r>
            <a:endParaRPr lang="es-ES" dirty="0"/>
          </a:p>
        </p:txBody>
      </p:sp>
      <p:sp>
        <p:nvSpPr>
          <p:cNvPr id="5" name="Title 4">
            <a:extLst>
              <a:ext uri="{FF2B5EF4-FFF2-40B4-BE49-F238E27FC236}">
                <a16:creationId xmlns:a16="http://schemas.microsoft.com/office/drawing/2014/main" id="{259FD00C-3D55-4286-9382-8E87FAB630A4}"/>
              </a:ext>
            </a:extLst>
          </p:cNvPr>
          <p:cNvSpPr>
            <a:spLocks noGrp="1"/>
          </p:cNvSpPr>
          <p:nvPr>
            <p:ph type="title"/>
          </p:nvPr>
        </p:nvSpPr>
        <p:spPr/>
        <p:txBody>
          <a:bodyPr/>
          <a:lstStyle/>
          <a:p>
            <a:r>
              <a:rPr lang="en-US"/>
              <a:t>Click to edit Master title style</a:t>
            </a:r>
          </a:p>
        </p:txBody>
      </p:sp>
      <p:sp>
        <p:nvSpPr>
          <p:cNvPr id="9" name="Marcador de texto 3">
            <a:extLst>
              <a:ext uri="{FF2B5EF4-FFF2-40B4-BE49-F238E27FC236}">
                <a16:creationId xmlns:a16="http://schemas.microsoft.com/office/drawing/2014/main" id="{6843D7AD-9152-47D5-99D0-BBBA0319B9C3}"/>
              </a:ext>
            </a:extLst>
          </p:cNvPr>
          <p:cNvSpPr>
            <a:spLocks noGrp="1"/>
          </p:cNvSpPr>
          <p:nvPr>
            <p:ph type="body" sz="quarter" idx="30"/>
          </p:nvPr>
        </p:nvSpPr>
        <p:spPr>
          <a:xfrm>
            <a:off x="897431" y="3429017"/>
            <a:ext cx="2240476" cy="286806"/>
          </a:xfrm>
          <a:prstGeom prst="rect">
            <a:avLst/>
          </a:prstGeom>
        </p:spPr>
        <p:txBody>
          <a:bodyPr lIns="0" tIns="0" rIns="0" bIns="0"/>
          <a:lstStyle>
            <a:lvl1pPr algn="l">
              <a:buNone/>
              <a:defRPr sz="1400" b="1">
                <a:solidFill>
                  <a:schemeClr val="tx1"/>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endParaRPr lang="en-GB" dirty="0"/>
          </a:p>
        </p:txBody>
      </p:sp>
      <p:sp>
        <p:nvSpPr>
          <p:cNvPr id="11" name="Text Placeholder 9">
            <a:extLst>
              <a:ext uri="{FF2B5EF4-FFF2-40B4-BE49-F238E27FC236}">
                <a16:creationId xmlns:a16="http://schemas.microsoft.com/office/drawing/2014/main" id="{F6C32404-FCB5-4BAA-83C4-43D88A66A05B}"/>
              </a:ext>
            </a:extLst>
          </p:cNvPr>
          <p:cNvSpPr>
            <a:spLocks noGrp="1"/>
          </p:cNvSpPr>
          <p:nvPr>
            <p:ph type="body" sz="quarter" idx="31"/>
          </p:nvPr>
        </p:nvSpPr>
        <p:spPr>
          <a:xfrm>
            <a:off x="900231" y="3750360"/>
            <a:ext cx="2244464" cy="324000"/>
          </a:xfrm>
        </p:spPr>
        <p:txBody>
          <a:bodyPr/>
          <a:lstStyle>
            <a:lvl1pPr algn="l">
              <a:defRPr sz="1400"/>
            </a:lvl1pPr>
          </a:lstStyle>
          <a:p>
            <a:pPr lvl="0"/>
            <a:r>
              <a:rPr lang="en-US" dirty="0"/>
              <a:t>Click to edit Master text styles</a:t>
            </a:r>
          </a:p>
        </p:txBody>
      </p:sp>
      <p:sp>
        <p:nvSpPr>
          <p:cNvPr id="12" name="Marcador de texto 3">
            <a:extLst>
              <a:ext uri="{FF2B5EF4-FFF2-40B4-BE49-F238E27FC236}">
                <a16:creationId xmlns:a16="http://schemas.microsoft.com/office/drawing/2014/main" id="{4428ED6C-FDDD-49C4-957F-C4BFB8975BE7}"/>
              </a:ext>
            </a:extLst>
          </p:cNvPr>
          <p:cNvSpPr>
            <a:spLocks noGrp="1"/>
          </p:cNvSpPr>
          <p:nvPr>
            <p:ph type="body" sz="quarter" idx="32"/>
          </p:nvPr>
        </p:nvSpPr>
        <p:spPr>
          <a:xfrm>
            <a:off x="3835191" y="3433873"/>
            <a:ext cx="2240476" cy="286806"/>
          </a:xfrm>
          <a:prstGeom prst="rect">
            <a:avLst/>
          </a:prstGeom>
        </p:spPr>
        <p:txBody>
          <a:bodyPr lIns="0" tIns="0" rIns="0" bIns="0"/>
          <a:lstStyle>
            <a:lvl1pPr algn="l">
              <a:buNone/>
              <a:defRPr sz="1400" b="1">
                <a:solidFill>
                  <a:schemeClr val="tx1"/>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endParaRPr lang="en-GB" dirty="0"/>
          </a:p>
        </p:txBody>
      </p:sp>
      <p:sp>
        <p:nvSpPr>
          <p:cNvPr id="13" name="Text Placeholder 9">
            <a:extLst>
              <a:ext uri="{FF2B5EF4-FFF2-40B4-BE49-F238E27FC236}">
                <a16:creationId xmlns:a16="http://schemas.microsoft.com/office/drawing/2014/main" id="{9B8C1556-02E4-45AD-90E7-792D074953E7}"/>
              </a:ext>
            </a:extLst>
          </p:cNvPr>
          <p:cNvSpPr>
            <a:spLocks noGrp="1"/>
          </p:cNvSpPr>
          <p:nvPr>
            <p:ph type="body" sz="quarter" idx="33"/>
          </p:nvPr>
        </p:nvSpPr>
        <p:spPr>
          <a:xfrm>
            <a:off x="3837991" y="3755216"/>
            <a:ext cx="2244464" cy="324000"/>
          </a:xfrm>
        </p:spPr>
        <p:txBody>
          <a:bodyPr/>
          <a:lstStyle>
            <a:lvl1pPr algn="l">
              <a:defRPr sz="1400"/>
            </a:lvl1pPr>
          </a:lstStyle>
          <a:p>
            <a:pPr lvl="0"/>
            <a:r>
              <a:rPr lang="en-US" dirty="0"/>
              <a:t>Click to edit Master text styles</a:t>
            </a:r>
          </a:p>
        </p:txBody>
      </p:sp>
      <p:sp>
        <p:nvSpPr>
          <p:cNvPr id="14" name="Marcador de texto 3">
            <a:extLst>
              <a:ext uri="{FF2B5EF4-FFF2-40B4-BE49-F238E27FC236}">
                <a16:creationId xmlns:a16="http://schemas.microsoft.com/office/drawing/2014/main" id="{ACB180FB-1454-47DD-BB9E-B2DA4A8A3DFB}"/>
              </a:ext>
            </a:extLst>
          </p:cNvPr>
          <p:cNvSpPr>
            <a:spLocks noGrp="1"/>
          </p:cNvSpPr>
          <p:nvPr>
            <p:ph type="body" sz="quarter" idx="34"/>
          </p:nvPr>
        </p:nvSpPr>
        <p:spPr>
          <a:xfrm>
            <a:off x="890643" y="5135001"/>
            <a:ext cx="2240476" cy="286806"/>
          </a:xfrm>
          <a:prstGeom prst="rect">
            <a:avLst/>
          </a:prstGeom>
        </p:spPr>
        <p:txBody>
          <a:bodyPr lIns="0" tIns="0" rIns="0" bIns="0"/>
          <a:lstStyle>
            <a:lvl1pPr algn="l">
              <a:buNone/>
              <a:defRPr sz="1400" b="1">
                <a:solidFill>
                  <a:schemeClr val="tx1"/>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endParaRPr lang="en-GB" dirty="0"/>
          </a:p>
        </p:txBody>
      </p:sp>
      <p:sp>
        <p:nvSpPr>
          <p:cNvPr id="15" name="Text Placeholder 9">
            <a:extLst>
              <a:ext uri="{FF2B5EF4-FFF2-40B4-BE49-F238E27FC236}">
                <a16:creationId xmlns:a16="http://schemas.microsoft.com/office/drawing/2014/main" id="{C77B9DC8-DC18-449C-B522-DEE36E2B24C5}"/>
              </a:ext>
            </a:extLst>
          </p:cNvPr>
          <p:cNvSpPr>
            <a:spLocks noGrp="1"/>
          </p:cNvSpPr>
          <p:nvPr>
            <p:ph type="body" sz="quarter" idx="35"/>
          </p:nvPr>
        </p:nvSpPr>
        <p:spPr>
          <a:xfrm>
            <a:off x="893443" y="5456344"/>
            <a:ext cx="2244464" cy="324000"/>
          </a:xfrm>
        </p:spPr>
        <p:txBody>
          <a:bodyPr/>
          <a:lstStyle>
            <a:lvl1pPr algn="l">
              <a:defRPr sz="1400"/>
            </a:lvl1pPr>
          </a:lstStyle>
          <a:p>
            <a:pPr lvl="0"/>
            <a:r>
              <a:rPr lang="en-US" dirty="0"/>
              <a:t>Click to edit Master text styles</a:t>
            </a:r>
          </a:p>
        </p:txBody>
      </p:sp>
      <p:sp>
        <p:nvSpPr>
          <p:cNvPr id="16" name="Marcador de texto 3">
            <a:extLst>
              <a:ext uri="{FF2B5EF4-FFF2-40B4-BE49-F238E27FC236}">
                <a16:creationId xmlns:a16="http://schemas.microsoft.com/office/drawing/2014/main" id="{46E1AF4A-780C-4EE6-9928-7BC8D0AC343C}"/>
              </a:ext>
            </a:extLst>
          </p:cNvPr>
          <p:cNvSpPr>
            <a:spLocks noGrp="1"/>
          </p:cNvSpPr>
          <p:nvPr>
            <p:ph type="body" sz="quarter" idx="36"/>
          </p:nvPr>
        </p:nvSpPr>
        <p:spPr>
          <a:xfrm>
            <a:off x="3828403" y="5139857"/>
            <a:ext cx="2240476" cy="286806"/>
          </a:xfrm>
          <a:prstGeom prst="rect">
            <a:avLst/>
          </a:prstGeom>
        </p:spPr>
        <p:txBody>
          <a:bodyPr lIns="0" tIns="0" rIns="0" bIns="0"/>
          <a:lstStyle>
            <a:lvl1pPr algn="l">
              <a:buNone/>
              <a:defRPr sz="1400" b="1">
                <a:solidFill>
                  <a:schemeClr val="tx1"/>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endParaRPr lang="en-GB" dirty="0"/>
          </a:p>
        </p:txBody>
      </p:sp>
      <p:sp>
        <p:nvSpPr>
          <p:cNvPr id="17" name="Text Placeholder 9">
            <a:extLst>
              <a:ext uri="{FF2B5EF4-FFF2-40B4-BE49-F238E27FC236}">
                <a16:creationId xmlns:a16="http://schemas.microsoft.com/office/drawing/2014/main" id="{72E05E5C-8D35-4D51-B233-065C8E31725C}"/>
              </a:ext>
            </a:extLst>
          </p:cNvPr>
          <p:cNvSpPr>
            <a:spLocks noGrp="1"/>
          </p:cNvSpPr>
          <p:nvPr>
            <p:ph type="body" sz="quarter" idx="37"/>
          </p:nvPr>
        </p:nvSpPr>
        <p:spPr>
          <a:xfrm>
            <a:off x="3831203" y="5461200"/>
            <a:ext cx="2244464" cy="324000"/>
          </a:xfrm>
        </p:spPr>
        <p:txBody>
          <a:bodyPr/>
          <a:lstStyle>
            <a:lvl1pPr algn="l">
              <a:defRPr sz="1400"/>
            </a:lvl1pPr>
          </a:lstStyle>
          <a:p>
            <a:pPr lvl="0"/>
            <a:r>
              <a:rPr lang="en-US" dirty="0"/>
              <a:t>Click to edit Master text styles</a:t>
            </a:r>
          </a:p>
        </p:txBody>
      </p:sp>
      <p:sp>
        <p:nvSpPr>
          <p:cNvPr id="22" name="Text Placeholder 4">
            <a:extLst>
              <a:ext uri="{FF2B5EF4-FFF2-40B4-BE49-F238E27FC236}">
                <a16:creationId xmlns:a16="http://schemas.microsoft.com/office/drawing/2014/main" id="{984F6A59-488C-411A-BAAC-AC4D46ED1CE8}"/>
              </a:ext>
            </a:extLst>
          </p:cNvPr>
          <p:cNvSpPr>
            <a:spLocks noGrp="1"/>
          </p:cNvSpPr>
          <p:nvPr>
            <p:ph type="body" sz="quarter" idx="38"/>
          </p:nvPr>
        </p:nvSpPr>
        <p:spPr>
          <a:xfrm>
            <a:off x="368790" y="1396800"/>
            <a:ext cx="5731200" cy="1531595"/>
          </a:xfrm>
        </p:spPr>
        <p:txBody>
          <a:bodyPr/>
          <a:lstStyle>
            <a:lvl1pPr>
              <a:defRPr sz="1400"/>
            </a:lvl1pPr>
          </a:lstStyle>
          <a:p>
            <a:pPr lvl="0"/>
            <a:r>
              <a:rPr lang="en-US" dirty="0"/>
              <a:t>Click to edit Master text styles</a:t>
            </a:r>
          </a:p>
          <a:p>
            <a:pPr lvl="1"/>
            <a:endParaRPr lang="en-US" dirty="0"/>
          </a:p>
        </p:txBody>
      </p:sp>
    </p:spTree>
    <p:extLst>
      <p:ext uri="{BB962C8B-B14F-4D97-AF65-F5344CB8AC3E}">
        <p14:creationId xmlns:p14="http://schemas.microsoft.com/office/powerpoint/2010/main" val="7254065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F8A8F69-DD66-45C1-B85D-0E011DEEE825}"/>
              </a:ext>
            </a:extLst>
          </p:cNvPr>
          <p:cNvGraphicFramePr>
            <a:graphicFrameLocks noChangeAspect="1"/>
          </p:cNvGraphicFramePr>
          <p:nvPr userDrawn="1">
            <p:custDataLst>
              <p:tags r:id="rId2"/>
            </p:custDataLst>
            <p:extLst>
              <p:ext uri="{D42A27DB-BD31-4B8C-83A1-F6EECF244321}">
                <p14:modId xmlns:p14="http://schemas.microsoft.com/office/powerpoint/2010/main" val="8523153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4" name="think-cell Slide" r:id="rId4" imgW="473" imgH="474" progId="TCLayout.ActiveDocument.1">
                  <p:embed/>
                </p:oleObj>
              </mc:Choice>
              <mc:Fallback>
                <p:oleObj name="think-cell Slide" r:id="rId4" imgW="473" imgH="474" progId="TCLayout.ActiveDocument.1">
                  <p:embed/>
                  <p:pic>
                    <p:nvPicPr>
                      <p:cNvPr id="4" name="Object 3" hidden="1">
                        <a:extLst>
                          <a:ext uri="{FF2B5EF4-FFF2-40B4-BE49-F238E27FC236}">
                            <a16:creationId xmlns:a16="http://schemas.microsoft.com/office/drawing/2014/main" id="{CF8A8F69-DD66-45C1-B85D-0E011DEEE8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Marcador de texto 2">
            <a:extLst>
              <a:ext uri="{FF2B5EF4-FFF2-40B4-BE49-F238E27FC236}">
                <a16:creationId xmlns:a16="http://schemas.microsoft.com/office/drawing/2014/main" id="{D143ED73-AA34-4057-A898-E1A20B1D6F73}"/>
              </a:ext>
            </a:extLst>
          </p:cNvPr>
          <p:cNvSpPr>
            <a:spLocks noGrp="1"/>
          </p:cNvSpPr>
          <p:nvPr>
            <p:ph type="body" idx="10" hasCustomPrompt="1"/>
          </p:nvPr>
        </p:nvSpPr>
        <p:spPr>
          <a:xfrm>
            <a:off x="368790" y="722639"/>
            <a:ext cx="11446270" cy="324000"/>
          </a:xfrm>
          <a:prstGeom prst="rect">
            <a:avLst/>
          </a:prstGeom>
        </p:spPr>
        <p:txBody>
          <a:bodyPr lIns="0" tIns="0" rIns="0" bIns="0" anchor="t"/>
          <a:lstStyle>
            <a:lvl1pPr marL="0" indent="0">
              <a:lnSpc>
                <a:spcPct val="100000"/>
              </a:lnSpc>
              <a:spcBef>
                <a:spcPts val="0"/>
              </a:spcBef>
              <a:buNone/>
              <a:defRPr sz="2000" b="0">
                <a:solidFill>
                  <a:srgbClr val="000000"/>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err="1"/>
              <a:t>Subtitle</a:t>
            </a:r>
            <a:endParaRPr lang="es-ES" dirty="0"/>
          </a:p>
        </p:txBody>
      </p:sp>
      <p:sp>
        <p:nvSpPr>
          <p:cNvPr id="3" name="Text Placeholder 2">
            <a:extLst>
              <a:ext uri="{FF2B5EF4-FFF2-40B4-BE49-F238E27FC236}">
                <a16:creationId xmlns:a16="http://schemas.microsoft.com/office/drawing/2014/main" id="{BA2637FA-97C6-4B1B-B40E-DEFDE97B842B}"/>
              </a:ext>
            </a:extLst>
          </p:cNvPr>
          <p:cNvSpPr>
            <a:spLocks noGrp="1"/>
          </p:cNvSpPr>
          <p:nvPr>
            <p:ph type="body" sz="quarter" idx="11"/>
          </p:nvPr>
        </p:nvSpPr>
        <p:spPr>
          <a:xfrm>
            <a:off x="368790" y="1396800"/>
            <a:ext cx="11446270" cy="4752000"/>
          </a:xfrm>
        </p:spPr>
        <p:txBody>
          <a:bodyPr/>
          <a:lstStyle>
            <a:lvl1pPr>
              <a:defRPr sz="1400"/>
            </a:lvl1pPr>
            <a:lvl2pPr>
              <a:defRPr sz="1400"/>
            </a:lvl2pPr>
            <a:lvl3pPr>
              <a:defRPr sz="1400"/>
            </a:lvl3pPr>
            <a:lvl4pPr>
              <a:defRPr sz="14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Title 4">
            <a:extLst>
              <a:ext uri="{FF2B5EF4-FFF2-40B4-BE49-F238E27FC236}">
                <a16:creationId xmlns:a16="http://schemas.microsoft.com/office/drawing/2014/main" id="{BD38EC83-21DE-431D-8BC8-1CB195F64F3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1792095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 chart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57CFD00-C6DE-4FB2-8022-E7E049C42B54}"/>
              </a:ext>
            </a:extLst>
          </p:cNvPr>
          <p:cNvGraphicFramePr>
            <a:graphicFrameLocks noChangeAspect="1"/>
          </p:cNvGraphicFramePr>
          <p:nvPr userDrawn="1">
            <p:custDataLst>
              <p:tags r:id="rId2"/>
            </p:custDataLst>
            <p:extLst>
              <p:ext uri="{D42A27DB-BD31-4B8C-83A1-F6EECF244321}">
                <p14:modId xmlns:p14="http://schemas.microsoft.com/office/powerpoint/2010/main" val="27235055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40" name="think-cell Slide" r:id="rId4" imgW="473" imgH="474" progId="TCLayout.ActiveDocument.1">
                  <p:embed/>
                </p:oleObj>
              </mc:Choice>
              <mc:Fallback>
                <p:oleObj name="think-cell Slide" r:id="rId4" imgW="473" imgH="474" progId="TCLayout.ActiveDocument.1">
                  <p:embed/>
                  <p:pic>
                    <p:nvPicPr>
                      <p:cNvPr id="4" name="Object 3" hidden="1">
                        <a:extLst>
                          <a:ext uri="{FF2B5EF4-FFF2-40B4-BE49-F238E27FC236}">
                            <a16:creationId xmlns:a16="http://schemas.microsoft.com/office/drawing/2014/main" id="{657CFD00-C6DE-4FB2-8022-E7E049C42B5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Marcador de contenido 4">
            <a:extLst>
              <a:ext uri="{FF2B5EF4-FFF2-40B4-BE49-F238E27FC236}">
                <a16:creationId xmlns:a16="http://schemas.microsoft.com/office/drawing/2014/main" id="{467CE687-F3D9-B346-A542-5EED792BEFF1}"/>
              </a:ext>
            </a:extLst>
          </p:cNvPr>
          <p:cNvSpPr>
            <a:spLocks noGrp="1"/>
          </p:cNvSpPr>
          <p:nvPr>
            <p:ph sz="quarter" idx="13" hasCustomPrompt="1"/>
          </p:nvPr>
        </p:nvSpPr>
        <p:spPr>
          <a:xfrm>
            <a:off x="6256800" y="1396800"/>
            <a:ext cx="5558400" cy="4752000"/>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lang="en-US" sz="1600" b="0" i="0" kern="1200" dirty="0">
                <a:solidFill>
                  <a:schemeClr val="tx1"/>
                </a:solidFill>
                <a:latin typeface="+mn-lt"/>
                <a:ea typeface="+mn-ea"/>
                <a:cs typeface="+mn-cs"/>
              </a:defRPr>
            </a:lvl1pPr>
          </a:lstStyle>
          <a:p>
            <a:pPr marL="228600" marR="0" lvl="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Click to add a table, </a:t>
            </a:r>
            <a:br>
              <a:rPr lang="en-US" dirty="0"/>
            </a:br>
            <a:r>
              <a:rPr lang="en-US" dirty="0"/>
              <a:t>chart or image</a:t>
            </a:r>
          </a:p>
          <a:p>
            <a:pPr lvl="0"/>
            <a:endParaRPr lang="en-GB" dirty="0"/>
          </a:p>
        </p:txBody>
      </p:sp>
      <p:sp>
        <p:nvSpPr>
          <p:cNvPr id="7" name="Marcador de contenido 4">
            <a:extLst>
              <a:ext uri="{FF2B5EF4-FFF2-40B4-BE49-F238E27FC236}">
                <a16:creationId xmlns:a16="http://schemas.microsoft.com/office/drawing/2014/main" id="{1AB5B00D-6AFD-494C-8631-E0A05EFBFCBE}"/>
              </a:ext>
            </a:extLst>
          </p:cNvPr>
          <p:cNvSpPr>
            <a:spLocks noGrp="1"/>
          </p:cNvSpPr>
          <p:nvPr>
            <p:ph sz="quarter" idx="14" hasCustomPrompt="1"/>
          </p:nvPr>
        </p:nvSpPr>
        <p:spPr>
          <a:xfrm>
            <a:off x="368790" y="1396800"/>
            <a:ext cx="5558400" cy="4752000"/>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lang="en-US" sz="1600" b="0" i="0" kern="1200" dirty="0">
                <a:solidFill>
                  <a:schemeClr val="tx1"/>
                </a:solidFill>
                <a:latin typeface="+mn-lt"/>
                <a:ea typeface="+mn-ea"/>
                <a:cs typeface="+mn-cs"/>
              </a:defRPr>
            </a:lvl1pPr>
          </a:lstStyle>
          <a:p>
            <a:pPr marL="228600" marR="0" lvl="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Click to add a table, </a:t>
            </a:r>
            <a:br>
              <a:rPr lang="en-US" dirty="0"/>
            </a:br>
            <a:r>
              <a:rPr lang="en-US" dirty="0"/>
              <a:t>chart or image</a:t>
            </a:r>
          </a:p>
          <a:p>
            <a:pPr lvl="0"/>
            <a:endParaRPr lang="en-GB" dirty="0"/>
          </a:p>
        </p:txBody>
      </p:sp>
      <p:sp>
        <p:nvSpPr>
          <p:cNvPr id="8" name="Marcador de texto 2">
            <a:extLst>
              <a:ext uri="{FF2B5EF4-FFF2-40B4-BE49-F238E27FC236}">
                <a16:creationId xmlns:a16="http://schemas.microsoft.com/office/drawing/2014/main" id="{8F14B39B-9376-43B8-95BE-DEC3B570145F}"/>
              </a:ext>
            </a:extLst>
          </p:cNvPr>
          <p:cNvSpPr>
            <a:spLocks noGrp="1"/>
          </p:cNvSpPr>
          <p:nvPr>
            <p:ph type="body" idx="10" hasCustomPrompt="1"/>
          </p:nvPr>
        </p:nvSpPr>
        <p:spPr>
          <a:xfrm>
            <a:off x="368790" y="722639"/>
            <a:ext cx="11446270" cy="324000"/>
          </a:xfrm>
          <a:prstGeom prst="rect">
            <a:avLst/>
          </a:prstGeom>
        </p:spPr>
        <p:txBody>
          <a:bodyPr lIns="0" tIns="0" rIns="0" bIns="0" anchor="t"/>
          <a:lstStyle>
            <a:lvl1pPr marL="0" indent="0">
              <a:lnSpc>
                <a:spcPct val="100000"/>
              </a:lnSpc>
              <a:spcBef>
                <a:spcPts val="0"/>
              </a:spcBef>
              <a:buNone/>
              <a:defRPr sz="2000" b="0">
                <a:solidFill>
                  <a:srgbClr val="000000"/>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err="1"/>
              <a:t>Subtitle</a:t>
            </a:r>
            <a:endParaRPr lang="es-ES" dirty="0"/>
          </a:p>
        </p:txBody>
      </p:sp>
      <p:sp>
        <p:nvSpPr>
          <p:cNvPr id="2" name="Title 1">
            <a:extLst>
              <a:ext uri="{FF2B5EF4-FFF2-40B4-BE49-F238E27FC236}">
                <a16:creationId xmlns:a16="http://schemas.microsoft.com/office/drawing/2014/main" id="{E1877918-72ED-4A00-8BB3-61350786326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2828454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 Char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6A0B881-68E7-450D-A7FA-D08BB77554DF}"/>
              </a:ext>
            </a:extLst>
          </p:cNvPr>
          <p:cNvGraphicFramePr>
            <a:graphicFrameLocks noChangeAspect="1"/>
          </p:cNvGraphicFramePr>
          <p:nvPr userDrawn="1">
            <p:custDataLst>
              <p:tags r:id="rId2"/>
            </p:custDataLst>
            <p:extLst>
              <p:ext uri="{D42A27DB-BD31-4B8C-83A1-F6EECF244321}">
                <p14:modId xmlns:p14="http://schemas.microsoft.com/office/powerpoint/2010/main" val="7051749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64" name="think-cell Slide" r:id="rId4" imgW="473" imgH="474" progId="TCLayout.ActiveDocument.1">
                  <p:embed/>
                </p:oleObj>
              </mc:Choice>
              <mc:Fallback>
                <p:oleObj name="think-cell Slide" r:id="rId4" imgW="473" imgH="474" progId="TCLayout.ActiveDocument.1">
                  <p:embed/>
                  <p:pic>
                    <p:nvPicPr>
                      <p:cNvPr id="4" name="Object 3" hidden="1">
                        <a:extLst>
                          <a:ext uri="{FF2B5EF4-FFF2-40B4-BE49-F238E27FC236}">
                            <a16:creationId xmlns:a16="http://schemas.microsoft.com/office/drawing/2014/main" id="{36A0B881-68E7-450D-A7FA-D08BB77554D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Marcador de texto 2">
            <a:extLst>
              <a:ext uri="{FF2B5EF4-FFF2-40B4-BE49-F238E27FC236}">
                <a16:creationId xmlns:a16="http://schemas.microsoft.com/office/drawing/2014/main" id="{07DA8050-7B9B-4180-9354-4A54C06115DE}"/>
              </a:ext>
            </a:extLst>
          </p:cNvPr>
          <p:cNvSpPr>
            <a:spLocks noGrp="1"/>
          </p:cNvSpPr>
          <p:nvPr>
            <p:ph type="body" idx="10" hasCustomPrompt="1"/>
          </p:nvPr>
        </p:nvSpPr>
        <p:spPr>
          <a:xfrm>
            <a:off x="368790" y="722639"/>
            <a:ext cx="11446270" cy="324000"/>
          </a:xfrm>
          <a:prstGeom prst="rect">
            <a:avLst/>
          </a:prstGeom>
        </p:spPr>
        <p:txBody>
          <a:bodyPr lIns="0" tIns="0" rIns="0" bIns="0" anchor="t"/>
          <a:lstStyle>
            <a:lvl1pPr marL="0" indent="0">
              <a:lnSpc>
                <a:spcPct val="100000"/>
              </a:lnSpc>
              <a:spcBef>
                <a:spcPts val="0"/>
              </a:spcBef>
              <a:buNone/>
              <a:defRPr sz="2000" b="0">
                <a:solidFill>
                  <a:srgbClr val="000000"/>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err="1"/>
              <a:t>Subtitle</a:t>
            </a:r>
            <a:endParaRPr lang="es-ES" dirty="0"/>
          </a:p>
        </p:txBody>
      </p:sp>
      <p:sp>
        <p:nvSpPr>
          <p:cNvPr id="5" name="Chart Placeholder 4">
            <a:extLst>
              <a:ext uri="{FF2B5EF4-FFF2-40B4-BE49-F238E27FC236}">
                <a16:creationId xmlns:a16="http://schemas.microsoft.com/office/drawing/2014/main" id="{AB019154-AECF-485F-A10E-38AB9C8EEBBB}"/>
              </a:ext>
            </a:extLst>
          </p:cNvPr>
          <p:cNvSpPr>
            <a:spLocks noGrp="1"/>
          </p:cNvSpPr>
          <p:nvPr>
            <p:ph type="chart" sz="quarter" idx="13"/>
          </p:nvPr>
        </p:nvSpPr>
        <p:spPr>
          <a:xfrm>
            <a:off x="368790" y="1396800"/>
            <a:ext cx="11447463" cy="4752000"/>
          </a:xfrm>
          <a:prstGeom prst="rect">
            <a:avLst/>
          </a:prstGeom>
        </p:spPr>
        <p:txBody>
          <a:bodyPr/>
          <a:lstStyle/>
          <a:p>
            <a:endParaRPr lang="en-GB" dirty="0"/>
          </a:p>
        </p:txBody>
      </p:sp>
      <p:sp>
        <p:nvSpPr>
          <p:cNvPr id="2" name="Title 1">
            <a:extLst>
              <a:ext uri="{FF2B5EF4-FFF2-40B4-BE49-F238E27FC236}">
                <a16:creationId xmlns:a16="http://schemas.microsoft.com/office/drawing/2014/main" id="{3EAC1974-2EAA-466D-B83B-7B41D361132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0680938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ext + horizontal im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37EC629-02F8-484C-ADC6-4BBCEDAF28F6}"/>
              </a:ext>
            </a:extLst>
          </p:cNvPr>
          <p:cNvGraphicFramePr>
            <a:graphicFrameLocks noChangeAspect="1"/>
          </p:cNvGraphicFramePr>
          <p:nvPr userDrawn="1">
            <p:custDataLst>
              <p:tags r:id="rId2"/>
            </p:custDataLst>
            <p:extLst>
              <p:ext uri="{D42A27DB-BD31-4B8C-83A1-F6EECF244321}">
                <p14:modId xmlns:p14="http://schemas.microsoft.com/office/powerpoint/2010/main" val="1556705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88" name="think-cell Slide" r:id="rId4" imgW="473" imgH="474" progId="TCLayout.ActiveDocument.1">
                  <p:embed/>
                </p:oleObj>
              </mc:Choice>
              <mc:Fallback>
                <p:oleObj name="think-cell Slide" r:id="rId4" imgW="473" imgH="474" progId="TCLayout.ActiveDocument.1">
                  <p:embed/>
                  <p:pic>
                    <p:nvPicPr>
                      <p:cNvPr id="6" name="Object 5" hidden="1">
                        <a:extLst>
                          <a:ext uri="{FF2B5EF4-FFF2-40B4-BE49-F238E27FC236}">
                            <a16:creationId xmlns:a16="http://schemas.microsoft.com/office/drawing/2014/main" id="{D37EC629-02F8-484C-ADC6-4BBCEDAF28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Marcador de posición de imagen 2">
            <a:extLst>
              <a:ext uri="{FF2B5EF4-FFF2-40B4-BE49-F238E27FC236}">
                <a16:creationId xmlns:a16="http://schemas.microsoft.com/office/drawing/2014/main" id="{1059AFB1-C7D6-6743-933B-FA747A91A0A4}"/>
              </a:ext>
            </a:extLst>
          </p:cNvPr>
          <p:cNvSpPr>
            <a:spLocks noGrp="1"/>
          </p:cNvSpPr>
          <p:nvPr>
            <p:ph type="pic" sz="quarter" idx="12" hasCustomPrompt="1"/>
          </p:nvPr>
        </p:nvSpPr>
        <p:spPr>
          <a:xfrm>
            <a:off x="0" y="5916706"/>
            <a:ext cx="12192000" cy="941294"/>
          </a:xfrm>
          <a:prstGeom prst="rect">
            <a:avLst/>
          </a:prstGeom>
        </p:spPr>
        <p:txBody>
          <a:bodyPr anchor="ctr"/>
          <a:lstStyle>
            <a:lvl1pPr marL="228600" marR="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a:solidFill>
                  <a:schemeClr val="tx1"/>
                </a:solidFill>
              </a:defRPr>
            </a:lvl1pPr>
          </a:lstStyle>
          <a:p>
            <a:pPr marL="228600" marR="0" lvl="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Drag picture to placeholder </a:t>
            </a:r>
            <a:br>
              <a:rPr lang="en-US" dirty="0"/>
            </a:br>
            <a:r>
              <a:rPr lang="en-US" dirty="0"/>
              <a:t>or click icon to add</a:t>
            </a:r>
          </a:p>
        </p:txBody>
      </p:sp>
      <p:sp>
        <p:nvSpPr>
          <p:cNvPr id="8" name="Marcador de texto 2">
            <a:extLst>
              <a:ext uri="{FF2B5EF4-FFF2-40B4-BE49-F238E27FC236}">
                <a16:creationId xmlns:a16="http://schemas.microsoft.com/office/drawing/2014/main" id="{07DA8050-7B9B-4180-9354-4A54C06115DE}"/>
              </a:ext>
            </a:extLst>
          </p:cNvPr>
          <p:cNvSpPr>
            <a:spLocks noGrp="1"/>
          </p:cNvSpPr>
          <p:nvPr>
            <p:ph type="body" idx="10" hasCustomPrompt="1"/>
          </p:nvPr>
        </p:nvSpPr>
        <p:spPr>
          <a:xfrm>
            <a:off x="368790" y="722639"/>
            <a:ext cx="11446270" cy="324000"/>
          </a:xfrm>
          <a:prstGeom prst="rect">
            <a:avLst/>
          </a:prstGeom>
        </p:spPr>
        <p:txBody>
          <a:bodyPr lIns="0" tIns="0" rIns="0" bIns="0" anchor="t"/>
          <a:lstStyle>
            <a:lvl1pPr marL="0" indent="0">
              <a:lnSpc>
                <a:spcPct val="100000"/>
              </a:lnSpc>
              <a:spcBef>
                <a:spcPts val="0"/>
              </a:spcBef>
              <a:buNone/>
              <a:defRPr sz="2000" b="0">
                <a:solidFill>
                  <a:srgbClr val="000000"/>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err="1"/>
              <a:t>Subtitle</a:t>
            </a:r>
            <a:endParaRPr lang="es-ES" dirty="0"/>
          </a:p>
        </p:txBody>
      </p:sp>
      <p:sp>
        <p:nvSpPr>
          <p:cNvPr id="2" name="Title 1">
            <a:extLst>
              <a:ext uri="{FF2B5EF4-FFF2-40B4-BE49-F238E27FC236}">
                <a16:creationId xmlns:a16="http://schemas.microsoft.com/office/drawing/2014/main" id="{76A1271B-017E-4E03-B74E-17B19333A1A7}"/>
              </a:ext>
            </a:extLst>
          </p:cNvPr>
          <p:cNvSpPr>
            <a:spLocks noGrp="1"/>
          </p:cNvSpPr>
          <p:nvPr>
            <p:ph type="title"/>
          </p:nvPr>
        </p:nvSpPr>
        <p:spPr/>
        <p:txBody>
          <a:bodyPr/>
          <a:lstStyle/>
          <a:p>
            <a:r>
              <a:rPr lang="en-US"/>
              <a:t>Click to edit Master title style</a:t>
            </a:r>
          </a:p>
        </p:txBody>
      </p:sp>
      <p:sp>
        <p:nvSpPr>
          <p:cNvPr id="7" name="Text Placeholder 6">
            <a:extLst>
              <a:ext uri="{FF2B5EF4-FFF2-40B4-BE49-F238E27FC236}">
                <a16:creationId xmlns:a16="http://schemas.microsoft.com/office/drawing/2014/main" id="{42BC54C6-BC47-49BD-BA31-576633C98600}"/>
              </a:ext>
            </a:extLst>
          </p:cNvPr>
          <p:cNvSpPr>
            <a:spLocks noGrp="1"/>
          </p:cNvSpPr>
          <p:nvPr>
            <p:ph type="body" sz="quarter" idx="13"/>
          </p:nvPr>
        </p:nvSpPr>
        <p:spPr>
          <a:xfrm>
            <a:off x="368790" y="1396800"/>
            <a:ext cx="11446270" cy="4248000"/>
          </a:xfrm>
        </p:spPr>
        <p:txBody>
          <a:bodyPr/>
          <a:lstStyle>
            <a:lvl1pPr>
              <a:defRPr sz="14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Rectangle 8">
            <a:extLst>
              <a:ext uri="{FF2B5EF4-FFF2-40B4-BE49-F238E27FC236}">
                <a16:creationId xmlns:a16="http://schemas.microsoft.com/office/drawing/2014/main" id="{A69BC5B1-6581-47D9-A045-80CBDA8A09BB}"/>
              </a:ext>
            </a:extLst>
          </p:cNvPr>
          <p:cNvSpPr/>
          <p:nvPr userDrawn="1"/>
        </p:nvSpPr>
        <p:spPr>
          <a:xfrm>
            <a:off x="3051745" y="-30489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0" name="Rectangle 9">
            <a:extLst>
              <a:ext uri="{FF2B5EF4-FFF2-40B4-BE49-F238E27FC236}">
                <a16:creationId xmlns:a16="http://schemas.microsoft.com/office/drawing/2014/main" id="{77AE161F-D8E3-4773-8ECC-F30205E6B9D5}"/>
              </a:ext>
            </a:extLst>
          </p:cNvPr>
          <p:cNvSpPr/>
          <p:nvPr userDrawn="1"/>
        </p:nvSpPr>
        <p:spPr>
          <a:xfrm>
            <a:off x="7490" y="-30489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1" name="Rectangle 10">
            <a:extLst>
              <a:ext uri="{FF2B5EF4-FFF2-40B4-BE49-F238E27FC236}">
                <a16:creationId xmlns:a16="http://schemas.microsoft.com/office/drawing/2014/main" id="{DD5030CC-10C3-411C-A435-4DFA738366A2}"/>
              </a:ext>
            </a:extLst>
          </p:cNvPr>
          <p:cNvSpPr/>
          <p:nvPr userDrawn="1"/>
        </p:nvSpPr>
        <p:spPr>
          <a:xfrm>
            <a:off x="9149414" y="-30502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2" name="Rectangle 11">
            <a:extLst>
              <a:ext uri="{FF2B5EF4-FFF2-40B4-BE49-F238E27FC236}">
                <a16:creationId xmlns:a16="http://schemas.microsoft.com/office/drawing/2014/main" id="{1CB39257-D6EA-4DB4-870E-3C5B218949A1}"/>
              </a:ext>
            </a:extLst>
          </p:cNvPr>
          <p:cNvSpPr/>
          <p:nvPr userDrawn="1"/>
        </p:nvSpPr>
        <p:spPr>
          <a:xfrm>
            <a:off x="6105159" y="-30502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Tree>
    <p:extLst>
      <p:ext uri="{BB962C8B-B14F-4D97-AF65-F5344CB8AC3E}">
        <p14:creationId xmlns:p14="http://schemas.microsoft.com/office/powerpoint/2010/main" val="321446980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1_Text + horizontal image">
    <p:spTree>
      <p:nvGrpSpPr>
        <p:cNvPr id="1" name=""/>
        <p:cNvGrpSpPr/>
        <p:nvPr/>
      </p:nvGrpSpPr>
      <p:grpSpPr>
        <a:xfrm>
          <a:off x="0" y="0"/>
          <a:ext cx="0" cy="0"/>
          <a:chOff x="0" y="0"/>
          <a:chExt cx="0" cy="0"/>
        </a:xfrm>
      </p:grpSpPr>
      <p:sp>
        <p:nvSpPr>
          <p:cNvPr id="13" name="Rectángulo 1">
            <a:extLst>
              <a:ext uri="{FF2B5EF4-FFF2-40B4-BE49-F238E27FC236}">
                <a16:creationId xmlns:a16="http://schemas.microsoft.com/office/drawing/2014/main" id="{29D4E323-0F76-4CE8-A690-A97F4F779EB2}"/>
              </a:ext>
            </a:extLst>
          </p:cNvPr>
          <p:cNvSpPr/>
          <p:nvPr userDrawn="1"/>
        </p:nvSpPr>
        <p:spPr>
          <a:xfrm rot="10500648">
            <a:off x="-628" y="5686881"/>
            <a:ext cx="12299404" cy="1713997"/>
          </a:xfrm>
          <a:custGeom>
            <a:avLst/>
            <a:gdLst>
              <a:gd name="connsiteX0" fmla="*/ 0 w 12316995"/>
              <a:gd name="connsiteY0" fmla="*/ 0 h 2636838"/>
              <a:gd name="connsiteX1" fmla="*/ 12316995 w 12316995"/>
              <a:gd name="connsiteY1" fmla="*/ 0 h 2636838"/>
              <a:gd name="connsiteX2" fmla="*/ 12316995 w 12316995"/>
              <a:gd name="connsiteY2" fmla="*/ 2636838 h 2636838"/>
              <a:gd name="connsiteX3" fmla="*/ 0 w 12316995"/>
              <a:gd name="connsiteY3" fmla="*/ 2636838 h 2636838"/>
              <a:gd name="connsiteX4" fmla="*/ 0 w 12316995"/>
              <a:gd name="connsiteY4" fmla="*/ 0 h 2636838"/>
              <a:gd name="connsiteX0" fmla="*/ 291720 w 12316995"/>
              <a:gd name="connsiteY0" fmla="*/ 0 h 3165979"/>
              <a:gd name="connsiteX1" fmla="*/ 12316995 w 12316995"/>
              <a:gd name="connsiteY1" fmla="*/ 529141 h 3165979"/>
              <a:gd name="connsiteX2" fmla="*/ 12316995 w 12316995"/>
              <a:gd name="connsiteY2" fmla="*/ 3165979 h 3165979"/>
              <a:gd name="connsiteX3" fmla="*/ 0 w 12316995"/>
              <a:gd name="connsiteY3" fmla="*/ 3165979 h 3165979"/>
              <a:gd name="connsiteX4" fmla="*/ 291720 w 12316995"/>
              <a:gd name="connsiteY4" fmla="*/ 0 h 3165979"/>
              <a:gd name="connsiteX0" fmla="*/ 291720 w 12427262"/>
              <a:gd name="connsiteY0" fmla="*/ 0 h 3165979"/>
              <a:gd name="connsiteX1" fmla="*/ 12427262 w 12427262"/>
              <a:gd name="connsiteY1" fmla="*/ 1061639 h 3165979"/>
              <a:gd name="connsiteX2" fmla="*/ 12316995 w 12427262"/>
              <a:gd name="connsiteY2" fmla="*/ 3165979 h 3165979"/>
              <a:gd name="connsiteX3" fmla="*/ 0 w 12427262"/>
              <a:gd name="connsiteY3" fmla="*/ 3165979 h 3165979"/>
              <a:gd name="connsiteX4" fmla="*/ 291720 w 12427262"/>
              <a:gd name="connsiteY4" fmla="*/ 0 h 3165979"/>
              <a:gd name="connsiteX0" fmla="*/ 291720 w 12427262"/>
              <a:gd name="connsiteY0" fmla="*/ 0 h 3165979"/>
              <a:gd name="connsiteX1" fmla="*/ 12427262 w 12427262"/>
              <a:gd name="connsiteY1" fmla="*/ 1061639 h 3165979"/>
              <a:gd name="connsiteX2" fmla="*/ 12259342 w 12427262"/>
              <a:gd name="connsiteY2" fmla="*/ 3160935 h 3165979"/>
              <a:gd name="connsiteX3" fmla="*/ 0 w 12427262"/>
              <a:gd name="connsiteY3" fmla="*/ 3165979 h 3165979"/>
              <a:gd name="connsiteX4" fmla="*/ 291720 w 12427262"/>
              <a:gd name="connsiteY4" fmla="*/ 0 h 3165979"/>
              <a:gd name="connsiteX0" fmla="*/ 291720 w 12432323"/>
              <a:gd name="connsiteY0" fmla="*/ 0 h 3165979"/>
              <a:gd name="connsiteX1" fmla="*/ 12432323 w 12432323"/>
              <a:gd name="connsiteY1" fmla="*/ 1062082 h 3165979"/>
              <a:gd name="connsiteX2" fmla="*/ 12259342 w 12432323"/>
              <a:gd name="connsiteY2" fmla="*/ 3160935 h 3165979"/>
              <a:gd name="connsiteX3" fmla="*/ 0 w 12432323"/>
              <a:gd name="connsiteY3" fmla="*/ 3165979 h 3165979"/>
              <a:gd name="connsiteX4" fmla="*/ 291720 w 12432323"/>
              <a:gd name="connsiteY4" fmla="*/ 0 h 3165979"/>
              <a:gd name="connsiteX0" fmla="*/ 282042 w 12432323"/>
              <a:gd name="connsiteY0" fmla="*/ 0 h 3171925"/>
              <a:gd name="connsiteX1" fmla="*/ 12432323 w 12432323"/>
              <a:gd name="connsiteY1" fmla="*/ 1068028 h 3171925"/>
              <a:gd name="connsiteX2" fmla="*/ 12259342 w 12432323"/>
              <a:gd name="connsiteY2" fmla="*/ 3166881 h 3171925"/>
              <a:gd name="connsiteX3" fmla="*/ 0 w 12432323"/>
              <a:gd name="connsiteY3" fmla="*/ 3171925 h 3171925"/>
              <a:gd name="connsiteX4" fmla="*/ 282042 w 12432323"/>
              <a:gd name="connsiteY4" fmla="*/ 0 h 3171925"/>
              <a:gd name="connsiteX0" fmla="*/ 190669 w 12432323"/>
              <a:gd name="connsiteY0" fmla="*/ 45201 h 2103897"/>
              <a:gd name="connsiteX1" fmla="*/ 12432323 w 12432323"/>
              <a:gd name="connsiteY1" fmla="*/ 0 h 2103897"/>
              <a:gd name="connsiteX2" fmla="*/ 12259342 w 12432323"/>
              <a:gd name="connsiteY2" fmla="*/ 2098853 h 2103897"/>
              <a:gd name="connsiteX3" fmla="*/ 0 w 12432323"/>
              <a:gd name="connsiteY3" fmla="*/ 2103897 h 2103897"/>
              <a:gd name="connsiteX4" fmla="*/ 190669 w 12432323"/>
              <a:gd name="connsiteY4" fmla="*/ 45201 h 2103897"/>
              <a:gd name="connsiteX0" fmla="*/ 190669 w 12259342"/>
              <a:gd name="connsiteY0" fmla="*/ 0 h 2058696"/>
              <a:gd name="connsiteX1" fmla="*/ 12153987 w 12259342"/>
              <a:gd name="connsiteY1" fmla="*/ 1679115 h 2058696"/>
              <a:gd name="connsiteX2" fmla="*/ 12259342 w 12259342"/>
              <a:gd name="connsiteY2" fmla="*/ 2053652 h 2058696"/>
              <a:gd name="connsiteX3" fmla="*/ 0 w 12259342"/>
              <a:gd name="connsiteY3" fmla="*/ 2058696 h 2058696"/>
              <a:gd name="connsiteX4" fmla="*/ 190669 w 12259342"/>
              <a:gd name="connsiteY4" fmla="*/ 0 h 2058696"/>
              <a:gd name="connsiteX0" fmla="*/ 190669 w 12326628"/>
              <a:gd name="connsiteY0" fmla="*/ 0 h 2058696"/>
              <a:gd name="connsiteX1" fmla="*/ 12326628 w 12326628"/>
              <a:gd name="connsiteY1" fmla="*/ 1165535 h 2058696"/>
              <a:gd name="connsiteX2" fmla="*/ 12259342 w 12326628"/>
              <a:gd name="connsiteY2" fmla="*/ 2053652 h 2058696"/>
              <a:gd name="connsiteX3" fmla="*/ 0 w 12326628"/>
              <a:gd name="connsiteY3" fmla="*/ 2058696 h 2058696"/>
              <a:gd name="connsiteX4" fmla="*/ 190669 w 12326628"/>
              <a:gd name="connsiteY4" fmla="*/ 0 h 2058696"/>
              <a:gd name="connsiteX0" fmla="*/ 243200 w 12326628"/>
              <a:gd name="connsiteY0" fmla="*/ 0 h 1728786"/>
              <a:gd name="connsiteX1" fmla="*/ 12326628 w 12326628"/>
              <a:gd name="connsiteY1" fmla="*/ 835625 h 1728786"/>
              <a:gd name="connsiteX2" fmla="*/ 12259342 w 12326628"/>
              <a:gd name="connsiteY2" fmla="*/ 1723742 h 1728786"/>
              <a:gd name="connsiteX3" fmla="*/ 0 w 12326628"/>
              <a:gd name="connsiteY3" fmla="*/ 1728786 h 1728786"/>
              <a:gd name="connsiteX4" fmla="*/ 243200 w 12326628"/>
              <a:gd name="connsiteY4" fmla="*/ 0 h 1728786"/>
              <a:gd name="connsiteX0" fmla="*/ 176851 w 12326628"/>
              <a:gd name="connsiteY0" fmla="*/ 0 h 1966953"/>
              <a:gd name="connsiteX1" fmla="*/ 12326628 w 12326628"/>
              <a:gd name="connsiteY1" fmla="*/ 1073792 h 1966953"/>
              <a:gd name="connsiteX2" fmla="*/ 12259342 w 12326628"/>
              <a:gd name="connsiteY2" fmla="*/ 1961909 h 1966953"/>
              <a:gd name="connsiteX3" fmla="*/ 0 w 12326628"/>
              <a:gd name="connsiteY3" fmla="*/ 1966953 h 1966953"/>
              <a:gd name="connsiteX4" fmla="*/ 176851 w 12326628"/>
              <a:gd name="connsiteY4" fmla="*/ 0 h 1966953"/>
              <a:gd name="connsiteX0" fmla="*/ 149627 w 12299404"/>
              <a:gd name="connsiteY0" fmla="*/ 0 h 1961909"/>
              <a:gd name="connsiteX1" fmla="*/ 12299404 w 12299404"/>
              <a:gd name="connsiteY1" fmla="*/ 1073792 h 1961909"/>
              <a:gd name="connsiteX2" fmla="*/ 12232118 w 12299404"/>
              <a:gd name="connsiteY2" fmla="*/ 1961909 h 1961909"/>
              <a:gd name="connsiteX3" fmla="*/ 0 w 12299404"/>
              <a:gd name="connsiteY3" fmla="*/ 1522010 h 1961909"/>
              <a:gd name="connsiteX4" fmla="*/ 149627 w 12299404"/>
              <a:gd name="connsiteY4" fmla="*/ 0 h 1961909"/>
              <a:gd name="connsiteX0" fmla="*/ 149627 w 12299404"/>
              <a:gd name="connsiteY0" fmla="*/ 0 h 1713997"/>
              <a:gd name="connsiteX1" fmla="*/ 12299404 w 12299404"/>
              <a:gd name="connsiteY1" fmla="*/ 1073792 h 1713997"/>
              <a:gd name="connsiteX2" fmla="*/ 12253761 w 12299404"/>
              <a:gd name="connsiteY2" fmla="*/ 1713997 h 1713997"/>
              <a:gd name="connsiteX3" fmla="*/ 0 w 12299404"/>
              <a:gd name="connsiteY3" fmla="*/ 1522010 h 1713997"/>
              <a:gd name="connsiteX4" fmla="*/ 149627 w 12299404"/>
              <a:gd name="connsiteY4" fmla="*/ 0 h 17139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99404" h="1713997">
                <a:moveTo>
                  <a:pt x="149627" y="0"/>
                </a:moveTo>
                <a:lnTo>
                  <a:pt x="12299404" y="1073792"/>
                </a:lnTo>
                <a:lnTo>
                  <a:pt x="12253761" y="1713997"/>
                </a:lnTo>
                <a:lnTo>
                  <a:pt x="0" y="1522010"/>
                </a:lnTo>
                <a:lnTo>
                  <a:pt x="149627" y="0"/>
                </a:lnTo>
                <a:close/>
              </a:path>
            </a:pathLst>
          </a:custGeom>
          <a:gradFill>
            <a:gsLst>
              <a:gs pos="0">
                <a:schemeClr val="accent1"/>
              </a:gs>
              <a:gs pos="100000">
                <a:schemeClr val="accent2"/>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accent4"/>
              </a:solidFill>
            </a:endParaRPr>
          </a:p>
        </p:txBody>
      </p:sp>
      <p:graphicFrame>
        <p:nvGraphicFramePr>
          <p:cNvPr id="6" name="Object 5" hidden="1">
            <a:extLst>
              <a:ext uri="{FF2B5EF4-FFF2-40B4-BE49-F238E27FC236}">
                <a16:creationId xmlns:a16="http://schemas.microsoft.com/office/drawing/2014/main" id="{D37EC629-02F8-484C-ADC6-4BBCEDAF28F6}"/>
              </a:ext>
            </a:extLst>
          </p:cNvPr>
          <p:cNvGraphicFramePr>
            <a:graphicFrameLocks noChangeAspect="1"/>
          </p:cNvGraphicFramePr>
          <p:nvPr userDrawn="1">
            <p:custDataLst>
              <p:tags r:id="rId2"/>
            </p:custDataLst>
            <p:extLst>
              <p:ext uri="{D42A27DB-BD31-4B8C-83A1-F6EECF244321}">
                <p14:modId xmlns:p14="http://schemas.microsoft.com/office/powerpoint/2010/main" val="4213510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12" name="think-cell Slide" r:id="rId4" imgW="473" imgH="474" progId="TCLayout.ActiveDocument.1">
                  <p:embed/>
                </p:oleObj>
              </mc:Choice>
              <mc:Fallback>
                <p:oleObj name="think-cell Slide" r:id="rId4" imgW="473" imgH="474" progId="TCLayout.ActiveDocument.1">
                  <p:embed/>
                  <p:pic>
                    <p:nvPicPr>
                      <p:cNvPr id="6" name="Object 5" hidden="1">
                        <a:extLst>
                          <a:ext uri="{FF2B5EF4-FFF2-40B4-BE49-F238E27FC236}">
                            <a16:creationId xmlns:a16="http://schemas.microsoft.com/office/drawing/2014/main" id="{D37EC629-02F8-484C-ADC6-4BBCEDAF28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Marcador de texto 2">
            <a:extLst>
              <a:ext uri="{FF2B5EF4-FFF2-40B4-BE49-F238E27FC236}">
                <a16:creationId xmlns:a16="http://schemas.microsoft.com/office/drawing/2014/main" id="{07DA8050-7B9B-4180-9354-4A54C06115DE}"/>
              </a:ext>
            </a:extLst>
          </p:cNvPr>
          <p:cNvSpPr>
            <a:spLocks noGrp="1"/>
          </p:cNvSpPr>
          <p:nvPr>
            <p:ph type="body" idx="10" hasCustomPrompt="1"/>
          </p:nvPr>
        </p:nvSpPr>
        <p:spPr>
          <a:xfrm>
            <a:off x="368790" y="722639"/>
            <a:ext cx="11446270" cy="324000"/>
          </a:xfrm>
          <a:prstGeom prst="rect">
            <a:avLst/>
          </a:prstGeom>
        </p:spPr>
        <p:txBody>
          <a:bodyPr lIns="0" tIns="0" rIns="0" bIns="0" anchor="t"/>
          <a:lstStyle>
            <a:lvl1pPr marL="0" indent="0">
              <a:lnSpc>
                <a:spcPct val="100000"/>
              </a:lnSpc>
              <a:spcBef>
                <a:spcPts val="0"/>
              </a:spcBef>
              <a:buNone/>
              <a:defRPr sz="2000" b="0">
                <a:solidFill>
                  <a:srgbClr val="000000"/>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err="1"/>
              <a:t>Subtitle</a:t>
            </a:r>
            <a:endParaRPr lang="es-ES" dirty="0"/>
          </a:p>
        </p:txBody>
      </p:sp>
      <p:sp>
        <p:nvSpPr>
          <p:cNvPr id="2" name="Title 1">
            <a:extLst>
              <a:ext uri="{FF2B5EF4-FFF2-40B4-BE49-F238E27FC236}">
                <a16:creationId xmlns:a16="http://schemas.microsoft.com/office/drawing/2014/main" id="{76A1271B-017E-4E03-B74E-17B19333A1A7}"/>
              </a:ext>
            </a:extLst>
          </p:cNvPr>
          <p:cNvSpPr>
            <a:spLocks noGrp="1"/>
          </p:cNvSpPr>
          <p:nvPr>
            <p:ph type="title"/>
          </p:nvPr>
        </p:nvSpPr>
        <p:spPr/>
        <p:txBody>
          <a:bodyPr/>
          <a:lstStyle/>
          <a:p>
            <a:r>
              <a:rPr lang="en-US"/>
              <a:t>Click to edit Master title style</a:t>
            </a:r>
          </a:p>
        </p:txBody>
      </p:sp>
      <p:sp>
        <p:nvSpPr>
          <p:cNvPr id="7" name="Text Placeholder 6">
            <a:extLst>
              <a:ext uri="{FF2B5EF4-FFF2-40B4-BE49-F238E27FC236}">
                <a16:creationId xmlns:a16="http://schemas.microsoft.com/office/drawing/2014/main" id="{42BC54C6-BC47-49BD-BA31-576633C98600}"/>
              </a:ext>
            </a:extLst>
          </p:cNvPr>
          <p:cNvSpPr>
            <a:spLocks noGrp="1"/>
          </p:cNvSpPr>
          <p:nvPr>
            <p:ph type="body" sz="quarter" idx="13"/>
          </p:nvPr>
        </p:nvSpPr>
        <p:spPr>
          <a:xfrm>
            <a:off x="368790" y="1396800"/>
            <a:ext cx="11446270" cy="3290947"/>
          </a:xfrm>
        </p:spPr>
        <p:txBody>
          <a:bodyPr/>
          <a:lstStyle>
            <a:lvl1pPr>
              <a:defRPr sz="14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Rectangle 8">
            <a:extLst>
              <a:ext uri="{FF2B5EF4-FFF2-40B4-BE49-F238E27FC236}">
                <a16:creationId xmlns:a16="http://schemas.microsoft.com/office/drawing/2014/main" id="{A69BC5B1-6581-47D9-A045-80CBDA8A09BB}"/>
              </a:ext>
            </a:extLst>
          </p:cNvPr>
          <p:cNvSpPr/>
          <p:nvPr userDrawn="1"/>
        </p:nvSpPr>
        <p:spPr>
          <a:xfrm>
            <a:off x="3051745" y="-30489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0" name="Rectangle 9">
            <a:extLst>
              <a:ext uri="{FF2B5EF4-FFF2-40B4-BE49-F238E27FC236}">
                <a16:creationId xmlns:a16="http://schemas.microsoft.com/office/drawing/2014/main" id="{77AE161F-D8E3-4773-8ECC-F30205E6B9D5}"/>
              </a:ext>
            </a:extLst>
          </p:cNvPr>
          <p:cNvSpPr/>
          <p:nvPr userDrawn="1"/>
        </p:nvSpPr>
        <p:spPr>
          <a:xfrm>
            <a:off x="7490" y="-30489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1" name="Rectangle 10">
            <a:extLst>
              <a:ext uri="{FF2B5EF4-FFF2-40B4-BE49-F238E27FC236}">
                <a16:creationId xmlns:a16="http://schemas.microsoft.com/office/drawing/2014/main" id="{DD5030CC-10C3-411C-A435-4DFA738366A2}"/>
              </a:ext>
            </a:extLst>
          </p:cNvPr>
          <p:cNvSpPr/>
          <p:nvPr userDrawn="1"/>
        </p:nvSpPr>
        <p:spPr>
          <a:xfrm>
            <a:off x="9149414" y="-30502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2" name="Rectangle 11">
            <a:extLst>
              <a:ext uri="{FF2B5EF4-FFF2-40B4-BE49-F238E27FC236}">
                <a16:creationId xmlns:a16="http://schemas.microsoft.com/office/drawing/2014/main" id="{1CB39257-D6EA-4DB4-870E-3C5B218949A1}"/>
              </a:ext>
            </a:extLst>
          </p:cNvPr>
          <p:cNvSpPr/>
          <p:nvPr userDrawn="1"/>
        </p:nvSpPr>
        <p:spPr>
          <a:xfrm>
            <a:off x="6105159" y="-30502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4" name="Marcador de posición de imagen 2">
            <a:extLst>
              <a:ext uri="{FF2B5EF4-FFF2-40B4-BE49-F238E27FC236}">
                <a16:creationId xmlns:a16="http://schemas.microsoft.com/office/drawing/2014/main" id="{FED831ED-42BC-4485-A531-4D3EBEB11BE3}"/>
              </a:ext>
            </a:extLst>
          </p:cNvPr>
          <p:cNvSpPr>
            <a:spLocks noGrp="1"/>
          </p:cNvSpPr>
          <p:nvPr>
            <p:ph type="pic" sz="quarter" idx="12" hasCustomPrompt="1"/>
          </p:nvPr>
        </p:nvSpPr>
        <p:spPr>
          <a:xfrm>
            <a:off x="-125" y="5357204"/>
            <a:ext cx="12209488" cy="1514242"/>
          </a:xfrm>
          <a:custGeom>
            <a:avLst/>
            <a:gdLst>
              <a:gd name="connsiteX0" fmla="*/ 0 w 12192000"/>
              <a:gd name="connsiteY0" fmla="*/ 0 h 941294"/>
              <a:gd name="connsiteX1" fmla="*/ 12192000 w 12192000"/>
              <a:gd name="connsiteY1" fmla="*/ 0 h 941294"/>
              <a:gd name="connsiteX2" fmla="*/ 12192000 w 12192000"/>
              <a:gd name="connsiteY2" fmla="*/ 941294 h 941294"/>
              <a:gd name="connsiteX3" fmla="*/ 0 w 12192000"/>
              <a:gd name="connsiteY3" fmla="*/ 941294 h 941294"/>
              <a:gd name="connsiteX4" fmla="*/ 0 w 12192000"/>
              <a:gd name="connsiteY4" fmla="*/ 0 h 941294"/>
              <a:gd name="connsiteX0" fmla="*/ 0 w 12209362"/>
              <a:gd name="connsiteY0" fmla="*/ 1024360 h 1965654"/>
              <a:gd name="connsiteX1" fmla="*/ 12209362 w 12209362"/>
              <a:gd name="connsiteY1" fmla="*/ 0 h 1965654"/>
              <a:gd name="connsiteX2" fmla="*/ 12192000 w 12209362"/>
              <a:gd name="connsiteY2" fmla="*/ 1965654 h 1965654"/>
              <a:gd name="connsiteX3" fmla="*/ 0 w 12209362"/>
              <a:gd name="connsiteY3" fmla="*/ 1965654 h 1965654"/>
              <a:gd name="connsiteX4" fmla="*/ 0 w 12209362"/>
              <a:gd name="connsiteY4" fmla="*/ 1024360 h 1965654"/>
              <a:gd name="connsiteX0" fmla="*/ 0 w 12209362"/>
              <a:gd name="connsiteY0" fmla="*/ 1024360 h 1983016"/>
              <a:gd name="connsiteX1" fmla="*/ 12209362 w 12209362"/>
              <a:gd name="connsiteY1" fmla="*/ 0 h 1983016"/>
              <a:gd name="connsiteX2" fmla="*/ 12209362 w 12209362"/>
              <a:gd name="connsiteY2" fmla="*/ 1983016 h 1983016"/>
              <a:gd name="connsiteX3" fmla="*/ 0 w 12209362"/>
              <a:gd name="connsiteY3" fmla="*/ 1965654 h 1983016"/>
              <a:gd name="connsiteX4" fmla="*/ 0 w 12209362"/>
              <a:gd name="connsiteY4" fmla="*/ 1024360 h 1983016"/>
              <a:gd name="connsiteX0" fmla="*/ 0 w 12209362"/>
              <a:gd name="connsiteY0" fmla="*/ 1024360 h 1983016"/>
              <a:gd name="connsiteX1" fmla="*/ 12209362 w 12209362"/>
              <a:gd name="connsiteY1" fmla="*/ 0 h 1983016"/>
              <a:gd name="connsiteX2" fmla="*/ 12203575 w 12209362"/>
              <a:gd name="connsiteY2" fmla="*/ 1983016 h 1983016"/>
              <a:gd name="connsiteX3" fmla="*/ 0 w 12209362"/>
              <a:gd name="connsiteY3" fmla="*/ 1965654 h 1983016"/>
              <a:gd name="connsiteX4" fmla="*/ 0 w 12209362"/>
              <a:gd name="connsiteY4" fmla="*/ 1024360 h 1983016"/>
              <a:gd name="connsiteX0" fmla="*/ 0 w 12215150"/>
              <a:gd name="connsiteY0" fmla="*/ 1088020 h 1983016"/>
              <a:gd name="connsiteX1" fmla="*/ 12215150 w 12215150"/>
              <a:gd name="connsiteY1" fmla="*/ 0 h 1983016"/>
              <a:gd name="connsiteX2" fmla="*/ 12209363 w 12215150"/>
              <a:gd name="connsiteY2" fmla="*/ 1983016 h 1983016"/>
              <a:gd name="connsiteX3" fmla="*/ 5788 w 12215150"/>
              <a:gd name="connsiteY3" fmla="*/ 1965654 h 1983016"/>
              <a:gd name="connsiteX4" fmla="*/ 0 w 12215150"/>
              <a:gd name="connsiteY4" fmla="*/ 1088020 h 1983016"/>
              <a:gd name="connsiteX0" fmla="*/ 0 w 12209363"/>
              <a:gd name="connsiteY0" fmla="*/ 1076446 h 1971442"/>
              <a:gd name="connsiteX1" fmla="*/ 12209363 w 12209363"/>
              <a:gd name="connsiteY1" fmla="*/ 0 h 1971442"/>
              <a:gd name="connsiteX2" fmla="*/ 12209363 w 12209363"/>
              <a:gd name="connsiteY2" fmla="*/ 1971442 h 1971442"/>
              <a:gd name="connsiteX3" fmla="*/ 5788 w 12209363"/>
              <a:gd name="connsiteY3" fmla="*/ 1954080 h 1971442"/>
              <a:gd name="connsiteX4" fmla="*/ 0 w 12209363"/>
              <a:gd name="connsiteY4" fmla="*/ 1076446 h 1971442"/>
              <a:gd name="connsiteX0" fmla="*/ 0 w 12215151"/>
              <a:gd name="connsiteY0" fmla="*/ 619246 h 1514242"/>
              <a:gd name="connsiteX1" fmla="*/ 12215151 w 12215151"/>
              <a:gd name="connsiteY1" fmla="*/ 0 h 1514242"/>
              <a:gd name="connsiteX2" fmla="*/ 12209363 w 12215151"/>
              <a:gd name="connsiteY2" fmla="*/ 1514242 h 1514242"/>
              <a:gd name="connsiteX3" fmla="*/ 5788 w 12215151"/>
              <a:gd name="connsiteY3" fmla="*/ 1496880 h 1514242"/>
              <a:gd name="connsiteX4" fmla="*/ 0 w 12215151"/>
              <a:gd name="connsiteY4" fmla="*/ 619246 h 1514242"/>
              <a:gd name="connsiteX0" fmla="*/ 17486 w 12209488"/>
              <a:gd name="connsiteY0" fmla="*/ 873889 h 1514242"/>
              <a:gd name="connsiteX1" fmla="*/ 12209488 w 12209488"/>
              <a:gd name="connsiteY1" fmla="*/ 0 h 1514242"/>
              <a:gd name="connsiteX2" fmla="*/ 12203700 w 12209488"/>
              <a:gd name="connsiteY2" fmla="*/ 1514242 h 1514242"/>
              <a:gd name="connsiteX3" fmla="*/ 125 w 12209488"/>
              <a:gd name="connsiteY3" fmla="*/ 1496880 h 1514242"/>
              <a:gd name="connsiteX4" fmla="*/ 17486 w 12209488"/>
              <a:gd name="connsiteY4" fmla="*/ 873889 h 15142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09488" h="1514242">
                <a:moveTo>
                  <a:pt x="17486" y="873889"/>
                </a:moveTo>
                <a:lnTo>
                  <a:pt x="12209488" y="0"/>
                </a:lnTo>
                <a:cubicBezTo>
                  <a:pt x="12207559" y="504747"/>
                  <a:pt x="12205629" y="1009495"/>
                  <a:pt x="12203700" y="1514242"/>
                </a:cubicBezTo>
                <a:lnTo>
                  <a:pt x="125" y="1496880"/>
                </a:lnTo>
                <a:cubicBezTo>
                  <a:pt x="-1804" y="1204335"/>
                  <a:pt x="19415" y="1166434"/>
                  <a:pt x="17486" y="873889"/>
                </a:cubicBezTo>
                <a:close/>
              </a:path>
            </a:pathLst>
          </a:custGeom>
        </p:spPr>
        <p:txBody>
          <a:bodyPr anchor="ctr"/>
          <a:lstStyle>
            <a:lvl1pPr marL="228600" marR="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a:solidFill>
                  <a:schemeClr val="tx1"/>
                </a:solidFill>
              </a:defRPr>
            </a:lvl1pPr>
          </a:lstStyle>
          <a:p>
            <a:pPr marL="228600" marR="0" lvl="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Drag picture to placeholder </a:t>
            </a:r>
            <a:br>
              <a:rPr lang="en-US" dirty="0"/>
            </a:br>
            <a:r>
              <a:rPr lang="en-US" dirty="0"/>
              <a:t>or click icon to add</a:t>
            </a:r>
          </a:p>
        </p:txBody>
      </p:sp>
    </p:spTree>
    <p:extLst>
      <p:ext uri="{BB962C8B-B14F-4D97-AF65-F5344CB8AC3E}">
        <p14:creationId xmlns:p14="http://schemas.microsoft.com/office/powerpoint/2010/main" val="157412628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Image backgrou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71508AF-6CC8-4D7F-BD77-94F9068BA546}"/>
              </a:ext>
            </a:extLst>
          </p:cNvPr>
          <p:cNvGraphicFramePr>
            <a:graphicFrameLocks noChangeAspect="1"/>
          </p:cNvGraphicFramePr>
          <p:nvPr userDrawn="1">
            <p:custDataLst>
              <p:tags r:id="rId2"/>
            </p:custDataLst>
            <p:extLst>
              <p:ext uri="{D42A27DB-BD31-4B8C-83A1-F6EECF244321}">
                <p14:modId xmlns:p14="http://schemas.microsoft.com/office/powerpoint/2010/main" val="35772315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36" name="think-cell Slide" r:id="rId4" imgW="473" imgH="474" progId="TCLayout.ActiveDocument.1">
                  <p:embed/>
                </p:oleObj>
              </mc:Choice>
              <mc:Fallback>
                <p:oleObj name="think-cell Slide" r:id="rId4" imgW="473" imgH="474" progId="TCLayout.ActiveDocument.1">
                  <p:embed/>
                  <p:pic>
                    <p:nvPicPr>
                      <p:cNvPr id="2" name="Object 1" hidden="1">
                        <a:extLst>
                          <a:ext uri="{FF2B5EF4-FFF2-40B4-BE49-F238E27FC236}">
                            <a16:creationId xmlns:a16="http://schemas.microsoft.com/office/drawing/2014/main" id="{171508AF-6CC8-4D7F-BD77-94F9068BA54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Marcador de posición de imagen 2">
            <a:extLst>
              <a:ext uri="{FF2B5EF4-FFF2-40B4-BE49-F238E27FC236}">
                <a16:creationId xmlns:a16="http://schemas.microsoft.com/office/drawing/2014/main" id="{1059AFB1-C7D6-6743-933B-FA747A91A0A4}"/>
              </a:ext>
            </a:extLst>
          </p:cNvPr>
          <p:cNvSpPr>
            <a:spLocks noGrp="1"/>
          </p:cNvSpPr>
          <p:nvPr>
            <p:ph type="pic" sz="quarter" idx="12" hasCustomPrompt="1"/>
          </p:nvPr>
        </p:nvSpPr>
        <p:spPr>
          <a:xfrm>
            <a:off x="0" y="0"/>
            <a:ext cx="12191999" cy="6858000"/>
          </a:xfrm>
          <a:prstGeom prst="rect">
            <a:avLst/>
          </a:prstGeom>
        </p:spPr>
        <p:txBody>
          <a:bodyPr anchor="ctr"/>
          <a:lstStyle>
            <a:lvl1pPr marL="228600" marR="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a:solidFill>
                  <a:schemeClr val="tx1"/>
                </a:solidFill>
              </a:defRPr>
            </a:lvl1pPr>
          </a:lstStyle>
          <a:p>
            <a:pPr marL="228600" marR="0" lvl="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Drag picture to placeholder </a:t>
            </a:r>
            <a:br>
              <a:rPr lang="en-US" dirty="0"/>
            </a:br>
            <a:r>
              <a:rPr lang="en-US" dirty="0"/>
              <a:t>or click icon to add</a:t>
            </a:r>
          </a:p>
        </p:txBody>
      </p:sp>
      <p:sp>
        <p:nvSpPr>
          <p:cNvPr id="4" name="Rectangle 3">
            <a:extLst>
              <a:ext uri="{FF2B5EF4-FFF2-40B4-BE49-F238E27FC236}">
                <a16:creationId xmlns:a16="http://schemas.microsoft.com/office/drawing/2014/main" id="{60D0F9B9-6CAF-46B3-AD63-CF660E44EB8B}"/>
              </a:ext>
            </a:extLst>
          </p:cNvPr>
          <p:cNvSpPr/>
          <p:nvPr userDrawn="1"/>
        </p:nvSpPr>
        <p:spPr>
          <a:xfrm>
            <a:off x="3051745"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5" name="Rectangle 4">
            <a:extLst>
              <a:ext uri="{FF2B5EF4-FFF2-40B4-BE49-F238E27FC236}">
                <a16:creationId xmlns:a16="http://schemas.microsoft.com/office/drawing/2014/main" id="{FB0862F4-D2D4-4BF0-A385-BB7246292A8E}"/>
              </a:ext>
            </a:extLst>
          </p:cNvPr>
          <p:cNvSpPr/>
          <p:nvPr userDrawn="1"/>
        </p:nvSpPr>
        <p:spPr>
          <a:xfrm>
            <a:off x="7490"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6" name="Rectangle 5">
            <a:extLst>
              <a:ext uri="{FF2B5EF4-FFF2-40B4-BE49-F238E27FC236}">
                <a16:creationId xmlns:a16="http://schemas.microsoft.com/office/drawing/2014/main" id="{65A04021-3D09-4ACE-B394-E39C11DF6AF0}"/>
              </a:ext>
            </a:extLst>
          </p:cNvPr>
          <p:cNvSpPr/>
          <p:nvPr userDrawn="1"/>
        </p:nvSpPr>
        <p:spPr>
          <a:xfrm>
            <a:off x="9149414"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7" name="Rectangle 6">
            <a:extLst>
              <a:ext uri="{FF2B5EF4-FFF2-40B4-BE49-F238E27FC236}">
                <a16:creationId xmlns:a16="http://schemas.microsoft.com/office/drawing/2014/main" id="{C09B06D2-B642-4449-B641-DA223E91679C}"/>
              </a:ext>
            </a:extLst>
          </p:cNvPr>
          <p:cNvSpPr/>
          <p:nvPr userDrawn="1"/>
        </p:nvSpPr>
        <p:spPr>
          <a:xfrm>
            <a:off x="6105159"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8" name="Rectángulo 1">
            <a:extLst>
              <a:ext uri="{FF2B5EF4-FFF2-40B4-BE49-F238E27FC236}">
                <a16:creationId xmlns:a16="http://schemas.microsoft.com/office/drawing/2014/main" id="{B13B09CC-E931-4F49-AC14-89B567B70311}"/>
              </a:ext>
            </a:extLst>
          </p:cNvPr>
          <p:cNvSpPr/>
          <p:nvPr userDrawn="1"/>
        </p:nvSpPr>
        <p:spPr>
          <a:xfrm rot="10500648">
            <a:off x="-628" y="5686881"/>
            <a:ext cx="12299404" cy="1713997"/>
          </a:xfrm>
          <a:custGeom>
            <a:avLst/>
            <a:gdLst>
              <a:gd name="connsiteX0" fmla="*/ 0 w 12316995"/>
              <a:gd name="connsiteY0" fmla="*/ 0 h 2636838"/>
              <a:gd name="connsiteX1" fmla="*/ 12316995 w 12316995"/>
              <a:gd name="connsiteY1" fmla="*/ 0 h 2636838"/>
              <a:gd name="connsiteX2" fmla="*/ 12316995 w 12316995"/>
              <a:gd name="connsiteY2" fmla="*/ 2636838 h 2636838"/>
              <a:gd name="connsiteX3" fmla="*/ 0 w 12316995"/>
              <a:gd name="connsiteY3" fmla="*/ 2636838 h 2636838"/>
              <a:gd name="connsiteX4" fmla="*/ 0 w 12316995"/>
              <a:gd name="connsiteY4" fmla="*/ 0 h 2636838"/>
              <a:gd name="connsiteX0" fmla="*/ 291720 w 12316995"/>
              <a:gd name="connsiteY0" fmla="*/ 0 h 3165979"/>
              <a:gd name="connsiteX1" fmla="*/ 12316995 w 12316995"/>
              <a:gd name="connsiteY1" fmla="*/ 529141 h 3165979"/>
              <a:gd name="connsiteX2" fmla="*/ 12316995 w 12316995"/>
              <a:gd name="connsiteY2" fmla="*/ 3165979 h 3165979"/>
              <a:gd name="connsiteX3" fmla="*/ 0 w 12316995"/>
              <a:gd name="connsiteY3" fmla="*/ 3165979 h 3165979"/>
              <a:gd name="connsiteX4" fmla="*/ 291720 w 12316995"/>
              <a:gd name="connsiteY4" fmla="*/ 0 h 3165979"/>
              <a:gd name="connsiteX0" fmla="*/ 291720 w 12427262"/>
              <a:gd name="connsiteY0" fmla="*/ 0 h 3165979"/>
              <a:gd name="connsiteX1" fmla="*/ 12427262 w 12427262"/>
              <a:gd name="connsiteY1" fmla="*/ 1061639 h 3165979"/>
              <a:gd name="connsiteX2" fmla="*/ 12316995 w 12427262"/>
              <a:gd name="connsiteY2" fmla="*/ 3165979 h 3165979"/>
              <a:gd name="connsiteX3" fmla="*/ 0 w 12427262"/>
              <a:gd name="connsiteY3" fmla="*/ 3165979 h 3165979"/>
              <a:gd name="connsiteX4" fmla="*/ 291720 w 12427262"/>
              <a:gd name="connsiteY4" fmla="*/ 0 h 3165979"/>
              <a:gd name="connsiteX0" fmla="*/ 291720 w 12427262"/>
              <a:gd name="connsiteY0" fmla="*/ 0 h 3165979"/>
              <a:gd name="connsiteX1" fmla="*/ 12427262 w 12427262"/>
              <a:gd name="connsiteY1" fmla="*/ 1061639 h 3165979"/>
              <a:gd name="connsiteX2" fmla="*/ 12259342 w 12427262"/>
              <a:gd name="connsiteY2" fmla="*/ 3160935 h 3165979"/>
              <a:gd name="connsiteX3" fmla="*/ 0 w 12427262"/>
              <a:gd name="connsiteY3" fmla="*/ 3165979 h 3165979"/>
              <a:gd name="connsiteX4" fmla="*/ 291720 w 12427262"/>
              <a:gd name="connsiteY4" fmla="*/ 0 h 3165979"/>
              <a:gd name="connsiteX0" fmla="*/ 291720 w 12432323"/>
              <a:gd name="connsiteY0" fmla="*/ 0 h 3165979"/>
              <a:gd name="connsiteX1" fmla="*/ 12432323 w 12432323"/>
              <a:gd name="connsiteY1" fmla="*/ 1062082 h 3165979"/>
              <a:gd name="connsiteX2" fmla="*/ 12259342 w 12432323"/>
              <a:gd name="connsiteY2" fmla="*/ 3160935 h 3165979"/>
              <a:gd name="connsiteX3" fmla="*/ 0 w 12432323"/>
              <a:gd name="connsiteY3" fmla="*/ 3165979 h 3165979"/>
              <a:gd name="connsiteX4" fmla="*/ 291720 w 12432323"/>
              <a:gd name="connsiteY4" fmla="*/ 0 h 3165979"/>
              <a:gd name="connsiteX0" fmla="*/ 282042 w 12432323"/>
              <a:gd name="connsiteY0" fmla="*/ 0 h 3171925"/>
              <a:gd name="connsiteX1" fmla="*/ 12432323 w 12432323"/>
              <a:gd name="connsiteY1" fmla="*/ 1068028 h 3171925"/>
              <a:gd name="connsiteX2" fmla="*/ 12259342 w 12432323"/>
              <a:gd name="connsiteY2" fmla="*/ 3166881 h 3171925"/>
              <a:gd name="connsiteX3" fmla="*/ 0 w 12432323"/>
              <a:gd name="connsiteY3" fmla="*/ 3171925 h 3171925"/>
              <a:gd name="connsiteX4" fmla="*/ 282042 w 12432323"/>
              <a:gd name="connsiteY4" fmla="*/ 0 h 3171925"/>
              <a:gd name="connsiteX0" fmla="*/ 190669 w 12432323"/>
              <a:gd name="connsiteY0" fmla="*/ 45201 h 2103897"/>
              <a:gd name="connsiteX1" fmla="*/ 12432323 w 12432323"/>
              <a:gd name="connsiteY1" fmla="*/ 0 h 2103897"/>
              <a:gd name="connsiteX2" fmla="*/ 12259342 w 12432323"/>
              <a:gd name="connsiteY2" fmla="*/ 2098853 h 2103897"/>
              <a:gd name="connsiteX3" fmla="*/ 0 w 12432323"/>
              <a:gd name="connsiteY3" fmla="*/ 2103897 h 2103897"/>
              <a:gd name="connsiteX4" fmla="*/ 190669 w 12432323"/>
              <a:gd name="connsiteY4" fmla="*/ 45201 h 2103897"/>
              <a:gd name="connsiteX0" fmla="*/ 190669 w 12259342"/>
              <a:gd name="connsiteY0" fmla="*/ 0 h 2058696"/>
              <a:gd name="connsiteX1" fmla="*/ 12153987 w 12259342"/>
              <a:gd name="connsiteY1" fmla="*/ 1679115 h 2058696"/>
              <a:gd name="connsiteX2" fmla="*/ 12259342 w 12259342"/>
              <a:gd name="connsiteY2" fmla="*/ 2053652 h 2058696"/>
              <a:gd name="connsiteX3" fmla="*/ 0 w 12259342"/>
              <a:gd name="connsiteY3" fmla="*/ 2058696 h 2058696"/>
              <a:gd name="connsiteX4" fmla="*/ 190669 w 12259342"/>
              <a:gd name="connsiteY4" fmla="*/ 0 h 2058696"/>
              <a:gd name="connsiteX0" fmla="*/ 190669 w 12326628"/>
              <a:gd name="connsiteY0" fmla="*/ 0 h 2058696"/>
              <a:gd name="connsiteX1" fmla="*/ 12326628 w 12326628"/>
              <a:gd name="connsiteY1" fmla="*/ 1165535 h 2058696"/>
              <a:gd name="connsiteX2" fmla="*/ 12259342 w 12326628"/>
              <a:gd name="connsiteY2" fmla="*/ 2053652 h 2058696"/>
              <a:gd name="connsiteX3" fmla="*/ 0 w 12326628"/>
              <a:gd name="connsiteY3" fmla="*/ 2058696 h 2058696"/>
              <a:gd name="connsiteX4" fmla="*/ 190669 w 12326628"/>
              <a:gd name="connsiteY4" fmla="*/ 0 h 2058696"/>
              <a:gd name="connsiteX0" fmla="*/ 243200 w 12326628"/>
              <a:gd name="connsiteY0" fmla="*/ 0 h 1728786"/>
              <a:gd name="connsiteX1" fmla="*/ 12326628 w 12326628"/>
              <a:gd name="connsiteY1" fmla="*/ 835625 h 1728786"/>
              <a:gd name="connsiteX2" fmla="*/ 12259342 w 12326628"/>
              <a:gd name="connsiteY2" fmla="*/ 1723742 h 1728786"/>
              <a:gd name="connsiteX3" fmla="*/ 0 w 12326628"/>
              <a:gd name="connsiteY3" fmla="*/ 1728786 h 1728786"/>
              <a:gd name="connsiteX4" fmla="*/ 243200 w 12326628"/>
              <a:gd name="connsiteY4" fmla="*/ 0 h 1728786"/>
              <a:gd name="connsiteX0" fmla="*/ 176851 w 12326628"/>
              <a:gd name="connsiteY0" fmla="*/ 0 h 1966953"/>
              <a:gd name="connsiteX1" fmla="*/ 12326628 w 12326628"/>
              <a:gd name="connsiteY1" fmla="*/ 1073792 h 1966953"/>
              <a:gd name="connsiteX2" fmla="*/ 12259342 w 12326628"/>
              <a:gd name="connsiteY2" fmla="*/ 1961909 h 1966953"/>
              <a:gd name="connsiteX3" fmla="*/ 0 w 12326628"/>
              <a:gd name="connsiteY3" fmla="*/ 1966953 h 1966953"/>
              <a:gd name="connsiteX4" fmla="*/ 176851 w 12326628"/>
              <a:gd name="connsiteY4" fmla="*/ 0 h 1966953"/>
              <a:gd name="connsiteX0" fmla="*/ 149627 w 12299404"/>
              <a:gd name="connsiteY0" fmla="*/ 0 h 1961909"/>
              <a:gd name="connsiteX1" fmla="*/ 12299404 w 12299404"/>
              <a:gd name="connsiteY1" fmla="*/ 1073792 h 1961909"/>
              <a:gd name="connsiteX2" fmla="*/ 12232118 w 12299404"/>
              <a:gd name="connsiteY2" fmla="*/ 1961909 h 1961909"/>
              <a:gd name="connsiteX3" fmla="*/ 0 w 12299404"/>
              <a:gd name="connsiteY3" fmla="*/ 1522010 h 1961909"/>
              <a:gd name="connsiteX4" fmla="*/ 149627 w 12299404"/>
              <a:gd name="connsiteY4" fmla="*/ 0 h 1961909"/>
              <a:gd name="connsiteX0" fmla="*/ 149627 w 12299404"/>
              <a:gd name="connsiteY0" fmla="*/ 0 h 1713997"/>
              <a:gd name="connsiteX1" fmla="*/ 12299404 w 12299404"/>
              <a:gd name="connsiteY1" fmla="*/ 1073792 h 1713997"/>
              <a:gd name="connsiteX2" fmla="*/ 12253761 w 12299404"/>
              <a:gd name="connsiteY2" fmla="*/ 1713997 h 1713997"/>
              <a:gd name="connsiteX3" fmla="*/ 0 w 12299404"/>
              <a:gd name="connsiteY3" fmla="*/ 1522010 h 1713997"/>
              <a:gd name="connsiteX4" fmla="*/ 149627 w 12299404"/>
              <a:gd name="connsiteY4" fmla="*/ 0 h 17139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99404" h="1713997">
                <a:moveTo>
                  <a:pt x="149627" y="0"/>
                </a:moveTo>
                <a:lnTo>
                  <a:pt x="12299404" y="1073792"/>
                </a:lnTo>
                <a:lnTo>
                  <a:pt x="12253761" y="1713997"/>
                </a:lnTo>
                <a:lnTo>
                  <a:pt x="0" y="1522010"/>
                </a:lnTo>
                <a:lnTo>
                  <a:pt x="149627" y="0"/>
                </a:lnTo>
                <a:close/>
              </a:path>
            </a:pathLst>
          </a:custGeom>
          <a:gradFill>
            <a:gsLst>
              <a:gs pos="0">
                <a:schemeClr val="accent1"/>
              </a:gs>
              <a:gs pos="100000">
                <a:schemeClr val="accent2"/>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accent4"/>
              </a:solidFill>
            </a:endParaRPr>
          </a:p>
        </p:txBody>
      </p:sp>
    </p:spTree>
    <p:extLst>
      <p:ext uri="{BB962C8B-B14F-4D97-AF65-F5344CB8AC3E}">
        <p14:creationId xmlns:p14="http://schemas.microsoft.com/office/powerpoint/2010/main" val="174426686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1_Image background">
    <p:spTree>
      <p:nvGrpSpPr>
        <p:cNvPr id="1" name=""/>
        <p:cNvGrpSpPr/>
        <p:nvPr/>
      </p:nvGrpSpPr>
      <p:grpSpPr>
        <a:xfrm>
          <a:off x="0" y="0"/>
          <a:ext cx="0" cy="0"/>
          <a:chOff x="0" y="0"/>
          <a:chExt cx="0" cy="0"/>
        </a:xfrm>
      </p:grpSpPr>
      <p:sp>
        <p:nvSpPr>
          <p:cNvPr id="3" name="Marcador de posición de imagen 2">
            <a:extLst>
              <a:ext uri="{FF2B5EF4-FFF2-40B4-BE49-F238E27FC236}">
                <a16:creationId xmlns:a16="http://schemas.microsoft.com/office/drawing/2014/main" id="{1059AFB1-C7D6-6743-933B-FA747A91A0A4}"/>
              </a:ext>
            </a:extLst>
          </p:cNvPr>
          <p:cNvSpPr>
            <a:spLocks noGrp="1"/>
          </p:cNvSpPr>
          <p:nvPr>
            <p:ph type="pic" sz="quarter" idx="12" hasCustomPrompt="1"/>
          </p:nvPr>
        </p:nvSpPr>
        <p:spPr>
          <a:xfrm>
            <a:off x="0" y="0"/>
            <a:ext cx="12191999" cy="6858000"/>
          </a:xfrm>
          <a:prstGeom prst="rect">
            <a:avLst/>
          </a:prstGeom>
        </p:spPr>
        <p:txBody>
          <a:bodyPr anchor="ctr"/>
          <a:lstStyle>
            <a:lvl1pPr marL="228600" marR="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a:solidFill>
                  <a:schemeClr val="tx1"/>
                </a:solidFill>
              </a:defRPr>
            </a:lvl1pPr>
          </a:lstStyle>
          <a:p>
            <a:pPr marL="228600" marR="0" lvl="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Drag picture to placeholder </a:t>
            </a:r>
            <a:br>
              <a:rPr lang="en-US" dirty="0"/>
            </a:br>
            <a:r>
              <a:rPr lang="en-US" dirty="0"/>
              <a:t>or click icon to add</a:t>
            </a:r>
          </a:p>
        </p:txBody>
      </p:sp>
      <p:graphicFrame>
        <p:nvGraphicFramePr>
          <p:cNvPr id="2" name="Object 1" hidden="1">
            <a:extLst>
              <a:ext uri="{FF2B5EF4-FFF2-40B4-BE49-F238E27FC236}">
                <a16:creationId xmlns:a16="http://schemas.microsoft.com/office/drawing/2014/main" id="{171508AF-6CC8-4D7F-BD77-94F9068BA546}"/>
              </a:ext>
            </a:extLst>
          </p:cNvPr>
          <p:cNvGraphicFramePr>
            <a:graphicFrameLocks noChangeAspect="1"/>
          </p:cNvGraphicFramePr>
          <p:nvPr userDrawn="1">
            <p:custDataLst>
              <p:tags r:id="rId2"/>
            </p:custDataLst>
            <p:extLst>
              <p:ext uri="{D42A27DB-BD31-4B8C-83A1-F6EECF244321}">
                <p14:modId xmlns:p14="http://schemas.microsoft.com/office/powerpoint/2010/main" val="35112520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60" name="think-cell Slide" r:id="rId4" imgW="473" imgH="474" progId="TCLayout.ActiveDocument.1">
                  <p:embed/>
                </p:oleObj>
              </mc:Choice>
              <mc:Fallback>
                <p:oleObj name="think-cell Slide" r:id="rId4" imgW="473" imgH="474" progId="TCLayout.ActiveDocument.1">
                  <p:embed/>
                  <p:pic>
                    <p:nvPicPr>
                      <p:cNvPr id="2" name="Object 1" hidden="1">
                        <a:extLst>
                          <a:ext uri="{FF2B5EF4-FFF2-40B4-BE49-F238E27FC236}">
                            <a16:creationId xmlns:a16="http://schemas.microsoft.com/office/drawing/2014/main" id="{171508AF-6CC8-4D7F-BD77-94F9068BA54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60D0F9B9-6CAF-46B3-AD63-CF660E44EB8B}"/>
              </a:ext>
            </a:extLst>
          </p:cNvPr>
          <p:cNvSpPr/>
          <p:nvPr userDrawn="1"/>
        </p:nvSpPr>
        <p:spPr>
          <a:xfrm>
            <a:off x="3051745"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5" name="Rectangle 4">
            <a:extLst>
              <a:ext uri="{FF2B5EF4-FFF2-40B4-BE49-F238E27FC236}">
                <a16:creationId xmlns:a16="http://schemas.microsoft.com/office/drawing/2014/main" id="{FB0862F4-D2D4-4BF0-A385-BB7246292A8E}"/>
              </a:ext>
            </a:extLst>
          </p:cNvPr>
          <p:cNvSpPr/>
          <p:nvPr userDrawn="1"/>
        </p:nvSpPr>
        <p:spPr>
          <a:xfrm>
            <a:off x="7490"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6" name="Rectangle 5">
            <a:extLst>
              <a:ext uri="{FF2B5EF4-FFF2-40B4-BE49-F238E27FC236}">
                <a16:creationId xmlns:a16="http://schemas.microsoft.com/office/drawing/2014/main" id="{65A04021-3D09-4ACE-B394-E39C11DF6AF0}"/>
              </a:ext>
            </a:extLst>
          </p:cNvPr>
          <p:cNvSpPr/>
          <p:nvPr userDrawn="1"/>
        </p:nvSpPr>
        <p:spPr>
          <a:xfrm>
            <a:off x="9149414"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7" name="Rectangle 6">
            <a:extLst>
              <a:ext uri="{FF2B5EF4-FFF2-40B4-BE49-F238E27FC236}">
                <a16:creationId xmlns:a16="http://schemas.microsoft.com/office/drawing/2014/main" id="{C09B06D2-B642-4449-B641-DA223E91679C}"/>
              </a:ext>
            </a:extLst>
          </p:cNvPr>
          <p:cNvSpPr/>
          <p:nvPr userDrawn="1"/>
        </p:nvSpPr>
        <p:spPr>
          <a:xfrm>
            <a:off x="6105159"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8" name="Rectángulo 1">
            <a:extLst>
              <a:ext uri="{FF2B5EF4-FFF2-40B4-BE49-F238E27FC236}">
                <a16:creationId xmlns:a16="http://schemas.microsoft.com/office/drawing/2014/main" id="{FCDE7C8E-00A7-428B-BAEB-E5D2EE2AC110}"/>
              </a:ext>
            </a:extLst>
          </p:cNvPr>
          <p:cNvSpPr/>
          <p:nvPr userDrawn="1"/>
        </p:nvSpPr>
        <p:spPr>
          <a:xfrm rot="10500648">
            <a:off x="-93990" y="3665899"/>
            <a:ext cx="12457796" cy="3714092"/>
          </a:xfrm>
          <a:custGeom>
            <a:avLst/>
            <a:gdLst>
              <a:gd name="connsiteX0" fmla="*/ 0 w 12316995"/>
              <a:gd name="connsiteY0" fmla="*/ 0 h 2636838"/>
              <a:gd name="connsiteX1" fmla="*/ 12316995 w 12316995"/>
              <a:gd name="connsiteY1" fmla="*/ 0 h 2636838"/>
              <a:gd name="connsiteX2" fmla="*/ 12316995 w 12316995"/>
              <a:gd name="connsiteY2" fmla="*/ 2636838 h 2636838"/>
              <a:gd name="connsiteX3" fmla="*/ 0 w 12316995"/>
              <a:gd name="connsiteY3" fmla="*/ 2636838 h 2636838"/>
              <a:gd name="connsiteX4" fmla="*/ 0 w 12316995"/>
              <a:gd name="connsiteY4" fmla="*/ 0 h 2636838"/>
              <a:gd name="connsiteX0" fmla="*/ 291720 w 12316995"/>
              <a:gd name="connsiteY0" fmla="*/ 0 h 3165979"/>
              <a:gd name="connsiteX1" fmla="*/ 12316995 w 12316995"/>
              <a:gd name="connsiteY1" fmla="*/ 529141 h 3165979"/>
              <a:gd name="connsiteX2" fmla="*/ 12316995 w 12316995"/>
              <a:gd name="connsiteY2" fmla="*/ 3165979 h 3165979"/>
              <a:gd name="connsiteX3" fmla="*/ 0 w 12316995"/>
              <a:gd name="connsiteY3" fmla="*/ 3165979 h 3165979"/>
              <a:gd name="connsiteX4" fmla="*/ 291720 w 12316995"/>
              <a:gd name="connsiteY4" fmla="*/ 0 h 3165979"/>
              <a:gd name="connsiteX0" fmla="*/ 291720 w 12427262"/>
              <a:gd name="connsiteY0" fmla="*/ 0 h 3165979"/>
              <a:gd name="connsiteX1" fmla="*/ 12427262 w 12427262"/>
              <a:gd name="connsiteY1" fmla="*/ 1061639 h 3165979"/>
              <a:gd name="connsiteX2" fmla="*/ 12316995 w 12427262"/>
              <a:gd name="connsiteY2" fmla="*/ 3165979 h 3165979"/>
              <a:gd name="connsiteX3" fmla="*/ 0 w 12427262"/>
              <a:gd name="connsiteY3" fmla="*/ 3165979 h 3165979"/>
              <a:gd name="connsiteX4" fmla="*/ 291720 w 12427262"/>
              <a:gd name="connsiteY4" fmla="*/ 0 h 3165979"/>
              <a:gd name="connsiteX0" fmla="*/ 291720 w 12427262"/>
              <a:gd name="connsiteY0" fmla="*/ 0 h 3165979"/>
              <a:gd name="connsiteX1" fmla="*/ 12427262 w 12427262"/>
              <a:gd name="connsiteY1" fmla="*/ 1061639 h 3165979"/>
              <a:gd name="connsiteX2" fmla="*/ 12259342 w 12427262"/>
              <a:gd name="connsiteY2" fmla="*/ 3160935 h 3165979"/>
              <a:gd name="connsiteX3" fmla="*/ 0 w 12427262"/>
              <a:gd name="connsiteY3" fmla="*/ 3165979 h 3165979"/>
              <a:gd name="connsiteX4" fmla="*/ 291720 w 12427262"/>
              <a:gd name="connsiteY4" fmla="*/ 0 h 3165979"/>
              <a:gd name="connsiteX0" fmla="*/ 291720 w 12432323"/>
              <a:gd name="connsiteY0" fmla="*/ 0 h 3165979"/>
              <a:gd name="connsiteX1" fmla="*/ 12432323 w 12432323"/>
              <a:gd name="connsiteY1" fmla="*/ 1062082 h 3165979"/>
              <a:gd name="connsiteX2" fmla="*/ 12259342 w 12432323"/>
              <a:gd name="connsiteY2" fmla="*/ 3160935 h 3165979"/>
              <a:gd name="connsiteX3" fmla="*/ 0 w 12432323"/>
              <a:gd name="connsiteY3" fmla="*/ 3165979 h 3165979"/>
              <a:gd name="connsiteX4" fmla="*/ 291720 w 12432323"/>
              <a:gd name="connsiteY4" fmla="*/ 0 h 3165979"/>
              <a:gd name="connsiteX0" fmla="*/ 282042 w 12432323"/>
              <a:gd name="connsiteY0" fmla="*/ 0 h 3171925"/>
              <a:gd name="connsiteX1" fmla="*/ 12432323 w 12432323"/>
              <a:gd name="connsiteY1" fmla="*/ 1068028 h 3171925"/>
              <a:gd name="connsiteX2" fmla="*/ 12259342 w 12432323"/>
              <a:gd name="connsiteY2" fmla="*/ 3166881 h 3171925"/>
              <a:gd name="connsiteX3" fmla="*/ 0 w 12432323"/>
              <a:gd name="connsiteY3" fmla="*/ 3171925 h 3171925"/>
              <a:gd name="connsiteX4" fmla="*/ 282042 w 12432323"/>
              <a:gd name="connsiteY4" fmla="*/ 0 h 3171925"/>
              <a:gd name="connsiteX0" fmla="*/ 190669 w 12432323"/>
              <a:gd name="connsiteY0" fmla="*/ 45201 h 2103897"/>
              <a:gd name="connsiteX1" fmla="*/ 12432323 w 12432323"/>
              <a:gd name="connsiteY1" fmla="*/ 0 h 2103897"/>
              <a:gd name="connsiteX2" fmla="*/ 12259342 w 12432323"/>
              <a:gd name="connsiteY2" fmla="*/ 2098853 h 2103897"/>
              <a:gd name="connsiteX3" fmla="*/ 0 w 12432323"/>
              <a:gd name="connsiteY3" fmla="*/ 2103897 h 2103897"/>
              <a:gd name="connsiteX4" fmla="*/ 190669 w 12432323"/>
              <a:gd name="connsiteY4" fmla="*/ 45201 h 2103897"/>
              <a:gd name="connsiteX0" fmla="*/ 190669 w 12259342"/>
              <a:gd name="connsiteY0" fmla="*/ 0 h 2058696"/>
              <a:gd name="connsiteX1" fmla="*/ 12153987 w 12259342"/>
              <a:gd name="connsiteY1" fmla="*/ 1679115 h 2058696"/>
              <a:gd name="connsiteX2" fmla="*/ 12259342 w 12259342"/>
              <a:gd name="connsiteY2" fmla="*/ 2053652 h 2058696"/>
              <a:gd name="connsiteX3" fmla="*/ 0 w 12259342"/>
              <a:gd name="connsiteY3" fmla="*/ 2058696 h 2058696"/>
              <a:gd name="connsiteX4" fmla="*/ 190669 w 12259342"/>
              <a:gd name="connsiteY4" fmla="*/ 0 h 2058696"/>
              <a:gd name="connsiteX0" fmla="*/ 190669 w 12326628"/>
              <a:gd name="connsiteY0" fmla="*/ 0 h 2058696"/>
              <a:gd name="connsiteX1" fmla="*/ 12326628 w 12326628"/>
              <a:gd name="connsiteY1" fmla="*/ 1165535 h 2058696"/>
              <a:gd name="connsiteX2" fmla="*/ 12259342 w 12326628"/>
              <a:gd name="connsiteY2" fmla="*/ 2053652 h 2058696"/>
              <a:gd name="connsiteX3" fmla="*/ 0 w 12326628"/>
              <a:gd name="connsiteY3" fmla="*/ 2058696 h 2058696"/>
              <a:gd name="connsiteX4" fmla="*/ 190669 w 12326628"/>
              <a:gd name="connsiteY4" fmla="*/ 0 h 2058696"/>
              <a:gd name="connsiteX0" fmla="*/ 243200 w 12326628"/>
              <a:gd name="connsiteY0" fmla="*/ 0 h 1728786"/>
              <a:gd name="connsiteX1" fmla="*/ 12326628 w 12326628"/>
              <a:gd name="connsiteY1" fmla="*/ 835625 h 1728786"/>
              <a:gd name="connsiteX2" fmla="*/ 12259342 w 12326628"/>
              <a:gd name="connsiteY2" fmla="*/ 1723742 h 1728786"/>
              <a:gd name="connsiteX3" fmla="*/ 0 w 12326628"/>
              <a:gd name="connsiteY3" fmla="*/ 1728786 h 1728786"/>
              <a:gd name="connsiteX4" fmla="*/ 243200 w 12326628"/>
              <a:gd name="connsiteY4" fmla="*/ 0 h 1728786"/>
              <a:gd name="connsiteX0" fmla="*/ 176851 w 12326628"/>
              <a:gd name="connsiteY0" fmla="*/ 0 h 1966953"/>
              <a:gd name="connsiteX1" fmla="*/ 12326628 w 12326628"/>
              <a:gd name="connsiteY1" fmla="*/ 1073792 h 1966953"/>
              <a:gd name="connsiteX2" fmla="*/ 12259342 w 12326628"/>
              <a:gd name="connsiteY2" fmla="*/ 1961909 h 1966953"/>
              <a:gd name="connsiteX3" fmla="*/ 0 w 12326628"/>
              <a:gd name="connsiteY3" fmla="*/ 1966953 h 1966953"/>
              <a:gd name="connsiteX4" fmla="*/ 176851 w 12326628"/>
              <a:gd name="connsiteY4" fmla="*/ 0 h 1966953"/>
              <a:gd name="connsiteX0" fmla="*/ 149627 w 12299404"/>
              <a:gd name="connsiteY0" fmla="*/ 0 h 1961909"/>
              <a:gd name="connsiteX1" fmla="*/ 12299404 w 12299404"/>
              <a:gd name="connsiteY1" fmla="*/ 1073792 h 1961909"/>
              <a:gd name="connsiteX2" fmla="*/ 12232118 w 12299404"/>
              <a:gd name="connsiteY2" fmla="*/ 1961909 h 1961909"/>
              <a:gd name="connsiteX3" fmla="*/ 0 w 12299404"/>
              <a:gd name="connsiteY3" fmla="*/ 1522010 h 1961909"/>
              <a:gd name="connsiteX4" fmla="*/ 149627 w 12299404"/>
              <a:gd name="connsiteY4" fmla="*/ 0 h 1961909"/>
              <a:gd name="connsiteX0" fmla="*/ 149627 w 12299404"/>
              <a:gd name="connsiteY0" fmla="*/ 0 h 1713997"/>
              <a:gd name="connsiteX1" fmla="*/ 12299404 w 12299404"/>
              <a:gd name="connsiteY1" fmla="*/ 1073792 h 1713997"/>
              <a:gd name="connsiteX2" fmla="*/ 12253761 w 12299404"/>
              <a:gd name="connsiteY2" fmla="*/ 1713997 h 1713997"/>
              <a:gd name="connsiteX3" fmla="*/ 0 w 12299404"/>
              <a:gd name="connsiteY3" fmla="*/ 1522010 h 1713997"/>
              <a:gd name="connsiteX4" fmla="*/ 149627 w 12299404"/>
              <a:gd name="connsiteY4" fmla="*/ 0 h 1713997"/>
              <a:gd name="connsiteX0" fmla="*/ 149627 w 12482975"/>
              <a:gd name="connsiteY0" fmla="*/ 925914 h 2639911"/>
              <a:gd name="connsiteX1" fmla="*/ 12482975 w 12482975"/>
              <a:gd name="connsiteY1" fmla="*/ 0 h 2639911"/>
              <a:gd name="connsiteX2" fmla="*/ 12253761 w 12482975"/>
              <a:gd name="connsiteY2" fmla="*/ 2639911 h 2639911"/>
              <a:gd name="connsiteX3" fmla="*/ 0 w 12482975"/>
              <a:gd name="connsiteY3" fmla="*/ 2447924 h 2639911"/>
              <a:gd name="connsiteX4" fmla="*/ 149627 w 12482975"/>
              <a:gd name="connsiteY4" fmla="*/ 925914 h 2639911"/>
              <a:gd name="connsiteX0" fmla="*/ 328732 w 12482975"/>
              <a:gd name="connsiteY0" fmla="*/ 0 h 3714092"/>
              <a:gd name="connsiteX1" fmla="*/ 12482975 w 12482975"/>
              <a:gd name="connsiteY1" fmla="*/ 1074181 h 3714092"/>
              <a:gd name="connsiteX2" fmla="*/ 12253761 w 12482975"/>
              <a:gd name="connsiteY2" fmla="*/ 3714092 h 3714092"/>
              <a:gd name="connsiteX3" fmla="*/ 0 w 12482975"/>
              <a:gd name="connsiteY3" fmla="*/ 3522105 h 3714092"/>
              <a:gd name="connsiteX4" fmla="*/ 328732 w 12482975"/>
              <a:gd name="connsiteY4" fmla="*/ 0 h 3714092"/>
              <a:gd name="connsiteX0" fmla="*/ 306405 w 12460648"/>
              <a:gd name="connsiteY0" fmla="*/ 0 h 3714092"/>
              <a:gd name="connsiteX1" fmla="*/ 12460648 w 12460648"/>
              <a:gd name="connsiteY1" fmla="*/ 1074181 h 3714092"/>
              <a:gd name="connsiteX2" fmla="*/ 12231434 w 12460648"/>
              <a:gd name="connsiteY2" fmla="*/ 3714092 h 3714092"/>
              <a:gd name="connsiteX3" fmla="*/ 0 w 12460648"/>
              <a:gd name="connsiteY3" fmla="*/ 3524054 h 3714092"/>
              <a:gd name="connsiteX4" fmla="*/ 306405 w 12460648"/>
              <a:gd name="connsiteY4" fmla="*/ 0 h 3714092"/>
              <a:gd name="connsiteX0" fmla="*/ 306405 w 12457796"/>
              <a:gd name="connsiteY0" fmla="*/ 0 h 3714092"/>
              <a:gd name="connsiteX1" fmla="*/ 12457796 w 12457796"/>
              <a:gd name="connsiteY1" fmla="*/ 1048435 h 3714092"/>
              <a:gd name="connsiteX2" fmla="*/ 12231434 w 12457796"/>
              <a:gd name="connsiteY2" fmla="*/ 3714092 h 3714092"/>
              <a:gd name="connsiteX3" fmla="*/ 0 w 12457796"/>
              <a:gd name="connsiteY3" fmla="*/ 3524054 h 3714092"/>
              <a:gd name="connsiteX4" fmla="*/ 306405 w 12457796"/>
              <a:gd name="connsiteY4" fmla="*/ 0 h 37140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57796" h="3714092">
                <a:moveTo>
                  <a:pt x="306405" y="0"/>
                </a:moveTo>
                <a:lnTo>
                  <a:pt x="12457796" y="1048435"/>
                </a:lnTo>
                <a:lnTo>
                  <a:pt x="12231434" y="3714092"/>
                </a:lnTo>
                <a:lnTo>
                  <a:pt x="0" y="3524054"/>
                </a:lnTo>
                <a:lnTo>
                  <a:pt x="306405" y="0"/>
                </a:lnTo>
                <a:close/>
              </a:path>
            </a:pathLst>
          </a:custGeom>
          <a:gradFill>
            <a:gsLst>
              <a:gs pos="0">
                <a:schemeClr val="accent1"/>
              </a:gs>
              <a:gs pos="100000">
                <a:schemeClr val="accent2"/>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accent4"/>
              </a:solidFill>
            </a:endParaRPr>
          </a:p>
        </p:txBody>
      </p:sp>
      <p:sp>
        <p:nvSpPr>
          <p:cNvPr id="9" name="Title 8">
            <a:extLst>
              <a:ext uri="{FF2B5EF4-FFF2-40B4-BE49-F238E27FC236}">
                <a16:creationId xmlns:a16="http://schemas.microsoft.com/office/drawing/2014/main" id="{18806FD4-6140-4662-8DE6-047069B86B7B}"/>
              </a:ext>
            </a:extLst>
          </p:cNvPr>
          <p:cNvSpPr>
            <a:spLocks noGrp="1"/>
          </p:cNvSpPr>
          <p:nvPr>
            <p:ph type="title"/>
          </p:nvPr>
        </p:nvSpPr>
        <p:spPr>
          <a:xfrm>
            <a:off x="367201" y="4427760"/>
            <a:ext cx="11453324" cy="432000"/>
          </a:xfrm>
        </p:spPr>
        <p:txBody>
          <a:bodyPr/>
          <a:lstStyle>
            <a:lvl1pPr>
              <a:defRPr>
                <a:solidFill>
                  <a:schemeClr val="bg1"/>
                </a:solidFill>
              </a:defRPr>
            </a:lvl1pPr>
          </a:lstStyle>
          <a:p>
            <a:r>
              <a:rPr lang="en-US" dirty="0"/>
              <a:t>Click to edit Master title style</a:t>
            </a:r>
          </a:p>
        </p:txBody>
      </p:sp>
      <p:sp>
        <p:nvSpPr>
          <p:cNvPr id="10" name="Text Placeholder 7">
            <a:extLst>
              <a:ext uri="{FF2B5EF4-FFF2-40B4-BE49-F238E27FC236}">
                <a16:creationId xmlns:a16="http://schemas.microsoft.com/office/drawing/2014/main" id="{86B22E73-E72E-4893-A4FA-35D88A51B5FC}"/>
              </a:ext>
            </a:extLst>
          </p:cNvPr>
          <p:cNvSpPr>
            <a:spLocks noGrp="1"/>
          </p:cNvSpPr>
          <p:nvPr>
            <p:ph type="body" sz="quarter" idx="18"/>
          </p:nvPr>
        </p:nvSpPr>
        <p:spPr>
          <a:xfrm>
            <a:off x="368790" y="4963932"/>
            <a:ext cx="11451735" cy="1184868"/>
          </a:xfrm>
        </p:spPr>
        <p:txBody>
          <a:bodyPr/>
          <a:lstStyle>
            <a:lvl1pPr>
              <a:defRPr sz="1400">
                <a:solidFill>
                  <a:schemeClr val="bg1"/>
                </a:solidFill>
              </a:defRPr>
            </a:lvl1pPr>
            <a:lvl2pPr>
              <a:defRPr sz="1400"/>
            </a:lvl2pPr>
            <a:lvl3pPr>
              <a:defRPr sz="1400"/>
            </a:lvl3pPr>
            <a:lvl4pPr>
              <a:defRPr sz="1400"/>
            </a:lvl4pPr>
            <a:lvl5pPr>
              <a:defRPr sz="1400"/>
            </a:lvl5pPr>
          </a:lstStyle>
          <a:p>
            <a:pPr lvl="0"/>
            <a:r>
              <a:rPr lang="en-US" dirty="0"/>
              <a:t>Click to edit Master text styles</a:t>
            </a:r>
          </a:p>
        </p:txBody>
      </p:sp>
    </p:spTree>
    <p:extLst>
      <p:ext uri="{BB962C8B-B14F-4D97-AF65-F5344CB8AC3E}">
        <p14:creationId xmlns:p14="http://schemas.microsoft.com/office/powerpoint/2010/main" val="264199342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2_Image background">
    <p:spTree>
      <p:nvGrpSpPr>
        <p:cNvPr id="1" name=""/>
        <p:cNvGrpSpPr/>
        <p:nvPr/>
      </p:nvGrpSpPr>
      <p:grpSpPr>
        <a:xfrm>
          <a:off x="0" y="0"/>
          <a:ext cx="0" cy="0"/>
          <a:chOff x="0" y="0"/>
          <a:chExt cx="0" cy="0"/>
        </a:xfrm>
      </p:grpSpPr>
      <p:sp>
        <p:nvSpPr>
          <p:cNvPr id="3" name="Marcador de posición de imagen 2">
            <a:extLst>
              <a:ext uri="{FF2B5EF4-FFF2-40B4-BE49-F238E27FC236}">
                <a16:creationId xmlns:a16="http://schemas.microsoft.com/office/drawing/2014/main" id="{1059AFB1-C7D6-6743-933B-FA747A91A0A4}"/>
              </a:ext>
            </a:extLst>
          </p:cNvPr>
          <p:cNvSpPr>
            <a:spLocks noGrp="1"/>
          </p:cNvSpPr>
          <p:nvPr>
            <p:ph type="pic" sz="quarter" idx="12" hasCustomPrompt="1"/>
          </p:nvPr>
        </p:nvSpPr>
        <p:spPr>
          <a:xfrm>
            <a:off x="0" y="0"/>
            <a:ext cx="12191999" cy="6858000"/>
          </a:xfrm>
          <a:prstGeom prst="rect">
            <a:avLst/>
          </a:prstGeom>
        </p:spPr>
        <p:txBody>
          <a:bodyPr anchor="ctr"/>
          <a:lstStyle>
            <a:lvl1pPr marL="228600" marR="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a:solidFill>
                  <a:schemeClr val="tx1"/>
                </a:solidFill>
              </a:defRPr>
            </a:lvl1pPr>
          </a:lstStyle>
          <a:p>
            <a:pPr marL="228600" marR="0" lvl="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Drag picture to placeholder </a:t>
            </a:r>
            <a:br>
              <a:rPr lang="en-US" dirty="0"/>
            </a:br>
            <a:r>
              <a:rPr lang="en-US" dirty="0"/>
              <a:t>or click icon to add</a:t>
            </a:r>
          </a:p>
        </p:txBody>
      </p:sp>
      <p:graphicFrame>
        <p:nvGraphicFramePr>
          <p:cNvPr id="2" name="Object 1" hidden="1">
            <a:extLst>
              <a:ext uri="{FF2B5EF4-FFF2-40B4-BE49-F238E27FC236}">
                <a16:creationId xmlns:a16="http://schemas.microsoft.com/office/drawing/2014/main" id="{171508AF-6CC8-4D7F-BD77-94F9068BA546}"/>
              </a:ext>
            </a:extLst>
          </p:cNvPr>
          <p:cNvGraphicFramePr>
            <a:graphicFrameLocks noChangeAspect="1"/>
          </p:cNvGraphicFramePr>
          <p:nvPr userDrawn="1">
            <p:custDataLst>
              <p:tags r:id="rId2"/>
            </p:custDataLst>
            <p:extLst>
              <p:ext uri="{D42A27DB-BD31-4B8C-83A1-F6EECF244321}">
                <p14:modId xmlns:p14="http://schemas.microsoft.com/office/powerpoint/2010/main" val="21730874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84" name="think-cell Slide" r:id="rId4" imgW="473" imgH="474" progId="TCLayout.ActiveDocument.1">
                  <p:embed/>
                </p:oleObj>
              </mc:Choice>
              <mc:Fallback>
                <p:oleObj name="think-cell Slide" r:id="rId4" imgW="473" imgH="474" progId="TCLayout.ActiveDocument.1">
                  <p:embed/>
                  <p:pic>
                    <p:nvPicPr>
                      <p:cNvPr id="2" name="Object 1" hidden="1">
                        <a:extLst>
                          <a:ext uri="{FF2B5EF4-FFF2-40B4-BE49-F238E27FC236}">
                            <a16:creationId xmlns:a16="http://schemas.microsoft.com/office/drawing/2014/main" id="{171508AF-6CC8-4D7F-BD77-94F9068BA54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60D0F9B9-6CAF-46B3-AD63-CF660E44EB8B}"/>
              </a:ext>
            </a:extLst>
          </p:cNvPr>
          <p:cNvSpPr/>
          <p:nvPr userDrawn="1"/>
        </p:nvSpPr>
        <p:spPr>
          <a:xfrm>
            <a:off x="3051745"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5" name="Rectangle 4">
            <a:extLst>
              <a:ext uri="{FF2B5EF4-FFF2-40B4-BE49-F238E27FC236}">
                <a16:creationId xmlns:a16="http://schemas.microsoft.com/office/drawing/2014/main" id="{FB0862F4-D2D4-4BF0-A385-BB7246292A8E}"/>
              </a:ext>
            </a:extLst>
          </p:cNvPr>
          <p:cNvSpPr/>
          <p:nvPr userDrawn="1"/>
        </p:nvSpPr>
        <p:spPr>
          <a:xfrm>
            <a:off x="7490"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6" name="Rectangle 5">
            <a:extLst>
              <a:ext uri="{FF2B5EF4-FFF2-40B4-BE49-F238E27FC236}">
                <a16:creationId xmlns:a16="http://schemas.microsoft.com/office/drawing/2014/main" id="{65A04021-3D09-4ACE-B394-E39C11DF6AF0}"/>
              </a:ext>
            </a:extLst>
          </p:cNvPr>
          <p:cNvSpPr/>
          <p:nvPr userDrawn="1"/>
        </p:nvSpPr>
        <p:spPr>
          <a:xfrm>
            <a:off x="9149414"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7" name="Rectangle 6">
            <a:extLst>
              <a:ext uri="{FF2B5EF4-FFF2-40B4-BE49-F238E27FC236}">
                <a16:creationId xmlns:a16="http://schemas.microsoft.com/office/drawing/2014/main" id="{C09B06D2-B642-4449-B641-DA223E91679C}"/>
              </a:ext>
            </a:extLst>
          </p:cNvPr>
          <p:cNvSpPr/>
          <p:nvPr userDrawn="1"/>
        </p:nvSpPr>
        <p:spPr>
          <a:xfrm>
            <a:off x="6105159"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8" name="Rectángulo 1">
            <a:extLst>
              <a:ext uri="{FF2B5EF4-FFF2-40B4-BE49-F238E27FC236}">
                <a16:creationId xmlns:a16="http://schemas.microsoft.com/office/drawing/2014/main" id="{FCDE7C8E-00A7-428B-BAEB-E5D2EE2AC110}"/>
              </a:ext>
            </a:extLst>
          </p:cNvPr>
          <p:cNvSpPr/>
          <p:nvPr userDrawn="1"/>
        </p:nvSpPr>
        <p:spPr>
          <a:xfrm rot="10500648">
            <a:off x="-93990" y="3665899"/>
            <a:ext cx="12457796" cy="3714092"/>
          </a:xfrm>
          <a:custGeom>
            <a:avLst/>
            <a:gdLst>
              <a:gd name="connsiteX0" fmla="*/ 0 w 12316995"/>
              <a:gd name="connsiteY0" fmla="*/ 0 h 2636838"/>
              <a:gd name="connsiteX1" fmla="*/ 12316995 w 12316995"/>
              <a:gd name="connsiteY1" fmla="*/ 0 h 2636838"/>
              <a:gd name="connsiteX2" fmla="*/ 12316995 w 12316995"/>
              <a:gd name="connsiteY2" fmla="*/ 2636838 h 2636838"/>
              <a:gd name="connsiteX3" fmla="*/ 0 w 12316995"/>
              <a:gd name="connsiteY3" fmla="*/ 2636838 h 2636838"/>
              <a:gd name="connsiteX4" fmla="*/ 0 w 12316995"/>
              <a:gd name="connsiteY4" fmla="*/ 0 h 2636838"/>
              <a:gd name="connsiteX0" fmla="*/ 291720 w 12316995"/>
              <a:gd name="connsiteY0" fmla="*/ 0 h 3165979"/>
              <a:gd name="connsiteX1" fmla="*/ 12316995 w 12316995"/>
              <a:gd name="connsiteY1" fmla="*/ 529141 h 3165979"/>
              <a:gd name="connsiteX2" fmla="*/ 12316995 w 12316995"/>
              <a:gd name="connsiteY2" fmla="*/ 3165979 h 3165979"/>
              <a:gd name="connsiteX3" fmla="*/ 0 w 12316995"/>
              <a:gd name="connsiteY3" fmla="*/ 3165979 h 3165979"/>
              <a:gd name="connsiteX4" fmla="*/ 291720 w 12316995"/>
              <a:gd name="connsiteY4" fmla="*/ 0 h 3165979"/>
              <a:gd name="connsiteX0" fmla="*/ 291720 w 12427262"/>
              <a:gd name="connsiteY0" fmla="*/ 0 h 3165979"/>
              <a:gd name="connsiteX1" fmla="*/ 12427262 w 12427262"/>
              <a:gd name="connsiteY1" fmla="*/ 1061639 h 3165979"/>
              <a:gd name="connsiteX2" fmla="*/ 12316995 w 12427262"/>
              <a:gd name="connsiteY2" fmla="*/ 3165979 h 3165979"/>
              <a:gd name="connsiteX3" fmla="*/ 0 w 12427262"/>
              <a:gd name="connsiteY3" fmla="*/ 3165979 h 3165979"/>
              <a:gd name="connsiteX4" fmla="*/ 291720 w 12427262"/>
              <a:gd name="connsiteY4" fmla="*/ 0 h 3165979"/>
              <a:gd name="connsiteX0" fmla="*/ 291720 w 12427262"/>
              <a:gd name="connsiteY0" fmla="*/ 0 h 3165979"/>
              <a:gd name="connsiteX1" fmla="*/ 12427262 w 12427262"/>
              <a:gd name="connsiteY1" fmla="*/ 1061639 h 3165979"/>
              <a:gd name="connsiteX2" fmla="*/ 12259342 w 12427262"/>
              <a:gd name="connsiteY2" fmla="*/ 3160935 h 3165979"/>
              <a:gd name="connsiteX3" fmla="*/ 0 w 12427262"/>
              <a:gd name="connsiteY3" fmla="*/ 3165979 h 3165979"/>
              <a:gd name="connsiteX4" fmla="*/ 291720 w 12427262"/>
              <a:gd name="connsiteY4" fmla="*/ 0 h 3165979"/>
              <a:gd name="connsiteX0" fmla="*/ 291720 w 12432323"/>
              <a:gd name="connsiteY0" fmla="*/ 0 h 3165979"/>
              <a:gd name="connsiteX1" fmla="*/ 12432323 w 12432323"/>
              <a:gd name="connsiteY1" fmla="*/ 1062082 h 3165979"/>
              <a:gd name="connsiteX2" fmla="*/ 12259342 w 12432323"/>
              <a:gd name="connsiteY2" fmla="*/ 3160935 h 3165979"/>
              <a:gd name="connsiteX3" fmla="*/ 0 w 12432323"/>
              <a:gd name="connsiteY3" fmla="*/ 3165979 h 3165979"/>
              <a:gd name="connsiteX4" fmla="*/ 291720 w 12432323"/>
              <a:gd name="connsiteY4" fmla="*/ 0 h 3165979"/>
              <a:gd name="connsiteX0" fmla="*/ 282042 w 12432323"/>
              <a:gd name="connsiteY0" fmla="*/ 0 h 3171925"/>
              <a:gd name="connsiteX1" fmla="*/ 12432323 w 12432323"/>
              <a:gd name="connsiteY1" fmla="*/ 1068028 h 3171925"/>
              <a:gd name="connsiteX2" fmla="*/ 12259342 w 12432323"/>
              <a:gd name="connsiteY2" fmla="*/ 3166881 h 3171925"/>
              <a:gd name="connsiteX3" fmla="*/ 0 w 12432323"/>
              <a:gd name="connsiteY3" fmla="*/ 3171925 h 3171925"/>
              <a:gd name="connsiteX4" fmla="*/ 282042 w 12432323"/>
              <a:gd name="connsiteY4" fmla="*/ 0 h 3171925"/>
              <a:gd name="connsiteX0" fmla="*/ 190669 w 12432323"/>
              <a:gd name="connsiteY0" fmla="*/ 45201 h 2103897"/>
              <a:gd name="connsiteX1" fmla="*/ 12432323 w 12432323"/>
              <a:gd name="connsiteY1" fmla="*/ 0 h 2103897"/>
              <a:gd name="connsiteX2" fmla="*/ 12259342 w 12432323"/>
              <a:gd name="connsiteY2" fmla="*/ 2098853 h 2103897"/>
              <a:gd name="connsiteX3" fmla="*/ 0 w 12432323"/>
              <a:gd name="connsiteY3" fmla="*/ 2103897 h 2103897"/>
              <a:gd name="connsiteX4" fmla="*/ 190669 w 12432323"/>
              <a:gd name="connsiteY4" fmla="*/ 45201 h 2103897"/>
              <a:gd name="connsiteX0" fmla="*/ 190669 w 12259342"/>
              <a:gd name="connsiteY0" fmla="*/ 0 h 2058696"/>
              <a:gd name="connsiteX1" fmla="*/ 12153987 w 12259342"/>
              <a:gd name="connsiteY1" fmla="*/ 1679115 h 2058696"/>
              <a:gd name="connsiteX2" fmla="*/ 12259342 w 12259342"/>
              <a:gd name="connsiteY2" fmla="*/ 2053652 h 2058696"/>
              <a:gd name="connsiteX3" fmla="*/ 0 w 12259342"/>
              <a:gd name="connsiteY3" fmla="*/ 2058696 h 2058696"/>
              <a:gd name="connsiteX4" fmla="*/ 190669 w 12259342"/>
              <a:gd name="connsiteY4" fmla="*/ 0 h 2058696"/>
              <a:gd name="connsiteX0" fmla="*/ 190669 w 12326628"/>
              <a:gd name="connsiteY0" fmla="*/ 0 h 2058696"/>
              <a:gd name="connsiteX1" fmla="*/ 12326628 w 12326628"/>
              <a:gd name="connsiteY1" fmla="*/ 1165535 h 2058696"/>
              <a:gd name="connsiteX2" fmla="*/ 12259342 w 12326628"/>
              <a:gd name="connsiteY2" fmla="*/ 2053652 h 2058696"/>
              <a:gd name="connsiteX3" fmla="*/ 0 w 12326628"/>
              <a:gd name="connsiteY3" fmla="*/ 2058696 h 2058696"/>
              <a:gd name="connsiteX4" fmla="*/ 190669 w 12326628"/>
              <a:gd name="connsiteY4" fmla="*/ 0 h 2058696"/>
              <a:gd name="connsiteX0" fmla="*/ 243200 w 12326628"/>
              <a:gd name="connsiteY0" fmla="*/ 0 h 1728786"/>
              <a:gd name="connsiteX1" fmla="*/ 12326628 w 12326628"/>
              <a:gd name="connsiteY1" fmla="*/ 835625 h 1728786"/>
              <a:gd name="connsiteX2" fmla="*/ 12259342 w 12326628"/>
              <a:gd name="connsiteY2" fmla="*/ 1723742 h 1728786"/>
              <a:gd name="connsiteX3" fmla="*/ 0 w 12326628"/>
              <a:gd name="connsiteY3" fmla="*/ 1728786 h 1728786"/>
              <a:gd name="connsiteX4" fmla="*/ 243200 w 12326628"/>
              <a:gd name="connsiteY4" fmla="*/ 0 h 1728786"/>
              <a:gd name="connsiteX0" fmla="*/ 176851 w 12326628"/>
              <a:gd name="connsiteY0" fmla="*/ 0 h 1966953"/>
              <a:gd name="connsiteX1" fmla="*/ 12326628 w 12326628"/>
              <a:gd name="connsiteY1" fmla="*/ 1073792 h 1966953"/>
              <a:gd name="connsiteX2" fmla="*/ 12259342 w 12326628"/>
              <a:gd name="connsiteY2" fmla="*/ 1961909 h 1966953"/>
              <a:gd name="connsiteX3" fmla="*/ 0 w 12326628"/>
              <a:gd name="connsiteY3" fmla="*/ 1966953 h 1966953"/>
              <a:gd name="connsiteX4" fmla="*/ 176851 w 12326628"/>
              <a:gd name="connsiteY4" fmla="*/ 0 h 1966953"/>
              <a:gd name="connsiteX0" fmla="*/ 149627 w 12299404"/>
              <a:gd name="connsiteY0" fmla="*/ 0 h 1961909"/>
              <a:gd name="connsiteX1" fmla="*/ 12299404 w 12299404"/>
              <a:gd name="connsiteY1" fmla="*/ 1073792 h 1961909"/>
              <a:gd name="connsiteX2" fmla="*/ 12232118 w 12299404"/>
              <a:gd name="connsiteY2" fmla="*/ 1961909 h 1961909"/>
              <a:gd name="connsiteX3" fmla="*/ 0 w 12299404"/>
              <a:gd name="connsiteY3" fmla="*/ 1522010 h 1961909"/>
              <a:gd name="connsiteX4" fmla="*/ 149627 w 12299404"/>
              <a:gd name="connsiteY4" fmla="*/ 0 h 1961909"/>
              <a:gd name="connsiteX0" fmla="*/ 149627 w 12299404"/>
              <a:gd name="connsiteY0" fmla="*/ 0 h 1713997"/>
              <a:gd name="connsiteX1" fmla="*/ 12299404 w 12299404"/>
              <a:gd name="connsiteY1" fmla="*/ 1073792 h 1713997"/>
              <a:gd name="connsiteX2" fmla="*/ 12253761 w 12299404"/>
              <a:gd name="connsiteY2" fmla="*/ 1713997 h 1713997"/>
              <a:gd name="connsiteX3" fmla="*/ 0 w 12299404"/>
              <a:gd name="connsiteY3" fmla="*/ 1522010 h 1713997"/>
              <a:gd name="connsiteX4" fmla="*/ 149627 w 12299404"/>
              <a:gd name="connsiteY4" fmla="*/ 0 h 1713997"/>
              <a:gd name="connsiteX0" fmla="*/ 149627 w 12482975"/>
              <a:gd name="connsiteY0" fmla="*/ 925914 h 2639911"/>
              <a:gd name="connsiteX1" fmla="*/ 12482975 w 12482975"/>
              <a:gd name="connsiteY1" fmla="*/ 0 h 2639911"/>
              <a:gd name="connsiteX2" fmla="*/ 12253761 w 12482975"/>
              <a:gd name="connsiteY2" fmla="*/ 2639911 h 2639911"/>
              <a:gd name="connsiteX3" fmla="*/ 0 w 12482975"/>
              <a:gd name="connsiteY3" fmla="*/ 2447924 h 2639911"/>
              <a:gd name="connsiteX4" fmla="*/ 149627 w 12482975"/>
              <a:gd name="connsiteY4" fmla="*/ 925914 h 2639911"/>
              <a:gd name="connsiteX0" fmla="*/ 328732 w 12482975"/>
              <a:gd name="connsiteY0" fmla="*/ 0 h 3714092"/>
              <a:gd name="connsiteX1" fmla="*/ 12482975 w 12482975"/>
              <a:gd name="connsiteY1" fmla="*/ 1074181 h 3714092"/>
              <a:gd name="connsiteX2" fmla="*/ 12253761 w 12482975"/>
              <a:gd name="connsiteY2" fmla="*/ 3714092 h 3714092"/>
              <a:gd name="connsiteX3" fmla="*/ 0 w 12482975"/>
              <a:gd name="connsiteY3" fmla="*/ 3522105 h 3714092"/>
              <a:gd name="connsiteX4" fmla="*/ 328732 w 12482975"/>
              <a:gd name="connsiteY4" fmla="*/ 0 h 3714092"/>
              <a:gd name="connsiteX0" fmla="*/ 306405 w 12460648"/>
              <a:gd name="connsiteY0" fmla="*/ 0 h 3714092"/>
              <a:gd name="connsiteX1" fmla="*/ 12460648 w 12460648"/>
              <a:gd name="connsiteY1" fmla="*/ 1074181 h 3714092"/>
              <a:gd name="connsiteX2" fmla="*/ 12231434 w 12460648"/>
              <a:gd name="connsiteY2" fmla="*/ 3714092 h 3714092"/>
              <a:gd name="connsiteX3" fmla="*/ 0 w 12460648"/>
              <a:gd name="connsiteY3" fmla="*/ 3524054 h 3714092"/>
              <a:gd name="connsiteX4" fmla="*/ 306405 w 12460648"/>
              <a:gd name="connsiteY4" fmla="*/ 0 h 3714092"/>
              <a:gd name="connsiteX0" fmla="*/ 306405 w 12457796"/>
              <a:gd name="connsiteY0" fmla="*/ 0 h 3714092"/>
              <a:gd name="connsiteX1" fmla="*/ 12457796 w 12457796"/>
              <a:gd name="connsiteY1" fmla="*/ 1048435 h 3714092"/>
              <a:gd name="connsiteX2" fmla="*/ 12231434 w 12457796"/>
              <a:gd name="connsiteY2" fmla="*/ 3714092 h 3714092"/>
              <a:gd name="connsiteX3" fmla="*/ 0 w 12457796"/>
              <a:gd name="connsiteY3" fmla="*/ 3524054 h 3714092"/>
              <a:gd name="connsiteX4" fmla="*/ 306405 w 12457796"/>
              <a:gd name="connsiteY4" fmla="*/ 0 h 37140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57796" h="3714092">
                <a:moveTo>
                  <a:pt x="306405" y="0"/>
                </a:moveTo>
                <a:lnTo>
                  <a:pt x="12457796" y="1048435"/>
                </a:lnTo>
                <a:lnTo>
                  <a:pt x="12231434" y="3714092"/>
                </a:lnTo>
                <a:lnTo>
                  <a:pt x="0" y="3524054"/>
                </a:lnTo>
                <a:lnTo>
                  <a:pt x="306405"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accent4"/>
              </a:solidFill>
            </a:endParaRPr>
          </a:p>
        </p:txBody>
      </p:sp>
      <p:sp>
        <p:nvSpPr>
          <p:cNvPr id="9" name="Title 8">
            <a:extLst>
              <a:ext uri="{FF2B5EF4-FFF2-40B4-BE49-F238E27FC236}">
                <a16:creationId xmlns:a16="http://schemas.microsoft.com/office/drawing/2014/main" id="{18806FD4-6140-4662-8DE6-047069B86B7B}"/>
              </a:ext>
            </a:extLst>
          </p:cNvPr>
          <p:cNvSpPr>
            <a:spLocks noGrp="1"/>
          </p:cNvSpPr>
          <p:nvPr>
            <p:ph type="title"/>
          </p:nvPr>
        </p:nvSpPr>
        <p:spPr>
          <a:xfrm>
            <a:off x="367201" y="4427760"/>
            <a:ext cx="11453324" cy="432000"/>
          </a:xfrm>
        </p:spPr>
        <p:txBody>
          <a:bodyPr/>
          <a:lstStyle>
            <a:lvl1pPr>
              <a:defRPr>
                <a:solidFill>
                  <a:schemeClr val="accent1"/>
                </a:solidFill>
              </a:defRPr>
            </a:lvl1pPr>
          </a:lstStyle>
          <a:p>
            <a:r>
              <a:rPr lang="en-US" dirty="0"/>
              <a:t>Click to edit Master title style</a:t>
            </a:r>
          </a:p>
        </p:txBody>
      </p:sp>
      <p:sp>
        <p:nvSpPr>
          <p:cNvPr id="10" name="Text Placeholder 7">
            <a:extLst>
              <a:ext uri="{FF2B5EF4-FFF2-40B4-BE49-F238E27FC236}">
                <a16:creationId xmlns:a16="http://schemas.microsoft.com/office/drawing/2014/main" id="{86B22E73-E72E-4893-A4FA-35D88A51B5FC}"/>
              </a:ext>
            </a:extLst>
          </p:cNvPr>
          <p:cNvSpPr>
            <a:spLocks noGrp="1"/>
          </p:cNvSpPr>
          <p:nvPr>
            <p:ph type="body" sz="quarter" idx="18"/>
          </p:nvPr>
        </p:nvSpPr>
        <p:spPr>
          <a:xfrm>
            <a:off x="368790" y="4963932"/>
            <a:ext cx="11451735" cy="1184868"/>
          </a:xfrm>
        </p:spPr>
        <p:txBody>
          <a:bodyPr/>
          <a:lstStyle>
            <a:lvl1pPr>
              <a:defRPr sz="1400">
                <a:solidFill>
                  <a:schemeClr val="accent1"/>
                </a:solidFill>
              </a:defRPr>
            </a:lvl1pPr>
            <a:lvl2pPr>
              <a:defRPr sz="1400"/>
            </a:lvl2pPr>
            <a:lvl3pPr>
              <a:defRPr sz="1400"/>
            </a:lvl3pPr>
            <a:lvl4pPr>
              <a:defRPr sz="1400"/>
            </a:lvl4pPr>
            <a:lvl5pPr>
              <a:defRPr sz="1400"/>
            </a:lvl5pPr>
          </a:lstStyle>
          <a:p>
            <a:pPr lvl="0"/>
            <a:r>
              <a:rPr lang="en-US" dirty="0"/>
              <a:t>Click to edit Master text styles</a:t>
            </a:r>
          </a:p>
        </p:txBody>
      </p:sp>
    </p:spTree>
    <p:extLst>
      <p:ext uri="{BB962C8B-B14F-4D97-AF65-F5344CB8AC3E}">
        <p14:creationId xmlns:p14="http://schemas.microsoft.com/office/powerpoint/2010/main" val="181830804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ext + relevant figures+straigh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18526C9-16E3-4A1D-828A-4692734F055E}"/>
              </a:ext>
            </a:extLst>
          </p:cNvPr>
          <p:cNvGraphicFramePr>
            <a:graphicFrameLocks noChangeAspect="1"/>
          </p:cNvGraphicFramePr>
          <p:nvPr userDrawn="1">
            <p:custDataLst>
              <p:tags r:id="rId2"/>
            </p:custDataLst>
            <p:extLst>
              <p:ext uri="{D42A27DB-BD31-4B8C-83A1-F6EECF244321}">
                <p14:modId xmlns:p14="http://schemas.microsoft.com/office/powerpoint/2010/main" val="1289719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08" name="think-cell Slide" r:id="rId5" imgW="473" imgH="474" progId="TCLayout.ActiveDocument.1">
                  <p:embed/>
                </p:oleObj>
              </mc:Choice>
              <mc:Fallback>
                <p:oleObj name="think-cell Slide" r:id="rId5" imgW="473" imgH="474" progId="TCLayout.ActiveDocument.1">
                  <p:embed/>
                  <p:pic>
                    <p:nvPicPr>
                      <p:cNvPr id="3" name="Object 2" hidden="1">
                        <a:extLst>
                          <a:ext uri="{FF2B5EF4-FFF2-40B4-BE49-F238E27FC236}">
                            <a16:creationId xmlns:a16="http://schemas.microsoft.com/office/drawing/2014/main" id="{C18526C9-16E3-4A1D-828A-4692734F055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B2B384D-A05A-4439-838E-B66DA57DCB38}"/>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Verdana" panose="020B0604030504040204" pitchFamily="34" charset="0"/>
              <a:ea typeface="+mj-ea"/>
              <a:cs typeface="+mj-cs"/>
              <a:sym typeface="Verdana" panose="020B0604030504040204" pitchFamily="34" charset="0"/>
            </a:endParaRPr>
          </a:p>
        </p:txBody>
      </p:sp>
      <p:sp>
        <p:nvSpPr>
          <p:cNvPr id="2" name="Rectángulo 1">
            <a:extLst>
              <a:ext uri="{FF2B5EF4-FFF2-40B4-BE49-F238E27FC236}">
                <a16:creationId xmlns:a16="http://schemas.microsoft.com/office/drawing/2014/main" id="{BF29E734-210D-BC45-815B-FC427C40A195}"/>
              </a:ext>
            </a:extLst>
          </p:cNvPr>
          <p:cNvSpPr/>
          <p:nvPr userDrawn="1"/>
        </p:nvSpPr>
        <p:spPr>
          <a:xfrm>
            <a:off x="8435975" y="0"/>
            <a:ext cx="3756025" cy="6858000"/>
          </a:xfrm>
          <a:prstGeom prst="rect">
            <a:avLst/>
          </a:prstGeom>
          <a:gradFill>
            <a:gsLst>
              <a:gs pos="0">
                <a:schemeClr val="accent1"/>
              </a:gs>
              <a:gs pos="100000">
                <a:schemeClr val="accent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accent4"/>
              </a:solidFill>
            </a:endParaRPr>
          </a:p>
        </p:txBody>
      </p:sp>
      <p:sp>
        <p:nvSpPr>
          <p:cNvPr id="6" name="Marcador de texto 5">
            <a:extLst>
              <a:ext uri="{FF2B5EF4-FFF2-40B4-BE49-F238E27FC236}">
                <a16:creationId xmlns:a16="http://schemas.microsoft.com/office/drawing/2014/main" id="{9EBCB333-58BB-B544-BBAA-8ED40584EC60}"/>
              </a:ext>
            </a:extLst>
          </p:cNvPr>
          <p:cNvSpPr>
            <a:spLocks noGrp="1"/>
          </p:cNvSpPr>
          <p:nvPr>
            <p:ph type="body" sz="quarter" idx="12" hasCustomPrompt="1"/>
          </p:nvPr>
        </p:nvSpPr>
        <p:spPr>
          <a:xfrm>
            <a:off x="9022080" y="1396800"/>
            <a:ext cx="2463133" cy="787206"/>
          </a:xfrm>
          <a:prstGeom prst="rect">
            <a:avLst/>
          </a:prstGeom>
        </p:spPr>
        <p:txBody>
          <a:bodyPr lIns="0" tIns="0" rIns="0" bIns="0"/>
          <a:lstStyle>
            <a:lvl1pPr algn="ctr">
              <a:buNone/>
              <a:defRPr sz="6000" b="1">
                <a:solidFill>
                  <a:srgbClr val="FFFFFF"/>
                </a:solidFill>
              </a:defRPr>
            </a:lvl1pPr>
            <a:lvl2pPr>
              <a:buNone/>
              <a:defRPr/>
            </a:lvl2pPr>
            <a:lvl3pPr>
              <a:buNone/>
              <a:defRPr/>
            </a:lvl3pPr>
            <a:lvl4pPr>
              <a:buNone/>
              <a:defRPr/>
            </a:lvl4pPr>
            <a:lvl5pPr>
              <a:buNone/>
              <a:defRPr/>
            </a:lvl5pPr>
          </a:lstStyle>
          <a:p>
            <a:pPr lvl="0"/>
            <a:r>
              <a:rPr lang="es-ES" dirty="0"/>
              <a:t>##%</a:t>
            </a:r>
            <a:endParaRPr lang="en-GB" dirty="0"/>
          </a:p>
        </p:txBody>
      </p:sp>
      <p:sp>
        <p:nvSpPr>
          <p:cNvPr id="20" name="Marcador de texto 5">
            <a:extLst>
              <a:ext uri="{FF2B5EF4-FFF2-40B4-BE49-F238E27FC236}">
                <a16:creationId xmlns:a16="http://schemas.microsoft.com/office/drawing/2014/main" id="{2C06ACCB-354C-3D41-AB30-002D49D29C60}"/>
              </a:ext>
            </a:extLst>
          </p:cNvPr>
          <p:cNvSpPr>
            <a:spLocks noGrp="1"/>
          </p:cNvSpPr>
          <p:nvPr>
            <p:ph type="body" sz="quarter" idx="13" hasCustomPrompt="1"/>
          </p:nvPr>
        </p:nvSpPr>
        <p:spPr>
          <a:xfrm>
            <a:off x="9022080" y="3106608"/>
            <a:ext cx="2463133" cy="787207"/>
          </a:xfrm>
          <a:prstGeom prst="rect">
            <a:avLst/>
          </a:prstGeom>
        </p:spPr>
        <p:txBody>
          <a:bodyPr lIns="0" tIns="0" rIns="0" bIns="0"/>
          <a:lstStyle>
            <a:lvl1pPr algn="ctr">
              <a:buNone/>
              <a:defRPr sz="6000" b="1">
                <a:solidFill>
                  <a:srgbClr val="FFFFFF"/>
                </a:solidFill>
              </a:defRPr>
            </a:lvl1pPr>
            <a:lvl2pPr>
              <a:buNone/>
              <a:defRPr/>
            </a:lvl2pPr>
            <a:lvl3pPr>
              <a:buNone/>
              <a:defRPr/>
            </a:lvl3pPr>
            <a:lvl4pPr>
              <a:buNone/>
              <a:defRPr/>
            </a:lvl4pPr>
            <a:lvl5pPr>
              <a:buNone/>
              <a:defRPr/>
            </a:lvl5pPr>
          </a:lstStyle>
          <a:p>
            <a:pPr lvl="0"/>
            <a:r>
              <a:rPr lang="es-ES" dirty="0"/>
              <a:t>##%</a:t>
            </a:r>
            <a:endParaRPr lang="en-GB" dirty="0"/>
          </a:p>
        </p:txBody>
      </p:sp>
      <p:sp>
        <p:nvSpPr>
          <p:cNvPr id="22" name="Marcador de texto 5">
            <a:extLst>
              <a:ext uri="{FF2B5EF4-FFF2-40B4-BE49-F238E27FC236}">
                <a16:creationId xmlns:a16="http://schemas.microsoft.com/office/drawing/2014/main" id="{55898699-B5C9-1042-AB4E-4107C11BB498}"/>
              </a:ext>
            </a:extLst>
          </p:cNvPr>
          <p:cNvSpPr>
            <a:spLocks noGrp="1"/>
          </p:cNvSpPr>
          <p:nvPr>
            <p:ph type="body" sz="quarter" idx="14" hasCustomPrompt="1"/>
          </p:nvPr>
        </p:nvSpPr>
        <p:spPr>
          <a:xfrm>
            <a:off x="9022080" y="4821943"/>
            <a:ext cx="2463133" cy="787207"/>
          </a:xfrm>
          <a:prstGeom prst="rect">
            <a:avLst/>
          </a:prstGeom>
        </p:spPr>
        <p:txBody>
          <a:bodyPr lIns="0" tIns="0" rIns="0" bIns="0"/>
          <a:lstStyle>
            <a:lvl1pPr algn="ctr">
              <a:buNone/>
              <a:defRPr sz="6000" b="1">
                <a:solidFill>
                  <a:srgbClr val="FFFFFF"/>
                </a:solidFill>
              </a:defRPr>
            </a:lvl1pPr>
            <a:lvl2pPr>
              <a:buNone/>
              <a:defRPr/>
            </a:lvl2pPr>
            <a:lvl3pPr>
              <a:buNone/>
              <a:defRPr/>
            </a:lvl3pPr>
            <a:lvl4pPr>
              <a:buNone/>
              <a:defRPr/>
            </a:lvl4pPr>
            <a:lvl5pPr>
              <a:buNone/>
              <a:defRPr/>
            </a:lvl5pPr>
          </a:lstStyle>
          <a:p>
            <a:pPr lvl="0"/>
            <a:r>
              <a:rPr lang="es-ES" dirty="0"/>
              <a:t>##%</a:t>
            </a:r>
            <a:endParaRPr lang="en-GB" dirty="0"/>
          </a:p>
        </p:txBody>
      </p:sp>
      <p:sp>
        <p:nvSpPr>
          <p:cNvPr id="4" name="Marcador de texto 3">
            <a:extLst>
              <a:ext uri="{FF2B5EF4-FFF2-40B4-BE49-F238E27FC236}">
                <a16:creationId xmlns:a16="http://schemas.microsoft.com/office/drawing/2014/main" id="{E8D5A004-570A-094C-B900-71EF2C9421F9}"/>
              </a:ext>
            </a:extLst>
          </p:cNvPr>
          <p:cNvSpPr>
            <a:spLocks noGrp="1"/>
          </p:cNvSpPr>
          <p:nvPr>
            <p:ph type="body" sz="quarter" idx="15" hasCustomPrompt="1"/>
          </p:nvPr>
        </p:nvSpPr>
        <p:spPr>
          <a:xfrm>
            <a:off x="9022080" y="2222453"/>
            <a:ext cx="2463712" cy="320400"/>
          </a:xfrm>
          <a:prstGeom prst="rect">
            <a:avLst/>
          </a:prstGeom>
        </p:spPr>
        <p:txBody>
          <a:bodyPr lIns="0" tIns="0" rIns="0" bIns="0"/>
          <a:lstStyle>
            <a:lvl1pPr algn="ctr">
              <a:buNone/>
              <a:defRPr sz="1200" b="1">
                <a:solidFill>
                  <a:srgbClr val="FFFFFF"/>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s-ES" dirty="0"/>
              <a:t>Text </a:t>
            </a:r>
            <a:r>
              <a:rPr lang="es-ES" dirty="0" err="1"/>
              <a:t>for</a:t>
            </a:r>
            <a:r>
              <a:rPr lang="es-ES" dirty="0"/>
              <a:t> </a:t>
            </a:r>
            <a:r>
              <a:rPr lang="es-ES" dirty="0" err="1"/>
              <a:t>relevant</a:t>
            </a:r>
            <a:r>
              <a:rPr lang="es-ES" dirty="0"/>
              <a:t> figure</a:t>
            </a:r>
            <a:endParaRPr lang="en-GB" dirty="0"/>
          </a:p>
        </p:txBody>
      </p:sp>
      <p:sp>
        <p:nvSpPr>
          <p:cNvPr id="15" name="Marcador de texto 2">
            <a:extLst>
              <a:ext uri="{FF2B5EF4-FFF2-40B4-BE49-F238E27FC236}">
                <a16:creationId xmlns:a16="http://schemas.microsoft.com/office/drawing/2014/main" id="{B0631F3F-D69C-4938-9C2D-8DBA1DF60BB1}"/>
              </a:ext>
            </a:extLst>
          </p:cNvPr>
          <p:cNvSpPr>
            <a:spLocks noGrp="1"/>
          </p:cNvSpPr>
          <p:nvPr>
            <p:ph type="body" idx="10" hasCustomPrompt="1"/>
          </p:nvPr>
        </p:nvSpPr>
        <p:spPr>
          <a:xfrm>
            <a:off x="368791" y="722639"/>
            <a:ext cx="7776000" cy="324000"/>
          </a:xfrm>
          <a:prstGeom prst="rect">
            <a:avLst/>
          </a:prstGeom>
        </p:spPr>
        <p:txBody>
          <a:bodyPr lIns="0" tIns="0" rIns="0" bIns="0" anchor="t"/>
          <a:lstStyle>
            <a:lvl1pPr marL="0" indent="0">
              <a:lnSpc>
                <a:spcPct val="100000"/>
              </a:lnSpc>
              <a:spcBef>
                <a:spcPts val="0"/>
              </a:spcBef>
              <a:buNone/>
              <a:defRPr sz="2000" b="0">
                <a:solidFill>
                  <a:srgbClr val="000000"/>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err="1"/>
              <a:t>Subtitle</a:t>
            </a:r>
            <a:endParaRPr lang="es-ES" dirty="0"/>
          </a:p>
        </p:txBody>
      </p:sp>
      <p:sp>
        <p:nvSpPr>
          <p:cNvPr id="8" name="Text Placeholder 7">
            <a:extLst>
              <a:ext uri="{FF2B5EF4-FFF2-40B4-BE49-F238E27FC236}">
                <a16:creationId xmlns:a16="http://schemas.microsoft.com/office/drawing/2014/main" id="{3A15B74D-3758-47B9-82C3-FFA884FCE23F}"/>
              </a:ext>
            </a:extLst>
          </p:cNvPr>
          <p:cNvSpPr>
            <a:spLocks noGrp="1"/>
          </p:cNvSpPr>
          <p:nvPr>
            <p:ph type="body" sz="quarter" idx="18"/>
          </p:nvPr>
        </p:nvSpPr>
        <p:spPr>
          <a:xfrm>
            <a:off x="368791" y="1396800"/>
            <a:ext cx="7419484" cy="4752000"/>
          </a:xfrm>
        </p:spPr>
        <p:txBody>
          <a:bodyPr/>
          <a:lstStyle>
            <a:lvl1pPr>
              <a:defRPr sz="1400"/>
            </a:lvl1pPr>
            <a:lvl2pPr>
              <a:defRPr sz="1400"/>
            </a:lvl2pPr>
            <a:lvl3pPr>
              <a:defRPr sz="1400"/>
            </a:lvl3pPr>
            <a:lvl4pPr>
              <a:defRPr sz="1400"/>
            </a:lvl4pPr>
            <a:lvl5pPr>
              <a:defRPr sz="1400"/>
            </a:lvl5pPr>
          </a:lstStyle>
          <a:p>
            <a:pPr lvl="0"/>
            <a:r>
              <a:rPr lang="en-US" dirty="0"/>
              <a:t>Click to edit Master text styles</a:t>
            </a:r>
          </a:p>
        </p:txBody>
      </p:sp>
      <p:sp>
        <p:nvSpPr>
          <p:cNvPr id="18" name="CuadroTexto 64">
            <a:extLst>
              <a:ext uri="{FF2B5EF4-FFF2-40B4-BE49-F238E27FC236}">
                <a16:creationId xmlns:a16="http://schemas.microsoft.com/office/drawing/2014/main" id="{7EEFB272-44BD-4440-81FD-B5BE8200048F}"/>
              </a:ext>
            </a:extLst>
          </p:cNvPr>
          <p:cNvSpPr txBox="1"/>
          <p:nvPr userDrawn="1"/>
        </p:nvSpPr>
        <p:spPr>
          <a:xfrm>
            <a:off x="10882303" y="6449284"/>
            <a:ext cx="936214" cy="138499"/>
          </a:xfrm>
          <a:prstGeom prst="rect">
            <a:avLst/>
          </a:prstGeom>
          <a:noFill/>
        </p:spPr>
        <p:txBody>
          <a:bodyPr wrap="square" lIns="0" tIns="0" rIns="0" bIns="0" rtlCol="0">
            <a:spAutoFit/>
          </a:bodyPr>
          <a:lstStyle/>
          <a:p>
            <a:pPr algn="r"/>
            <a:fld id="{A4EEDD72-1D6A-6B46-BCFA-C211F73E9379}" type="slidenum">
              <a:rPr lang="es-ES" sz="900" b="1" smtClean="0">
                <a:solidFill>
                  <a:srgbClr val="FFFFFF"/>
                </a:solidFill>
                <a:latin typeface="+mj-lt"/>
                <a:ea typeface="Verdana" panose="020B0604030504040204" pitchFamily="34" charset="0"/>
                <a:cs typeface="Verdana" panose="020B0604030504040204" pitchFamily="34" charset="0"/>
              </a:rPr>
              <a:pPr algn="r"/>
              <a:t>‹N›</a:t>
            </a:fld>
            <a:endParaRPr lang="es-ES" sz="900" b="1" dirty="0">
              <a:solidFill>
                <a:srgbClr val="FFFFFF"/>
              </a:solidFill>
              <a:latin typeface="+mj-lt"/>
              <a:ea typeface="Verdana" panose="020B0604030504040204" pitchFamily="34" charset="0"/>
              <a:cs typeface="Verdana" panose="020B0604030504040204" pitchFamily="34" charset="0"/>
            </a:endParaRPr>
          </a:p>
        </p:txBody>
      </p:sp>
      <p:sp>
        <p:nvSpPr>
          <p:cNvPr id="9" name="Title 8">
            <a:extLst>
              <a:ext uri="{FF2B5EF4-FFF2-40B4-BE49-F238E27FC236}">
                <a16:creationId xmlns:a16="http://schemas.microsoft.com/office/drawing/2014/main" id="{965B48A6-C16F-42F8-ABA4-E292AD3ADAB5}"/>
              </a:ext>
            </a:extLst>
          </p:cNvPr>
          <p:cNvSpPr>
            <a:spLocks noGrp="1"/>
          </p:cNvSpPr>
          <p:nvPr>
            <p:ph type="title"/>
          </p:nvPr>
        </p:nvSpPr>
        <p:spPr>
          <a:xfrm>
            <a:off x="367201" y="252000"/>
            <a:ext cx="7776000" cy="432000"/>
          </a:xfrm>
        </p:spPr>
        <p:txBody>
          <a:bodyPr/>
          <a:lstStyle/>
          <a:p>
            <a:r>
              <a:rPr lang="en-US"/>
              <a:t>Click to edit Master title style</a:t>
            </a:r>
          </a:p>
        </p:txBody>
      </p:sp>
      <p:pic>
        <p:nvPicPr>
          <p:cNvPr id="21" name="Graphic 10">
            <a:extLst>
              <a:ext uri="{FF2B5EF4-FFF2-40B4-BE49-F238E27FC236}">
                <a16:creationId xmlns:a16="http://schemas.microsoft.com/office/drawing/2014/main" id="{B6011187-AA8E-452B-973C-511891D6AD7A}"/>
              </a:ext>
            </a:extLst>
          </p:cNvPr>
          <p:cNvPicPr>
            <a:picLocks noChangeAspect="1"/>
          </p:cNvPicPr>
          <p:nvPr userDrawn="1"/>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70517" y="6420188"/>
            <a:ext cx="675863" cy="162467"/>
          </a:xfrm>
          <a:prstGeom prst="rect">
            <a:avLst/>
          </a:prstGeom>
        </p:spPr>
      </p:pic>
      <p:sp>
        <p:nvSpPr>
          <p:cNvPr id="25" name="Footer Placeholder 4">
            <a:extLst>
              <a:ext uri="{FF2B5EF4-FFF2-40B4-BE49-F238E27FC236}">
                <a16:creationId xmlns:a16="http://schemas.microsoft.com/office/drawing/2014/main" id="{CC029E2A-DFFC-4B75-B6F0-0C25FC762DE1}"/>
              </a:ext>
            </a:extLst>
          </p:cNvPr>
          <p:cNvSpPr txBox="1"/>
          <p:nvPr userDrawn="1"/>
        </p:nvSpPr>
        <p:spPr>
          <a:xfrm>
            <a:off x="5361433" y="6449284"/>
            <a:ext cx="1475068" cy="133372"/>
          </a:xfrm>
          <a:prstGeom prst="rect">
            <a:avLst/>
          </a:prstGeom>
        </p:spPr>
        <p:txBody>
          <a:bodyPr vert="horz" lIns="0" tIns="0" rIns="0" bIns="0" rtlCol="0" anchor="t" anchorCtr="0">
            <a:noAutofit/>
          </a:bodyPr>
          <a:lstStyle>
            <a:defPPr>
              <a:defRPr lang="es-ES"/>
            </a:defPPr>
            <a:lvl1pPr marL="0" algn="l" defTabSz="914400" rtl="0" eaLnBrk="1" latinLnBrk="0" hangingPunct="1">
              <a:defRPr sz="9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dirty="0">
                <a:solidFill>
                  <a:schemeClr val="tx2"/>
                </a:solidFill>
                <a:ea typeface="Arial" charset="0"/>
                <a:cs typeface="Arial" charset="0"/>
              </a:rPr>
              <a:t>Adecco.com</a:t>
            </a:r>
          </a:p>
        </p:txBody>
      </p:sp>
      <p:sp>
        <p:nvSpPr>
          <p:cNvPr id="17" name="Rectangle 16">
            <a:extLst>
              <a:ext uri="{FF2B5EF4-FFF2-40B4-BE49-F238E27FC236}">
                <a16:creationId xmlns:a16="http://schemas.microsoft.com/office/drawing/2014/main" id="{0FEE3E05-632C-4DDC-A133-15B8F2C0C3F5}"/>
              </a:ext>
            </a:extLst>
          </p:cNvPr>
          <p:cNvSpPr/>
          <p:nvPr userDrawn="1"/>
        </p:nvSpPr>
        <p:spPr>
          <a:xfrm>
            <a:off x="3051745"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9" name="Rectangle 18">
            <a:extLst>
              <a:ext uri="{FF2B5EF4-FFF2-40B4-BE49-F238E27FC236}">
                <a16:creationId xmlns:a16="http://schemas.microsoft.com/office/drawing/2014/main" id="{FADC65A8-BDC8-44D6-801E-0FD122A63B95}"/>
              </a:ext>
            </a:extLst>
          </p:cNvPr>
          <p:cNvSpPr/>
          <p:nvPr userDrawn="1"/>
        </p:nvSpPr>
        <p:spPr>
          <a:xfrm>
            <a:off x="7490"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3" name="Rectangle 22">
            <a:extLst>
              <a:ext uri="{FF2B5EF4-FFF2-40B4-BE49-F238E27FC236}">
                <a16:creationId xmlns:a16="http://schemas.microsoft.com/office/drawing/2014/main" id="{A771523B-DF2A-41A4-B819-C4FC3788E2AD}"/>
              </a:ext>
            </a:extLst>
          </p:cNvPr>
          <p:cNvSpPr/>
          <p:nvPr userDrawn="1"/>
        </p:nvSpPr>
        <p:spPr>
          <a:xfrm>
            <a:off x="9149414"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4" name="Rectangle 23">
            <a:extLst>
              <a:ext uri="{FF2B5EF4-FFF2-40B4-BE49-F238E27FC236}">
                <a16:creationId xmlns:a16="http://schemas.microsoft.com/office/drawing/2014/main" id="{F57AB59D-D91E-4CC8-B445-EF92BA8BFA59}"/>
              </a:ext>
            </a:extLst>
          </p:cNvPr>
          <p:cNvSpPr/>
          <p:nvPr userDrawn="1"/>
        </p:nvSpPr>
        <p:spPr>
          <a:xfrm>
            <a:off x="6105159"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6" name="Marcador de texto 3">
            <a:extLst>
              <a:ext uri="{FF2B5EF4-FFF2-40B4-BE49-F238E27FC236}">
                <a16:creationId xmlns:a16="http://schemas.microsoft.com/office/drawing/2014/main" id="{05702D13-A071-4F50-ABE0-38DA1972E083}"/>
              </a:ext>
            </a:extLst>
          </p:cNvPr>
          <p:cNvSpPr>
            <a:spLocks noGrp="1"/>
          </p:cNvSpPr>
          <p:nvPr>
            <p:ph type="body" sz="quarter" idx="19" hasCustomPrompt="1"/>
          </p:nvPr>
        </p:nvSpPr>
        <p:spPr>
          <a:xfrm>
            <a:off x="9022080" y="2432899"/>
            <a:ext cx="2463712" cy="320400"/>
          </a:xfrm>
          <a:prstGeom prst="rect">
            <a:avLst/>
          </a:prstGeom>
        </p:spPr>
        <p:txBody>
          <a:bodyPr lIns="0" tIns="0" rIns="0" bIns="0"/>
          <a:lstStyle>
            <a:lvl1pPr algn="ctr">
              <a:buNone/>
              <a:defRPr sz="1000" b="0">
                <a:solidFill>
                  <a:srgbClr val="FFFFFF"/>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s-ES" dirty="0"/>
              <a:t>Text </a:t>
            </a:r>
            <a:r>
              <a:rPr lang="es-ES" dirty="0" err="1"/>
              <a:t>for</a:t>
            </a:r>
            <a:r>
              <a:rPr lang="es-ES" dirty="0"/>
              <a:t> </a:t>
            </a:r>
            <a:r>
              <a:rPr lang="es-ES" dirty="0" err="1"/>
              <a:t>relevant</a:t>
            </a:r>
            <a:r>
              <a:rPr lang="es-ES" dirty="0"/>
              <a:t> figure</a:t>
            </a:r>
            <a:endParaRPr lang="en-GB" dirty="0"/>
          </a:p>
        </p:txBody>
      </p:sp>
      <p:sp>
        <p:nvSpPr>
          <p:cNvPr id="27" name="Marcador de texto 3">
            <a:extLst>
              <a:ext uri="{FF2B5EF4-FFF2-40B4-BE49-F238E27FC236}">
                <a16:creationId xmlns:a16="http://schemas.microsoft.com/office/drawing/2014/main" id="{EA3DA224-356F-40D5-8E34-0E77F638B039}"/>
              </a:ext>
            </a:extLst>
          </p:cNvPr>
          <p:cNvSpPr>
            <a:spLocks noGrp="1"/>
          </p:cNvSpPr>
          <p:nvPr>
            <p:ph type="body" sz="quarter" idx="20" hasCustomPrompt="1"/>
          </p:nvPr>
        </p:nvSpPr>
        <p:spPr>
          <a:xfrm>
            <a:off x="9028485" y="3950669"/>
            <a:ext cx="2463712" cy="320400"/>
          </a:xfrm>
          <a:prstGeom prst="rect">
            <a:avLst/>
          </a:prstGeom>
        </p:spPr>
        <p:txBody>
          <a:bodyPr lIns="0" tIns="0" rIns="0" bIns="0"/>
          <a:lstStyle>
            <a:lvl1pPr algn="ctr">
              <a:buNone/>
              <a:defRPr sz="1200" b="1">
                <a:solidFill>
                  <a:srgbClr val="FFFFFF"/>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s-ES" dirty="0"/>
              <a:t>Text </a:t>
            </a:r>
            <a:r>
              <a:rPr lang="es-ES" dirty="0" err="1"/>
              <a:t>for</a:t>
            </a:r>
            <a:r>
              <a:rPr lang="es-ES" dirty="0"/>
              <a:t> </a:t>
            </a:r>
            <a:r>
              <a:rPr lang="es-ES" dirty="0" err="1"/>
              <a:t>relevant</a:t>
            </a:r>
            <a:r>
              <a:rPr lang="es-ES" dirty="0"/>
              <a:t> figure</a:t>
            </a:r>
            <a:endParaRPr lang="en-GB" dirty="0"/>
          </a:p>
        </p:txBody>
      </p:sp>
      <p:sp>
        <p:nvSpPr>
          <p:cNvPr id="28" name="Marcador de texto 3">
            <a:extLst>
              <a:ext uri="{FF2B5EF4-FFF2-40B4-BE49-F238E27FC236}">
                <a16:creationId xmlns:a16="http://schemas.microsoft.com/office/drawing/2014/main" id="{2C295525-373B-4608-BC46-0F238113467A}"/>
              </a:ext>
            </a:extLst>
          </p:cNvPr>
          <p:cNvSpPr>
            <a:spLocks noGrp="1"/>
          </p:cNvSpPr>
          <p:nvPr>
            <p:ph type="body" sz="quarter" idx="21" hasCustomPrompt="1"/>
          </p:nvPr>
        </p:nvSpPr>
        <p:spPr>
          <a:xfrm>
            <a:off x="9028485" y="4161115"/>
            <a:ext cx="2463712" cy="320400"/>
          </a:xfrm>
          <a:prstGeom prst="rect">
            <a:avLst/>
          </a:prstGeom>
        </p:spPr>
        <p:txBody>
          <a:bodyPr lIns="0" tIns="0" rIns="0" bIns="0"/>
          <a:lstStyle>
            <a:lvl1pPr algn="ctr">
              <a:buNone/>
              <a:defRPr lang="en-GB" sz="1000" b="0" i="0" kern="1200" dirty="0">
                <a:solidFill>
                  <a:srgbClr val="FFFFFF"/>
                </a:solidFill>
                <a:latin typeface="+mn-lt"/>
                <a:ea typeface="+mn-ea"/>
                <a:cs typeface="+mn-cs"/>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marL="0" lvl="0" indent="0" algn="ctr" defTabSz="914400" rtl="0" eaLnBrk="1" latinLnBrk="0" hangingPunct="1">
              <a:lnSpc>
                <a:spcPct val="90000"/>
              </a:lnSpc>
              <a:spcBef>
                <a:spcPts val="1800"/>
              </a:spcBef>
              <a:buFontTx/>
              <a:buNone/>
            </a:pPr>
            <a:r>
              <a:rPr lang="es-ES" dirty="0"/>
              <a:t>Text </a:t>
            </a:r>
            <a:r>
              <a:rPr lang="es-ES" dirty="0" err="1"/>
              <a:t>for</a:t>
            </a:r>
            <a:r>
              <a:rPr lang="es-ES" dirty="0"/>
              <a:t> </a:t>
            </a:r>
            <a:r>
              <a:rPr lang="es-ES" dirty="0" err="1"/>
              <a:t>relevant</a:t>
            </a:r>
            <a:r>
              <a:rPr lang="es-ES" dirty="0"/>
              <a:t> figure</a:t>
            </a:r>
            <a:endParaRPr lang="en-GB" dirty="0"/>
          </a:p>
        </p:txBody>
      </p:sp>
      <p:sp>
        <p:nvSpPr>
          <p:cNvPr id="29" name="Marcador de texto 3">
            <a:extLst>
              <a:ext uri="{FF2B5EF4-FFF2-40B4-BE49-F238E27FC236}">
                <a16:creationId xmlns:a16="http://schemas.microsoft.com/office/drawing/2014/main" id="{0034B3ED-D51C-4ACC-8EBF-1DB7F1109E06}"/>
              </a:ext>
            </a:extLst>
          </p:cNvPr>
          <p:cNvSpPr>
            <a:spLocks noGrp="1"/>
          </p:cNvSpPr>
          <p:nvPr>
            <p:ph type="body" sz="quarter" idx="22" hasCustomPrompt="1"/>
          </p:nvPr>
        </p:nvSpPr>
        <p:spPr>
          <a:xfrm>
            <a:off x="9022080" y="5649955"/>
            <a:ext cx="2463712" cy="320400"/>
          </a:xfrm>
          <a:prstGeom prst="rect">
            <a:avLst/>
          </a:prstGeom>
        </p:spPr>
        <p:txBody>
          <a:bodyPr lIns="0" tIns="0" rIns="0" bIns="0"/>
          <a:lstStyle>
            <a:lvl1pPr algn="ctr">
              <a:buNone/>
              <a:defRPr sz="1200" b="1">
                <a:solidFill>
                  <a:srgbClr val="FFFFFF"/>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s-ES" dirty="0"/>
              <a:t>Text </a:t>
            </a:r>
            <a:r>
              <a:rPr lang="es-ES" dirty="0" err="1"/>
              <a:t>for</a:t>
            </a:r>
            <a:r>
              <a:rPr lang="es-ES" dirty="0"/>
              <a:t> </a:t>
            </a:r>
            <a:r>
              <a:rPr lang="es-ES" dirty="0" err="1"/>
              <a:t>relevant</a:t>
            </a:r>
            <a:r>
              <a:rPr lang="es-ES" dirty="0"/>
              <a:t> figure</a:t>
            </a:r>
            <a:endParaRPr lang="en-GB" dirty="0"/>
          </a:p>
        </p:txBody>
      </p:sp>
      <p:sp>
        <p:nvSpPr>
          <p:cNvPr id="30" name="Marcador de texto 3">
            <a:extLst>
              <a:ext uri="{FF2B5EF4-FFF2-40B4-BE49-F238E27FC236}">
                <a16:creationId xmlns:a16="http://schemas.microsoft.com/office/drawing/2014/main" id="{AE6FCF19-BEA9-4AB0-B7C0-A66022594C9D}"/>
              </a:ext>
            </a:extLst>
          </p:cNvPr>
          <p:cNvSpPr>
            <a:spLocks noGrp="1"/>
          </p:cNvSpPr>
          <p:nvPr>
            <p:ph type="body" sz="quarter" idx="23" hasCustomPrompt="1"/>
          </p:nvPr>
        </p:nvSpPr>
        <p:spPr>
          <a:xfrm>
            <a:off x="9022080" y="5860401"/>
            <a:ext cx="2463712" cy="320400"/>
          </a:xfrm>
          <a:prstGeom prst="rect">
            <a:avLst/>
          </a:prstGeom>
        </p:spPr>
        <p:txBody>
          <a:bodyPr lIns="0" tIns="0" rIns="0" bIns="0"/>
          <a:lstStyle>
            <a:lvl1pPr algn="ctr">
              <a:buNone/>
              <a:defRPr lang="en-GB" sz="1000" b="0" i="0" kern="1200" dirty="0">
                <a:solidFill>
                  <a:srgbClr val="FFFFFF"/>
                </a:solidFill>
                <a:latin typeface="+mn-lt"/>
                <a:ea typeface="+mn-ea"/>
                <a:cs typeface="+mn-cs"/>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marL="0" lvl="0" indent="0" algn="ctr" defTabSz="914400" rtl="0" eaLnBrk="1" latinLnBrk="0" hangingPunct="1">
              <a:lnSpc>
                <a:spcPct val="90000"/>
              </a:lnSpc>
              <a:spcBef>
                <a:spcPts val="1800"/>
              </a:spcBef>
              <a:buFontTx/>
              <a:buNone/>
            </a:pPr>
            <a:r>
              <a:rPr lang="es-ES" dirty="0"/>
              <a:t>Text </a:t>
            </a:r>
            <a:r>
              <a:rPr lang="es-ES" dirty="0" err="1"/>
              <a:t>for</a:t>
            </a:r>
            <a:r>
              <a:rPr lang="es-ES" dirty="0"/>
              <a:t> </a:t>
            </a:r>
            <a:r>
              <a:rPr lang="es-ES" dirty="0" err="1"/>
              <a:t>relevant</a:t>
            </a:r>
            <a:r>
              <a:rPr lang="es-ES" dirty="0"/>
              <a:t> figure</a:t>
            </a:r>
            <a:endParaRPr lang="en-GB" dirty="0"/>
          </a:p>
        </p:txBody>
      </p:sp>
    </p:spTree>
    <p:extLst>
      <p:ext uri="{BB962C8B-B14F-4D97-AF65-F5344CB8AC3E}">
        <p14:creationId xmlns:p14="http://schemas.microsoft.com/office/powerpoint/2010/main" val="126722955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2_Text + relevant figures+straigh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18526C9-16E3-4A1D-828A-4692734F055E}"/>
              </a:ext>
            </a:extLst>
          </p:cNvPr>
          <p:cNvGraphicFramePr>
            <a:graphicFrameLocks noChangeAspect="1"/>
          </p:cNvGraphicFramePr>
          <p:nvPr userDrawn="1">
            <p:custDataLst>
              <p:tags r:id="rId2"/>
            </p:custDataLst>
            <p:extLst>
              <p:ext uri="{D42A27DB-BD31-4B8C-83A1-F6EECF244321}">
                <p14:modId xmlns:p14="http://schemas.microsoft.com/office/powerpoint/2010/main" val="40522875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32" name="think-cell Slide" r:id="rId5" imgW="473" imgH="474" progId="TCLayout.ActiveDocument.1">
                  <p:embed/>
                </p:oleObj>
              </mc:Choice>
              <mc:Fallback>
                <p:oleObj name="think-cell Slide" r:id="rId5" imgW="473" imgH="474" progId="TCLayout.ActiveDocument.1">
                  <p:embed/>
                  <p:pic>
                    <p:nvPicPr>
                      <p:cNvPr id="3" name="Object 2" hidden="1">
                        <a:extLst>
                          <a:ext uri="{FF2B5EF4-FFF2-40B4-BE49-F238E27FC236}">
                            <a16:creationId xmlns:a16="http://schemas.microsoft.com/office/drawing/2014/main" id="{C18526C9-16E3-4A1D-828A-4692734F055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B2B384D-A05A-4439-838E-B66DA57DCB38}"/>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Verdana" panose="020B0604030504040204" pitchFamily="34" charset="0"/>
              <a:ea typeface="+mj-ea"/>
              <a:cs typeface="+mj-cs"/>
              <a:sym typeface="Verdana" panose="020B0604030504040204" pitchFamily="34" charset="0"/>
            </a:endParaRPr>
          </a:p>
        </p:txBody>
      </p:sp>
      <p:sp>
        <p:nvSpPr>
          <p:cNvPr id="2" name="Rectángulo 1">
            <a:extLst>
              <a:ext uri="{FF2B5EF4-FFF2-40B4-BE49-F238E27FC236}">
                <a16:creationId xmlns:a16="http://schemas.microsoft.com/office/drawing/2014/main" id="{BF29E734-210D-BC45-815B-FC427C40A195}"/>
              </a:ext>
            </a:extLst>
          </p:cNvPr>
          <p:cNvSpPr/>
          <p:nvPr userDrawn="1"/>
        </p:nvSpPr>
        <p:spPr>
          <a:xfrm>
            <a:off x="8435975" y="0"/>
            <a:ext cx="3756025" cy="6858000"/>
          </a:xfrm>
          <a:prstGeom prst="rect">
            <a:avLst/>
          </a:prstGeom>
          <a:gradFill>
            <a:gsLst>
              <a:gs pos="0">
                <a:schemeClr val="accent1"/>
              </a:gs>
              <a:gs pos="100000">
                <a:schemeClr val="accent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accent4"/>
              </a:solidFill>
            </a:endParaRPr>
          </a:p>
        </p:txBody>
      </p:sp>
      <p:sp>
        <p:nvSpPr>
          <p:cNvPr id="15" name="Marcador de texto 2">
            <a:extLst>
              <a:ext uri="{FF2B5EF4-FFF2-40B4-BE49-F238E27FC236}">
                <a16:creationId xmlns:a16="http://schemas.microsoft.com/office/drawing/2014/main" id="{B0631F3F-D69C-4938-9C2D-8DBA1DF60BB1}"/>
              </a:ext>
            </a:extLst>
          </p:cNvPr>
          <p:cNvSpPr>
            <a:spLocks noGrp="1"/>
          </p:cNvSpPr>
          <p:nvPr>
            <p:ph type="body" idx="10" hasCustomPrompt="1"/>
          </p:nvPr>
        </p:nvSpPr>
        <p:spPr>
          <a:xfrm>
            <a:off x="368791" y="722639"/>
            <a:ext cx="7776000" cy="324000"/>
          </a:xfrm>
          <a:prstGeom prst="rect">
            <a:avLst/>
          </a:prstGeom>
        </p:spPr>
        <p:txBody>
          <a:bodyPr lIns="0" tIns="0" rIns="0" bIns="0" anchor="t"/>
          <a:lstStyle>
            <a:lvl1pPr marL="0" indent="0">
              <a:lnSpc>
                <a:spcPct val="100000"/>
              </a:lnSpc>
              <a:spcBef>
                <a:spcPts val="0"/>
              </a:spcBef>
              <a:buNone/>
              <a:defRPr sz="2000" b="0">
                <a:solidFill>
                  <a:srgbClr val="000000"/>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err="1"/>
              <a:t>Subtitle</a:t>
            </a:r>
            <a:endParaRPr lang="es-ES" dirty="0"/>
          </a:p>
        </p:txBody>
      </p:sp>
      <p:sp>
        <p:nvSpPr>
          <p:cNvPr id="8" name="Text Placeholder 7">
            <a:extLst>
              <a:ext uri="{FF2B5EF4-FFF2-40B4-BE49-F238E27FC236}">
                <a16:creationId xmlns:a16="http://schemas.microsoft.com/office/drawing/2014/main" id="{3A15B74D-3758-47B9-82C3-FFA884FCE23F}"/>
              </a:ext>
            </a:extLst>
          </p:cNvPr>
          <p:cNvSpPr>
            <a:spLocks noGrp="1"/>
          </p:cNvSpPr>
          <p:nvPr>
            <p:ph type="body" sz="quarter" idx="18"/>
          </p:nvPr>
        </p:nvSpPr>
        <p:spPr>
          <a:xfrm>
            <a:off x="368791" y="1396800"/>
            <a:ext cx="7776000" cy="2032200"/>
          </a:xfrm>
        </p:spPr>
        <p:txBody>
          <a:bodyPr/>
          <a:lstStyle>
            <a:lvl1pPr>
              <a:defRPr sz="1400"/>
            </a:lvl1pPr>
            <a:lvl2pPr>
              <a:defRPr sz="1400"/>
            </a:lvl2pPr>
            <a:lvl3pPr>
              <a:defRPr sz="1400"/>
            </a:lvl3pPr>
            <a:lvl4pPr>
              <a:defRPr sz="1400"/>
            </a:lvl4pPr>
            <a:lvl5pPr>
              <a:defRPr sz="1400"/>
            </a:lvl5pPr>
          </a:lstStyle>
          <a:p>
            <a:pPr lvl="0"/>
            <a:r>
              <a:rPr lang="en-US" dirty="0"/>
              <a:t>Click to edit Master text styles</a:t>
            </a:r>
          </a:p>
        </p:txBody>
      </p:sp>
      <p:sp>
        <p:nvSpPr>
          <p:cNvPr id="18" name="CuadroTexto 64">
            <a:extLst>
              <a:ext uri="{FF2B5EF4-FFF2-40B4-BE49-F238E27FC236}">
                <a16:creationId xmlns:a16="http://schemas.microsoft.com/office/drawing/2014/main" id="{7EEFB272-44BD-4440-81FD-B5BE8200048F}"/>
              </a:ext>
            </a:extLst>
          </p:cNvPr>
          <p:cNvSpPr txBox="1"/>
          <p:nvPr userDrawn="1"/>
        </p:nvSpPr>
        <p:spPr>
          <a:xfrm>
            <a:off x="10882303" y="6449284"/>
            <a:ext cx="936214" cy="138499"/>
          </a:xfrm>
          <a:prstGeom prst="rect">
            <a:avLst/>
          </a:prstGeom>
          <a:noFill/>
        </p:spPr>
        <p:txBody>
          <a:bodyPr wrap="square" lIns="0" tIns="0" rIns="0" bIns="0" rtlCol="0">
            <a:spAutoFit/>
          </a:bodyPr>
          <a:lstStyle/>
          <a:p>
            <a:pPr algn="r"/>
            <a:fld id="{A4EEDD72-1D6A-6B46-BCFA-C211F73E9379}" type="slidenum">
              <a:rPr lang="es-ES" sz="900" b="1" smtClean="0">
                <a:solidFill>
                  <a:srgbClr val="FFFFFF"/>
                </a:solidFill>
                <a:latin typeface="Verdana" panose="020B0604030504040204" pitchFamily="34" charset="0"/>
                <a:ea typeface="Verdana" panose="020B0604030504040204" pitchFamily="34" charset="0"/>
                <a:cs typeface="Verdana" panose="020B0604030504040204" pitchFamily="34" charset="0"/>
              </a:rPr>
              <a:pPr algn="r"/>
              <a:t>‹N›</a:t>
            </a:fld>
            <a:endParaRPr lang="es-ES" sz="900" b="1" dirty="0">
              <a:solidFill>
                <a:srgbClr val="FFFFFF"/>
              </a:solidFill>
              <a:latin typeface="Verdana" panose="020B0604030504040204" pitchFamily="34" charset="0"/>
              <a:ea typeface="Verdana" panose="020B0604030504040204" pitchFamily="34" charset="0"/>
              <a:cs typeface="Verdana" panose="020B0604030504040204" pitchFamily="34" charset="0"/>
            </a:endParaRPr>
          </a:p>
        </p:txBody>
      </p:sp>
      <p:sp>
        <p:nvSpPr>
          <p:cNvPr id="9" name="Title 8">
            <a:extLst>
              <a:ext uri="{FF2B5EF4-FFF2-40B4-BE49-F238E27FC236}">
                <a16:creationId xmlns:a16="http://schemas.microsoft.com/office/drawing/2014/main" id="{965B48A6-C16F-42F8-ABA4-E292AD3ADAB5}"/>
              </a:ext>
            </a:extLst>
          </p:cNvPr>
          <p:cNvSpPr>
            <a:spLocks noGrp="1"/>
          </p:cNvSpPr>
          <p:nvPr>
            <p:ph type="title"/>
          </p:nvPr>
        </p:nvSpPr>
        <p:spPr>
          <a:xfrm>
            <a:off x="367201" y="252000"/>
            <a:ext cx="7776000" cy="432000"/>
          </a:xfrm>
        </p:spPr>
        <p:txBody>
          <a:bodyPr/>
          <a:lstStyle/>
          <a:p>
            <a:r>
              <a:rPr lang="en-US"/>
              <a:t>Click to edit Master title style</a:t>
            </a:r>
          </a:p>
        </p:txBody>
      </p:sp>
      <p:pic>
        <p:nvPicPr>
          <p:cNvPr id="21" name="Graphic 10">
            <a:extLst>
              <a:ext uri="{FF2B5EF4-FFF2-40B4-BE49-F238E27FC236}">
                <a16:creationId xmlns:a16="http://schemas.microsoft.com/office/drawing/2014/main" id="{B6011187-AA8E-452B-973C-511891D6AD7A}"/>
              </a:ext>
            </a:extLst>
          </p:cNvPr>
          <p:cNvPicPr>
            <a:picLocks noChangeAspect="1"/>
          </p:cNvPicPr>
          <p:nvPr userDrawn="1"/>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70517" y="6420188"/>
            <a:ext cx="675863" cy="162467"/>
          </a:xfrm>
          <a:prstGeom prst="rect">
            <a:avLst/>
          </a:prstGeom>
        </p:spPr>
      </p:pic>
      <p:sp>
        <p:nvSpPr>
          <p:cNvPr id="25" name="Footer Placeholder 4">
            <a:extLst>
              <a:ext uri="{FF2B5EF4-FFF2-40B4-BE49-F238E27FC236}">
                <a16:creationId xmlns:a16="http://schemas.microsoft.com/office/drawing/2014/main" id="{CC029E2A-DFFC-4B75-B6F0-0C25FC762DE1}"/>
              </a:ext>
            </a:extLst>
          </p:cNvPr>
          <p:cNvSpPr txBox="1"/>
          <p:nvPr userDrawn="1"/>
        </p:nvSpPr>
        <p:spPr>
          <a:xfrm>
            <a:off x="5361433" y="6449284"/>
            <a:ext cx="1475068" cy="133372"/>
          </a:xfrm>
          <a:prstGeom prst="rect">
            <a:avLst/>
          </a:prstGeom>
        </p:spPr>
        <p:txBody>
          <a:bodyPr vert="horz" lIns="0" tIns="0" rIns="0" bIns="0" rtlCol="0" anchor="t" anchorCtr="0">
            <a:noAutofit/>
          </a:bodyPr>
          <a:lstStyle>
            <a:defPPr>
              <a:defRPr lang="es-ES"/>
            </a:defPPr>
            <a:lvl1pPr marL="0" algn="l" defTabSz="914400" rtl="0" eaLnBrk="1" latinLnBrk="0" hangingPunct="1">
              <a:defRPr sz="9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dirty="0">
                <a:solidFill>
                  <a:schemeClr val="tx2"/>
                </a:solidFill>
                <a:ea typeface="Arial" charset="0"/>
                <a:cs typeface="Arial" charset="0"/>
              </a:rPr>
              <a:t>Adecco.com</a:t>
            </a:r>
          </a:p>
        </p:txBody>
      </p:sp>
      <p:sp>
        <p:nvSpPr>
          <p:cNvPr id="17" name="Rectangle 16">
            <a:extLst>
              <a:ext uri="{FF2B5EF4-FFF2-40B4-BE49-F238E27FC236}">
                <a16:creationId xmlns:a16="http://schemas.microsoft.com/office/drawing/2014/main" id="{0FEE3E05-632C-4DDC-A133-15B8F2C0C3F5}"/>
              </a:ext>
            </a:extLst>
          </p:cNvPr>
          <p:cNvSpPr/>
          <p:nvPr userDrawn="1"/>
        </p:nvSpPr>
        <p:spPr>
          <a:xfrm>
            <a:off x="3051745"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9" name="Rectangle 18">
            <a:extLst>
              <a:ext uri="{FF2B5EF4-FFF2-40B4-BE49-F238E27FC236}">
                <a16:creationId xmlns:a16="http://schemas.microsoft.com/office/drawing/2014/main" id="{FADC65A8-BDC8-44D6-801E-0FD122A63B95}"/>
              </a:ext>
            </a:extLst>
          </p:cNvPr>
          <p:cNvSpPr/>
          <p:nvPr userDrawn="1"/>
        </p:nvSpPr>
        <p:spPr>
          <a:xfrm>
            <a:off x="7490"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3" name="Rectangle 22">
            <a:extLst>
              <a:ext uri="{FF2B5EF4-FFF2-40B4-BE49-F238E27FC236}">
                <a16:creationId xmlns:a16="http://schemas.microsoft.com/office/drawing/2014/main" id="{A771523B-DF2A-41A4-B819-C4FC3788E2AD}"/>
              </a:ext>
            </a:extLst>
          </p:cNvPr>
          <p:cNvSpPr/>
          <p:nvPr userDrawn="1"/>
        </p:nvSpPr>
        <p:spPr>
          <a:xfrm>
            <a:off x="9149414"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4" name="Rectangle 23">
            <a:extLst>
              <a:ext uri="{FF2B5EF4-FFF2-40B4-BE49-F238E27FC236}">
                <a16:creationId xmlns:a16="http://schemas.microsoft.com/office/drawing/2014/main" id="{F57AB59D-D91E-4CC8-B445-EF92BA8BFA59}"/>
              </a:ext>
            </a:extLst>
          </p:cNvPr>
          <p:cNvSpPr/>
          <p:nvPr userDrawn="1"/>
        </p:nvSpPr>
        <p:spPr>
          <a:xfrm>
            <a:off x="6105159"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1" name="Text Placeholder 7">
            <a:extLst>
              <a:ext uri="{FF2B5EF4-FFF2-40B4-BE49-F238E27FC236}">
                <a16:creationId xmlns:a16="http://schemas.microsoft.com/office/drawing/2014/main" id="{ECB5D42B-91CA-4DF6-9247-6B6F309CF2A4}"/>
              </a:ext>
            </a:extLst>
          </p:cNvPr>
          <p:cNvSpPr>
            <a:spLocks noGrp="1"/>
          </p:cNvSpPr>
          <p:nvPr>
            <p:ph type="body" sz="quarter" idx="24"/>
          </p:nvPr>
        </p:nvSpPr>
        <p:spPr>
          <a:xfrm>
            <a:off x="947738" y="3675188"/>
            <a:ext cx="7191982" cy="391735"/>
          </a:xfrm>
        </p:spPr>
        <p:txBody>
          <a:bodyPr/>
          <a:lstStyle>
            <a:lvl1pPr>
              <a:defRPr sz="1400" b="1"/>
            </a:lvl1pPr>
            <a:lvl2pPr>
              <a:defRPr sz="1400"/>
            </a:lvl2pPr>
            <a:lvl3pPr>
              <a:defRPr sz="1400"/>
            </a:lvl3pPr>
            <a:lvl4pPr>
              <a:defRPr sz="1400"/>
            </a:lvl4pPr>
            <a:lvl5pPr>
              <a:defRPr sz="1400"/>
            </a:lvl5pPr>
          </a:lstStyle>
          <a:p>
            <a:pPr lvl="0"/>
            <a:r>
              <a:rPr lang="en-US" dirty="0"/>
              <a:t>Click to edit Master text styles</a:t>
            </a:r>
          </a:p>
        </p:txBody>
      </p:sp>
      <p:sp>
        <p:nvSpPr>
          <p:cNvPr id="32" name="Text Placeholder 7">
            <a:extLst>
              <a:ext uri="{FF2B5EF4-FFF2-40B4-BE49-F238E27FC236}">
                <a16:creationId xmlns:a16="http://schemas.microsoft.com/office/drawing/2014/main" id="{9FD71E6E-C40C-42AF-8E9E-C4057E7B246B}"/>
              </a:ext>
            </a:extLst>
          </p:cNvPr>
          <p:cNvSpPr>
            <a:spLocks noGrp="1"/>
          </p:cNvSpPr>
          <p:nvPr>
            <p:ph type="body" sz="quarter" idx="25"/>
          </p:nvPr>
        </p:nvSpPr>
        <p:spPr>
          <a:xfrm>
            <a:off x="951219" y="4066923"/>
            <a:ext cx="7191982" cy="391735"/>
          </a:xfrm>
        </p:spPr>
        <p:txBody>
          <a:bodyPr/>
          <a:lstStyle>
            <a:lvl1pPr>
              <a:defRPr sz="1400"/>
            </a:lvl1pPr>
            <a:lvl2pPr>
              <a:defRPr sz="1400"/>
            </a:lvl2pPr>
            <a:lvl3pPr>
              <a:defRPr sz="1400"/>
            </a:lvl3pPr>
            <a:lvl4pPr>
              <a:defRPr sz="1400"/>
            </a:lvl4pPr>
            <a:lvl5pPr>
              <a:defRPr sz="1400"/>
            </a:lvl5pPr>
          </a:lstStyle>
          <a:p>
            <a:pPr lvl="0"/>
            <a:r>
              <a:rPr lang="en-US" dirty="0"/>
              <a:t>Click to edit Master text styles</a:t>
            </a:r>
          </a:p>
        </p:txBody>
      </p:sp>
      <p:sp>
        <p:nvSpPr>
          <p:cNvPr id="33" name="Text Placeholder 7">
            <a:extLst>
              <a:ext uri="{FF2B5EF4-FFF2-40B4-BE49-F238E27FC236}">
                <a16:creationId xmlns:a16="http://schemas.microsoft.com/office/drawing/2014/main" id="{E7510748-ED89-4AD4-8CD8-7AE88E3E158E}"/>
              </a:ext>
            </a:extLst>
          </p:cNvPr>
          <p:cNvSpPr>
            <a:spLocks noGrp="1"/>
          </p:cNvSpPr>
          <p:nvPr>
            <p:ph type="body" sz="quarter" idx="26"/>
          </p:nvPr>
        </p:nvSpPr>
        <p:spPr>
          <a:xfrm>
            <a:off x="944257" y="4873597"/>
            <a:ext cx="7191982" cy="391735"/>
          </a:xfrm>
        </p:spPr>
        <p:txBody>
          <a:bodyPr/>
          <a:lstStyle>
            <a:lvl1pPr>
              <a:defRPr sz="1400" b="1"/>
            </a:lvl1pPr>
            <a:lvl2pPr>
              <a:defRPr sz="1400"/>
            </a:lvl2pPr>
            <a:lvl3pPr>
              <a:defRPr sz="1400"/>
            </a:lvl3pPr>
            <a:lvl4pPr>
              <a:defRPr sz="1400"/>
            </a:lvl4pPr>
            <a:lvl5pPr>
              <a:defRPr sz="1400"/>
            </a:lvl5pPr>
          </a:lstStyle>
          <a:p>
            <a:pPr lvl="0"/>
            <a:r>
              <a:rPr lang="en-US" dirty="0"/>
              <a:t>Click to edit Master text styles</a:t>
            </a:r>
          </a:p>
        </p:txBody>
      </p:sp>
      <p:sp>
        <p:nvSpPr>
          <p:cNvPr id="34" name="Text Placeholder 7">
            <a:extLst>
              <a:ext uri="{FF2B5EF4-FFF2-40B4-BE49-F238E27FC236}">
                <a16:creationId xmlns:a16="http://schemas.microsoft.com/office/drawing/2014/main" id="{78FA4CBB-F653-4F35-A0FE-63CA52A64E66}"/>
              </a:ext>
            </a:extLst>
          </p:cNvPr>
          <p:cNvSpPr>
            <a:spLocks noGrp="1"/>
          </p:cNvSpPr>
          <p:nvPr>
            <p:ph type="body" sz="quarter" idx="27"/>
          </p:nvPr>
        </p:nvSpPr>
        <p:spPr>
          <a:xfrm>
            <a:off x="947738" y="5265332"/>
            <a:ext cx="7191982" cy="391735"/>
          </a:xfrm>
        </p:spPr>
        <p:txBody>
          <a:bodyPr/>
          <a:lstStyle>
            <a:lvl1pPr>
              <a:defRPr sz="1400"/>
            </a:lvl1pPr>
            <a:lvl2pPr>
              <a:defRPr sz="1400"/>
            </a:lvl2pPr>
            <a:lvl3pPr>
              <a:defRPr sz="1400"/>
            </a:lvl3pPr>
            <a:lvl4pPr>
              <a:defRPr sz="1400"/>
            </a:lvl4pPr>
            <a:lvl5pPr>
              <a:defRPr sz="1400"/>
            </a:lvl5pPr>
          </a:lstStyle>
          <a:p>
            <a:pPr lvl="0"/>
            <a:r>
              <a:rPr lang="en-US" dirty="0"/>
              <a:t>Click to edit Master text styles</a:t>
            </a:r>
          </a:p>
        </p:txBody>
      </p:sp>
      <p:sp>
        <p:nvSpPr>
          <p:cNvPr id="35" name="Marcador de texto 5">
            <a:extLst>
              <a:ext uri="{FF2B5EF4-FFF2-40B4-BE49-F238E27FC236}">
                <a16:creationId xmlns:a16="http://schemas.microsoft.com/office/drawing/2014/main" id="{9EB1534E-8424-48C3-BCAC-551420C5EF15}"/>
              </a:ext>
            </a:extLst>
          </p:cNvPr>
          <p:cNvSpPr>
            <a:spLocks noGrp="1"/>
          </p:cNvSpPr>
          <p:nvPr>
            <p:ph type="body" sz="quarter" idx="12" hasCustomPrompt="1"/>
          </p:nvPr>
        </p:nvSpPr>
        <p:spPr>
          <a:xfrm>
            <a:off x="9022080" y="1396800"/>
            <a:ext cx="2796437" cy="787206"/>
          </a:xfrm>
          <a:prstGeom prst="rect">
            <a:avLst/>
          </a:prstGeom>
        </p:spPr>
        <p:txBody>
          <a:bodyPr lIns="0" tIns="0" rIns="0" bIns="0"/>
          <a:lstStyle>
            <a:lvl1pPr algn="ctr">
              <a:buNone/>
              <a:defRPr sz="6000" b="1">
                <a:solidFill>
                  <a:srgbClr val="FFFFFF"/>
                </a:solidFill>
              </a:defRPr>
            </a:lvl1pPr>
            <a:lvl2pPr>
              <a:buNone/>
              <a:defRPr/>
            </a:lvl2pPr>
            <a:lvl3pPr>
              <a:buNone/>
              <a:defRPr/>
            </a:lvl3pPr>
            <a:lvl4pPr>
              <a:buNone/>
              <a:defRPr/>
            </a:lvl4pPr>
            <a:lvl5pPr>
              <a:buNone/>
              <a:defRPr/>
            </a:lvl5pPr>
          </a:lstStyle>
          <a:p>
            <a:pPr lvl="0"/>
            <a:r>
              <a:rPr lang="es-ES" dirty="0"/>
              <a:t>##%</a:t>
            </a:r>
            <a:endParaRPr lang="en-GB" dirty="0"/>
          </a:p>
        </p:txBody>
      </p:sp>
      <p:sp>
        <p:nvSpPr>
          <p:cNvPr id="36" name="Marcador de texto 5">
            <a:extLst>
              <a:ext uri="{FF2B5EF4-FFF2-40B4-BE49-F238E27FC236}">
                <a16:creationId xmlns:a16="http://schemas.microsoft.com/office/drawing/2014/main" id="{5F1AB385-62E0-4674-B6B2-33A01B94806F}"/>
              </a:ext>
            </a:extLst>
          </p:cNvPr>
          <p:cNvSpPr>
            <a:spLocks noGrp="1"/>
          </p:cNvSpPr>
          <p:nvPr>
            <p:ph type="body" sz="quarter" idx="13" hasCustomPrompt="1"/>
          </p:nvPr>
        </p:nvSpPr>
        <p:spPr>
          <a:xfrm>
            <a:off x="9022080" y="3106608"/>
            <a:ext cx="2796437" cy="787207"/>
          </a:xfrm>
          <a:prstGeom prst="rect">
            <a:avLst/>
          </a:prstGeom>
        </p:spPr>
        <p:txBody>
          <a:bodyPr lIns="0" tIns="0" rIns="0" bIns="0"/>
          <a:lstStyle>
            <a:lvl1pPr algn="ctr">
              <a:buNone/>
              <a:defRPr sz="6000" b="1">
                <a:solidFill>
                  <a:srgbClr val="FFFFFF"/>
                </a:solidFill>
              </a:defRPr>
            </a:lvl1pPr>
            <a:lvl2pPr>
              <a:buNone/>
              <a:defRPr/>
            </a:lvl2pPr>
            <a:lvl3pPr>
              <a:buNone/>
              <a:defRPr/>
            </a:lvl3pPr>
            <a:lvl4pPr>
              <a:buNone/>
              <a:defRPr/>
            </a:lvl4pPr>
            <a:lvl5pPr>
              <a:buNone/>
              <a:defRPr/>
            </a:lvl5pPr>
          </a:lstStyle>
          <a:p>
            <a:pPr lvl="0"/>
            <a:r>
              <a:rPr lang="es-ES" dirty="0"/>
              <a:t>##%</a:t>
            </a:r>
            <a:endParaRPr lang="en-GB" dirty="0"/>
          </a:p>
        </p:txBody>
      </p:sp>
      <p:sp>
        <p:nvSpPr>
          <p:cNvPr id="37" name="Marcador de texto 5">
            <a:extLst>
              <a:ext uri="{FF2B5EF4-FFF2-40B4-BE49-F238E27FC236}">
                <a16:creationId xmlns:a16="http://schemas.microsoft.com/office/drawing/2014/main" id="{74452DD6-3DC8-4D03-8BD6-83360EBE24D3}"/>
              </a:ext>
            </a:extLst>
          </p:cNvPr>
          <p:cNvSpPr>
            <a:spLocks noGrp="1"/>
          </p:cNvSpPr>
          <p:nvPr>
            <p:ph type="body" sz="quarter" idx="14" hasCustomPrompt="1"/>
          </p:nvPr>
        </p:nvSpPr>
        <p:spPr>
          <a:xfrm>
            <a:off x="9022080" y="4821943"/>
            <a:ext cx="2796437" cy="787207"/>
          </a:xfrm>
          <a:prstGeom prst="rect">
            <a:avLst/>
          </a:prstGeom>
        </p:spPr>
        <p:txBody>
          <a:bodyPr lIns="0" tIns="0" rIns="0" bIns="0"/>
          <a:lstStyle>
            <a:lvl1pPr algn="ctr">
              <a:buNone/>
              <a:defRPr sz="6000" b="1">
                <a:solidFill>
                  <a:srgbClr val="FFFFFF"/>
                </a:solidFill>
              </a:defRPr>
            </a:lvl1pPr>
            <a:lvl2pPr>
              <a:buNone/>
              <a:defRPr/>
            </a:lvl2pPr>
            <a:lvl3pPr>
              <a:buNone/>
              <a:defRPr/>
            </a:lvl3pPr>
            <a:lvl4pPr>
              <a:buNone/>
              <a:defRPr/>
            </a:lvl4pPr>
            <a:lvl5pPr>
              <a:buNone/>
              <a:defRPr/>
            </a:lvl5pPr>
          </a:lstStyle>
          <a:p>
            <a:pPr lvl="0"/>
            <a:r>
              <a:rPr lang="es-ES" dirty="0"/>
              <a:t>##%</a:t>
            </a:r>
            <a:endParaRPr lang="en-GB" dirty="0"/>
          </a:p>
        </p:txBody>
      </p:sp>
      <p:sp>
        <p:nvSpPr>
          <p:cNvPr id="38" name="Marcador de texto 3">
            <a:extLst>
              <a:ext uri="{FF2B5EF4-FFF2-40B4-BE49-F238E27FC236}">
                <a16:creationId xmlns:a16="http://schemas.microsoft.com/office/drawing/2014/main" id="{396E7DEA-FAB4-4CBE-9413-B4A74422A5B1}"/>
              </a:ext>
            </a:extLst>
          </p:cNvPr>
          <p:cNvSpPr>
            <a:spLocks noGrp="1"/>
          </p:cNvSpPr>
          <p:nvPr>
            <p:ph type="body" sz="quarter" idx="15" hasCustomPrompt="1"/>
          </p:nvPr>
        </p:nvSpPr>
        <p:spPr>
          <a:xfrm>
            <a:off x="9022080" y="2222453"/>
            <a:ext cx="2797094" cy="320400"/>
          </a:xfrm>
          <a:prstGeom prst="rect">
            <a:avLst/>
          </a:prstGeom>
        </p:spPr>
        <p:txBody>
          <a:bodyPr lIns="0" tIns="0" rIns="0" bIns="0"/>
          <a:lstStyle>
            <a:lvl1pPr algn="ctr">
              <a:buNone/>
              <a:defRPr sz="1200" b="1">
                <a:solidFill>
                  <a:srgbClr val="FFFFFF"/>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s-ES" dirty="0"/>
              <a:t>Text </a:t>
            </a:r>
            <a:r>
              <a:rPr lang="es-ES" dirty="0" err="1"/>
              <a:t>for</a:t>
            </a:r>
            <a:r>
              <a:rPr lang="es-ES" dirty="0"/>
              <a:t> </a:t>
            </a:r>
            <a:r>
              <a:rPr lang="es-ES" dirty="0" err="1"/>
              <a:t>relevant</a:t>
            </a:r>
            <a:r>
              <a:rPr lang="es-ES" dirty="0"/>
              <a:t> figure</a:t>
            </a:r>
            <a:endParaRPr lang="en-GB" dirty="0"/>
          </a:p>
        </p:txBody>
      </p:sp>
      <p:sp>
        <p:nvSpPr>
          <p:cNvPr id="39" name="Marcador de texto 3">
            <a:extLst>
              <a:ext uri="{FF2B5EF4-FFF2-40B4-BE49-F238E27FC236}">
                <a16:creationId xmlns:a16="http://schemas.microsoft.com/office/drawing/2014/main" id="{90F182E4-C1F5-4D77-B4DF-314FA4E25825}"/>
              </a:ext>
            </a:extLst>
          </p:cNvPr>
          <p:cNvSpPr>
            <a:spLocks noGrp="1"/>
          </p:cNvSpPr>
          <p:nvPr>
            <p:ph type="body" sz="quarter" idx="19" hasCustomPrompt="1"/>
          </p:nvPr>
        </p:nvSpPr>
        <p:spPr>
          <a:xfrm>
            <a:off x="9022080" y="2432899"/>
            <a:ext cx="2797094" cy="320400"/>
          </a:xfrm>
          <a:prstGeom prst="rect">
            <a:avLst/>
          </a:prstGeom>
        </p:spPr>
        <p:txBody>
          <a:bodyPr lIns="0" tIns="0" rIns="0" bIns="0"/>
          <a:lstStyle>
            <a:lvl1pPr algn="ctr">
              <a:buNone/>
              <a:defRPr sz="1000" b="0">
                <a:solidFill>
                  <a:srgbClr val="FFFFFF"/>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s-ES" dirty="0"/>
              <a:t>Text </a:t>
            </a:r>
            <a:r>
              <a:rPr lang="es-ES" dirty="0" err="1"/>
              <a:t>for</a:t>
            </a:r>
            <a:r>
              <a:rPr lang="es-ES" dirty="0"/>
              <a:t> </a:t>
            </a:r>
            <a:r>
              <a:rPr lang="es-ES" dirty="0" err="1"/>
              <a:t>relevant</a:t>
            </a:r>
            <a:r>
              <a:rPr lang="es-ES" dirty="0"/>
              <a:t> figure</a:t>
            </a:r>
            <a:endParaRPr lang="en-GB" dirty="0"/>
          </a:p>
        </p:txBody>
      </p:sp>
      <p:sp>
        <p:nvSpPr>
          <p:cNvPr id="40" name="Marcador de texto 3">
            <a:extLst>
              <a:ext uri="{FF2B5EF4-FFF2-40B4-BE49-F238E27FC236}">
                <a16:creationId xmlns:a16="http://schemas.microsoft.com/office/drawing/2014/main" id="{C4D7E3CF-146E-4368-9282-6FAD90E9376A}"/>
              </a:ext>
            </a:extLst>
          </p:cNvPr>
          <p:cNvSpPr>
            <a:spLocks noGrp="1"/>
          </p:cNvSpPr>
          <p:nvPr>
            <p:ph type="body" sz="quarter" idx="20" hasCustomPrompt="1"/>
          </p:nvPr>
        </p:nvSpPr>
        <p:spPr>
          <a:xfrm>
            <a:off x="9028485" y="3950669"/>
            <a:ext cx="2797094" cy="320400"/>
          </a:xfrm>
          <a:prstGeom prst="rect">
            <a:avLst/>
          </a:prstGeom>
        </p:spPr>
        <p:txBody>
          <a:bodyPr lIns="0" tIns="0" rIns="0" bIns="0"/>
          <a:lstStyle>
            <a:lvl1pPr algn="ctr">
              <a:buNone/>
              <a:defRPr sz="1200" b="1">
                <a:solidFill>
                  <a:srgbClr val="FFFFFF"/>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s-ES" dirty="0"/>
              <a:t>Text </a:t>
            </a:r>
            <a:r>
              <a:rPr lang="es-ES" dirty="0" err="1"/>
              <a:t>for</a:t>
            </a:r>
            <a:r>
              <a:rPr lang="es-ES" dirty="0"/>
              <a:t> </a:t>
            </a:r>
            <a:r>
              <a:rPr lang="es-ES" dirty="0" err="1"/>
              <a:t>relevant</a:t>
            </a:r>
            <a:r>
              <a:rPr lang="es-ES" dirty="0"/>
              <a:t> figure</a:t>
            </a:r>
            <a:endParaRPr lang="en-GB" dirty="0"/>
          </a:p>
        </p:txBody>
      </p:sp>
      <p:sp>
        <p:nvSpPr>
          <p:cNvPr id="41" name="Marcador de texto 3">
            <a:extLst>
              <a:ext uri="{FF2B5EF4-FFF2-40B4-BE49-F238E27FC236}">
                <a16:creationId xmlns:a16="http://schemas.microsoft.com/office/drawing/2014/main" id="{9610E829-B8CA-4DA7-B46F-E447BA736B8E}"/>
              </a:ext>
            </a:extLst>
          </p:cNvPr>
          <p:cNvSpPr>
            <a:spLocks noGrp="1"/>
          </p:cNvSpPr>
          <p:nvPr>
            <p:ph type="body" sz="quarter" idx="21" hasCustomPrompt="1"/>
          </p:nvPr>
        </p:nvSpPr>
        <p:spPr>
          <a:xfrm>
            <a:off x="9028485" y="4161115"/>
            <a:ext cx="2797094" cy="320400"/>
          </a:xfrm>
          <a:prstGeom prst="rect">
            <a:avLst/>
          </a:prstGeom>
        </p:spPr>
        <p:txBody>
          <a:bodyPr lIns="0" tIns="0" rIns="0" bIns="0"/>
          <a:lstStyle>
            <a:lvl1pPr algn="ctr">
              <a:buNone/>
              <a:defRPr lang="en-GB" sz="1000" b="0" i="0" kern="1200" dirty="0">
                <a:solidFill>
                  <a:srgbClr val="FFFFFF"/>
                </a:solidFill>
                <a:latin typeface="+mn-lt"/>
                <a:ea typeface="+mn-ea"/>
                <a:cs typeface="+mn-cs"/>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marL="0" lvl="0" indent="0" algn="ctr" defTabSz="914400" rtl="0" eaLnBrk="1" latinLnBrk="0" hangingPunct="1">
              <a:lnSpc>
                <a:spcPct val="90000"/>
              </a:lnSpc>
              <a:spcBef>
                <a:spcPts val="1800"/>
              </a:spcBef>
              <a:buFontTx/>
              <a:buNone/>
            </a:pPr>
            <a:r>
              <a:rPr lang="es-ES" dirty="0"/>
              <a:t>Text </a:t>
            </a:r>
            <a:r>
              <a:rPr lang="es-ES" dirty="0" err="1"/>
              <a:t>for</a:t>
            </a:r>
            <a:r>
              <a:rPr lang="es-ES" dirty="0"/>
              <a:t> </a:t>
            </a:r>
            <a:r>
              <a:rPr lang="es-ES" dirty="0" err="1"/>
              <a:t>relevant</a:t>
            </a:r>
            <a:r>
              <a:rPr lang="es-ES" dirty="0"/>
              <a:t> figure</a:t>
            </a:r>
            <a:endParaRPr lang="en-GB" dirty="0"/>
          </a:p>
        </p:txBody>
      </p:sp>
      <p:sp>
        <p:nvSpPr>
          <p:cNvPr id="42" name="Marcador de texto 3">
            <a:extLst>
              <a:ext uri="{FF2B5EF4-FFF2-40B4-BE49-F238E27FC236}">
                <a16:creationId xmlns:a16="http://schemas.microsoft.com/office/drawing/2014/main" id="{462A73AB-EA0E-4722-AB67-B222856370C3}"/>
              </a:ext>
            </a:extLst>
          </p:cNvPr>
          <p:cNvSpPr>
            <a:spLocks noGrp="1"/>
          </p:cNvSpPr>
          <p:nvPr>
            <p:ph type="body" sz="quarter" idx="22" hasCustomPrompt="1"/>
          </p:nvPr>
        </p:nvSpPr>
        <p:spPr>
          <a:xfrm>
            <a:off x="9022080" y="5649955"/>
            <a:ext cx="2797094" cy="320400"/>
          </a:xfrm>
          <a:prstGeom prst="rect">
            <a:avLst/>
          </a:prstGeom>
        </p:spPr>
        <p:txBody>
          <a:bodyPr lIns="0" tIns="0" rIns="0" bIns="0"/>
          <a:lstStyle>
            <a:lvl1pPr algn="ctr">
              <a:buNone/>
              <a:defRPr sz="1200" b="1">
                <a:solidFill>
                  <a:srgbClr val="FFFFFF"/>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s-ES" dirty="0"/>
              <a:t>Text </a:t>
            </a:r>
            <a:r>
              <a:rPr lang="es-ES" dirty="0" err="1"/>
              <a:t>for</a:t>
            </a:r>
            <a:r>
              <a:rPr lang="es-ES" dirty="0"/>
              <a:t> </a:t>
            </a:r>
            <a:r>
              <a:rPr lang="es-ES" dirty="0" err="1"/>
              <a:t>relevant</a:t>
            </a:r>
            <a:r>
              <a:rPr lang="es-ES" dirty="0"/>
              <a:t> figure</a:t>
            </a:r>
            <a:endParaRPr lang="en-GB" dirty="0"/>
          </a:p>
        </p:txBody>
      </p:sp>
      <p:sp>
        <p:nvSpPr>
          <p:cNvPr id="43" name="Marcador de texto 3">
            <a:extLst>
              <a:ext uri="{FF2B5EF4-FFF2-40B4-BE49-F238E27FC236}">
                <a16:creationId xmlns:a16="http://schemas.microsoft.com/office/drawing/2014/main" id="{A2170E1B-D1D1-4D8E-AAE6-4983D7717D36}"/>
              </a:ext>
            </a:extLst>
          </p:cNvPr>
          <p:cNvSpPr>
            <a:spLocks noGrp="1"/>
          </p:cNvSpPr>
          <p:nvPr>
            <p:ph type="body" sz="quarter" idx="23" hasCustomPrompt="1"/>
          </p:nvPr>
        </p:nvSpPr>
        <p:spPr>
          <a:xfrm>
            <a:off x="9022080" y="5860401"/>
            <a:ext cx="2797094" cy="320400"/>
          </a:xfrm>
          <a:prstGeom prst="rect">
            <a:avLst/>
          </a:prstGeom>
        </p:spPr>
        <p:txBody>
          <a:bodyPr lIns="0" tIns="0" rIns="0" bIns="0"/>
          <a:lstStyle>
            <a:lvl1pPr algn="ctr">
              <a:buNone/>
              <a:defRPr lang="en-GB" sz="1000" b="0" i="0" kern="1200" dirty="0">
                <a:solidFill>
                  <a:srgbClr val="FFFFFF"/>
                </a:solidFill>
                <a:latin typeface="+mn-lt"/>
                <a:ea typeface="+mn-ea"/>
                <a:cs typeface="+mn-cs"/>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marL="0" lvl="0" indent="0" algn="ctr" defTabSz="914400" rtl="0" eaLnBrk="1" latinLnBrk="0" hangingPunct="1">
              <a:lnSpc>
                <a:spcPct val="90000"/>
              </a:lnSpc>
              <a:spcBef>
                <a:spcPts val="1800"/>
              </a:spcBef>
              <a:buFontTx/>
              <a:buNone/>
            </a:pPr>
            <a:r>
              <a:rPr lang="es-ES" dirty="0"/>
              <a:t>Text </a:t>
            </a:r>
            <a:r>
              <a:rPr lang="es-ES" dirty="0" err="1"/>
              <a:t>for</a:t>
            </a:r>
            <a:r>
              <a:rPr lang="es-ES" dirty="0"/>
              <a:t> </a:t>
            </a:r>
            <a:r>
              <a:rPr lang="es-ES" dirty="0" err="1"/>
              <a:t>relevant</a:t>
            </a:r>
            <a:r>
              <a:rPr lang="es-ES" dirty="0"/>
              <a:t> figure</a:t>
            </a:r>
            <a:endParaRPr lang="en-GB" dirty="0"/>
          </a:p>
        </p:txBody>
      </p:sp>
    </p:spTree>
    <p:extLst>
      <p:ext uri="{BB962C8B-B14F-4D97-AF65-F5344CB8AC3E}">
        <p14:creationId xmlns:p14="http://schemas.microsoft.com/office/powerpoint/2010/main" val="233887939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1_Text + relevant figures+images+straigh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18526C9-16E3-4A1D-828A-4692734F055E}"/>
              </a:ext>
            </a:extLst>
          </p:cNvPr>
          <p:cNvGraphicFramePr>
            <a:graphicFrameLocks noChangeAspect="1"/>
          </p:cNvGraphicFramePr>
          <p:nvPr userDrawn="1">
            <p:custDataLst>
              <p:tags r:id="rId2"/>
            </p:custDataLst>
            <p:extLst>
              <p:ext uri="{D42A27DB-BD31-4B8C-83A1-F6EECF244321}">
                <p14:modId xmlns:p14="http://schemas.microsoft.com/office/powerpoint/2010/main" val="4530951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56" name="think-cell Slide" r:id="rId5" imgW="473" imgH="474" progId="TCLayout.ActiveDocument.1">
                  <p:embed/>
                </p:oleObj>
              </mc:Choice>
              <mc:Fallback>
                <p:oleObj name="think-cell Slide" r:id="rId5" imgW="473" imgH="474" progId="TCLayout.ActiveDocument.1">
                  <p:embed/>
                  <p:pic>
                    <p:nvPicPr>
                      <p:cNvPr id="3" name="Object 2" hidden="1">
                        <a:extLst>
                          <a:ext uri="{FF2B5EF4-FFF2-40B4-BE49-F238E27FC236}">
                            <a16:creationId xmlns:a16="http://schemas.microsoft.com/office/drawing/2014/main" id="{C18526C9-16E3-4A1D-828A-4692734F055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B2B384D-A05A-4439-838E-B66DA57DCB38}"/>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Verdana" panose="020B0604030504040204" pitchFamily="34" charset="0"/>
              <a:ea typeface="+mj-ea"/>
              <a:cs typeface="+mj-cs"/>
              <a:sym typeface="Verdana" panose="020B0604030504040204" pitchFamily="34" charset="0"/>
            </a:endParaRPr>
          </a:p>
        </p:txBody>
      </p:sp>
      <p:sp>
        <p:nvSpPr>
          <p:cNvPr id="2" name="Rectángulo 1">
            <a:extLst>
              <a:ext uri="{FF2B5EF4-FFF2-40B4-BE49-F238E27FC236}">
                <a16:creationId xmlns:a16="http://schemas.microsoft.com/office/drawing/2014/main" id="{BF29E734-210D-BC45-815B-FC427C40A195}"/>
              </a:ext>
            </a:extLst>
          </p:cNvPr>
          <p:cNvSpPr/>
          <p:nvPr userDrawn="1"/>
        </p:nvSpPr>
        <p:spPr>
          <a:xfrm>
            <a:off x="8924081" y="0"/>
            <a:ext cx="3267919" cy="6858000"/>
          </a:xfrm>
          <a:prstGeom prst="rect">
            <a:avLst/>
          </a:prstGeom>
          <a:gradFill>
            <a:gsLst>
              <a:gs pos="0">
                <a:schemeClr val="accent1"/>
              </a:gs>
              <a:gs pos="100000">
                <a:schemeClr val="accent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accent4"/>
              </a:solidFill>
            </a:endParaRPr>
          </a:p>
        </p:txBody>
      </p:sp>
      <p:sp>
        <p:nvSpPr>
          <p:cNvPr id="15" name="Marcador de texto 2">
            <a:extLst>
              <a:ext uri="{FF2B5EF4-FFF2-40B4-BE49-F238E27FC236}">
                <a16:creationId xmlns:a16="http://schemas.microsoft.com/office/drawing/2014/main" id="{B0631F3F-D69C-4938-9C2D-8DBA1DF60BB1}"/>
              </a:ext>
            </a:extLst>
          </p:cNvPr>
          <p:cNvSpPr>
            <a:spLocks noGrp="1"/>
          </p:cNvSpPr>
          <p:nvPr>
            <p:ph type="body" idx="10" hasCustomPrompt="1"/>
          </p:nvPr>
        </p:nvSpPr>
        <p:spPr>
          <a:xfrm>
            <a:off x="368791" y="722639"/>
            <a:ext cx="5339118" cy="324000"/>
          </a:xfrm>
          <a:prstGeom prst="rect">
            <a:avLst/>
          </a:prstGeom>
        </p:spPr>
        <p:txBody>
          <a:bodyPr lIns="0" tIns="0" rIns="0" bIns="0" anchor="t"/>
          <a:lstStyle>
            <a:lvl1pPr marL="0" indent="0">
              <a:lnSpc>
                <a:spcPct val="100000"/>
              </a:lnSpc>
              <a:spcBef>
                <a:spcPts val="0"/>
              </a:spcBef>
              <a:buNone/>
              <a:defRPr sz="2000" b="0">
                <a:solidFill>
                  <a:srgbClr val="000000"/>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err="1"/>
              <a:t>Subtitle</a:t>
            </a:r>
            <a:endParaRPr lang="es-ES" dirty="0"/>
          </a:p>
        </p:txBody>
      </p:sp>
      <p:sp>
        <p:nvSpPr>
          <p:cNvPr id="8" name="Text Placeholder 7">
            <a:extLst>
              <a:ext uri="{FF2B5EF4-FFF2-40B4-BE49-F238E27FC236}">
                <a16:creationId xmlns:a16="http://schemas.microsoft.com/office/drawing/2014/main" id="{3A15B74D-3758-47B9-82C3-FFA884FCE23F}"/>
              </a:ext>
            </a:extLst>
          </p:cNvPr>
          <p:cNvSpPr>
            <a:spLocks noGrp="1"/>
          </p:cNvSpPr>
          <p:nvPr>
            <p:ph type="body" sz="quarter" idx="18"/>
          </p:nvPr>
        </p:nvSpPr>
        <p:spPr>
          <a:xfrm>
            <a:off x="368791" y="1396800"/>
            <a:ext cx="4034934" cy="4752000"/>
          </a:xfrm>
        </p:spPr>
        <p:txBody>
          <a:bodyPr/>
          <a:lstStyle>
            <a:lvl1pPr>
              <a:defRPr sz="14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uadroTexto 64">
            <a:extLst>
              <a:ext uri="{FF2B5EF4-FFF2-40B4-BE49-F238E27FC236}">
                <a16:creationId xmlns:a16="http://schemas.microsoft.com/office/drawing/2014/main" id="{7EEFB272-44BD-4440-81FD-B5BE8200048F}"/>
              </a:ext>
            </a:extLst>
          </p:cNvPr>
          <p:cNvSpPr txBox="1"/>
          <p:nvPr userDrawn="1"/>
        </p:nvSpPr>
        <p:spPr>
          <a:xfrm>
            <a:off x="10882303" y="6449284"/>
            <a:ext cx="936214" cy="138499"/>
          </a:xfrm>
          <a:prstGeom prst="rect">
            <a:avLst/>
          </a:prstGeom>
          <a:noFill/>
        </p:spPr>
        <p:txBody>
          <a:bodyPr wrap="square" lIns="0" tIns="0" rIns="0" bIns="0" rtlCol="0">
            <a:spAutoFit/>
          </a:bodyPr>
          <a:lstStyle/>
          <a:p>
            <a:pPr algn="r"/>
            <a:fld id="{A4EEDD72-1D6A-6B46-BCFA-C211F73E9379}" type="slidenum">
              <a:rPr lang="es-ES" sz="900" b="1" smtClean="0">
                <a:solidFill>
                  <a:srgbClr val="FFFFFF"/>
                </a:solidFill>
                <a:latin typeface="+mj-lt"/>
                <a:ea typeface="Verdana" panose="020B0604030504040204" pitchFamily="34" charset="0"/>
                <a:cs typeface="Verdana" panose="020B0604030504040204" pitchFamily="34" charset="0"/>
              </a:rPr>
              <a:pPr algn="r"/>
              <a:t>‹N›</a:t>
            </a:fld>
            <a:endParaRPr lang="es-ES" sz="900" b="1" dirty="0">
              <a:solidFill>
                <a:srgbClr val="FFFFFF"/>
              </a:solidFill>
              <a:latin typeface="+mj-lt"/>
              <a:ea typeface="Verdana" panose="020B0604030504040204" pitchFamily="34" charset="0"/>
              <a:cs typeface="Verdana" panose="020B0604030504040204" pitchFamily="34" charset="0"/>
            </a:endParaRPr>
          </a:p>
        </p:txBody>
      </p:sp>
      <p:sp>
        <p:nvSpPr>
          <p:cNvPr id="9" name="Title 8">
            <a:extLst>
              <a:ext uri="{FF2B5EF4-FFF2-40B4-BE49-F238E27FC236}">
                <a16:creationId xmlns:a16="http://schemas.microsoft.com/office/drawing/2014/main" id="{965B48A6-C16F-42F8-ABA4-E292AD3ADAB5}"/>
              </a:ext>
            </a:extLst>
          </p:cNvPr>
          <p:cNvSpPr>
            <a:spLocks noGrp="1"/>
          </p:cNvSpPr>
          <p:nvPr>
            <p:ph type="title"/>
          </p:nvPr>
        </p:nvSpPr>
        <p:spPr>
          <a:xfrm>
            <a:off x="367201" y="252000"/>
            <a:ext cx="5339118" cy="432000"/>
          </a:xfrm>
        </p:spPr>
        <p:txBody>
          <a:bodyPr/>
          <a:lstStyle/>
          <a:p>
            <a:r>
              <a:rPr lang="en-US"/>
              <a:t>Click to edit Master title style</a:t>
            </a:r>
          </a:p>
        </p:txBody>
      </p:sp>
      <p:pic>
        <p:nvPicPr>
          <p:cNvPr id="21" name="Graphic 10">
            <a:extLst>
              <a:ext uri="{FF2B5EF4-FFF2-40B4-BE49-F238E27FC236}">
                <a16:creationId xmlns:a16="http://schemas.microsoft.com/office/drawing/2014/main" id="{B6011187-AA8E-452B-973C-511891D6AD7A}"/>
              </a:ext>
            </a:extLst>
          </p:cNvPr>
          <p:cNvPicPr>
            <a:picLocks noChangeAspect="1"/>
          </p:cNvPicPr>
          <p:nvPr userDrawn="1"/>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70517" y="6420188"/>
            <a:ext cx="675863" cy="162467"/>
          </a:xfrm>
          <a:prstGeom prst="rect">
            <a:avLst/>
          </a:prstGeom>
        </p:spPr>
      </p:pic>
      <p:sp>
        <p:nvSpPr>
          <p:cNvPr id="10" name="Picture Placeholder 9">
            <a:extLst>
              <a:ext uri="{FF2B5EF4-FFF2-40B4-BE49-F238E27FC236}">
                <a16:creationId xmlns:a16="http://schemas.microsoft.com/office/drawing/2014/main" id="{4E88ABC6-3508-45D7-B3BD-99157607BE6B}"/>
              </a:ext>
            </a:extLst>
          </p:cNvPr>
          <p:cNvSpPr>
            <a:spLocks noGrp="1"/>
          </p:cNvSpPr>
          <p:nvPr>
            <p:ph type="pic" sz="quarter" idx="19"/>
          </p:nvPr>
        </p:nvSpPr>
        <p:spPr>
          <a:xfrm>
            <a:off x="6096000" y="0"/>
            <a:ext cx="2828081" cy="6858000"/>
          </a:xfrm>
        </p:spPr>
        <p:txBody>
          <a:bodyPr/>
          <a:lstStyle/>
          <a:p>
            <a:endParaRPr lang="en-US"/>
          </a:p>
        </p:txBody>
      </p:sp>
      <p:sp>
        <p:nvSpPr>
          <p:cNvPr id="17" name="Rectangle 16">
            <a:extLst>
              <a:ext uri="{FF2B5EF4-FFF2-40B4-BE49-F238E27FC236}">
                <a16:creationId xmlns:a16="http://schemas.microsoft.com/office/drawing/2014/main" id="{1641D11C-CBE0-4C96-8F91-252D57DF7C92}"/>
              </a:ext>
            </a:extLst>
          </p:cNvPr>
          <p:cNvSpPr/>
          <p:nvPr userDrawn="1"/>
        </p:nvSpPr>
        <p:spPr>
          <a:xfrm>
            <a:off x="3051745"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9" name="Rectangle 18">
            <a:extLst>
              <a:ext uri="{FF2B5EF4-FFF2-40B4-BE49-F238E27FC236}">
                <a16:creationId xmlns:a16="http://schemas.microsoft.com/office/drawing/2014/main" id="{88156CB0-9D69-43CE-B7B0-9F4B78620B86}"/>
              </a:ext>
            </a:extLst>
          </p:cNvPr>
          <p:cNvSpPr/>
          <p:nvPr userDrawn="1"/>
        </p:nvSpPr>
        <p:spPr>
          <a:xfrm>
            <a:off x="7490"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3" name="Rectangle 22">
            <a:extLst>
              <a:ext uri="{FF2B5EF4-FFF2-40B4-BE49-F238E27FC236}">
                <a16:creationId xmlns:a16="http://schemas.microsoft.com/office/drawing/2014/main" id="{A91CF80F-482B-4022-B12D-6F9ADD5A68C5}"/>
              </a:ext>
            </a:extLst>
          </p:cNvPr>
          <p:cNvSpPr/>
          <p:nvPr userDrawn="1"/>
        </p:nvSpPr>
        <p:spPr>
          <a:xfrm>
            <a:off x="9149414"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4" name="Rectangle 23">
            <a:extLst>
              <a:ext uri="{FF2B5EF4-FFF2-40B4-BE49-F238E27FC236}">
                <a16:creationId xmlns:a16="http://schemas.microsoft.com/office/drawing/2014/main" id="{625CC24E-0835-44F9-ACF1-7E797D9C6D17}"/>
              </a:ext>
            </a:extLst>
          </p:cNvPr>
          <p:cNvSpPr/>
          <p:nvPr userDrawn="1"/>
        </p:nvSpPr>
        <p:spPr>
          <a:xfrm>
            <a:off x="6105159"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1" name="Marcador de texto 5">
            <a:extLst>
              <a:ext uri="{FF2B5EF4-FFF2-40B4-BE49-F238E27FC236}">
                <a16:creationId xmlns:a16="http://schemas.microsoft.com/office/drawing/2014/main" id="{CC13A89A-9C94-48C4-909B-7D8AF821C891}"/>
              </a:ext>
            </a:extLst>
          </p:cNvPr>
          <p:cNvSpPr>
            <a:spLocks noGrp="1"/>
          </p:cNvSpPr>
          <p:nvPr>
            <p:ph type="body" sz="quarter" idx="12" hasCustomPrompt="1"/>
          </p:nvPr>
        </p:nvSpPr>
        <p:spPr>
          <a:xfrm>
            <a:off x="9404430" y="1396800"/>
            <a:ext cx="2414087" cy="787206"/>
          </a:xfrm>
          <a:prstGeom prst="rect">
            <a:avLst/>
          </a:prstGeom>
        </p:spPr>
        <p:txBody>
          <a:bodyPr lIns="0" tIns="0" rIns="0" bIns="0"/>
          <a:lstStyle>
            <a:lvl1pPr algn="ctr">
              <a:buNone/>
              <a:defRPr sz="6000" b="1">
                <a:solidFill>
                  <a:srgbClr val="FFFFFF"/>
                </a:solidFill>
              </a:defRPr>
            </a:lvl1pPr>
            <a:lvl2pPr>
              <a:buNone/>
              <a:defRPr/>
            </a:lvl2pPr>
            <a:lvl3pPr>
              <a:buNone/>
              <a:defRPr/>
            </a:lvl3pPr>
            <a:lvl4pPr>
              <a:buNone/>
              <a:defRPr/>
            </a:lvl4pPr>
            <a:lvl5pPr>
              <a:buNone/>
              <a:defRPr/>
            </a:lvl5pPr>
          </a:lstStyle>
          <a:p>
            <a:pPr lvl="0"/>
            <a:r>
              <a:rPr lang="es-ES" dirty="0"/>
              <a:t>##%</a:t>
            </a:r>
            <a:endParaRPr lang="en-GB" dirty="0"/>
          </a:p>
        </p:txBody>
      </p:sp>
      <p:sp>
        <p:nvSpPr>
          <p:cNvPr id="32" name="Marcador de texto 5">
            <a:extLst>
              <a:ext uri="{FF2B5EF4-FFF2-40B4-BE49-F238E27FC236}">
                <a16:creationId xmlns:a16="http://schemas.microsoft.com/office/drawing/2014/main" id="{02D9886C-AAD0-4166-8556-B335B094E75A}"/>
              </a:ext>
            </a:extLst>
          </p:cNvPr>
          <p:cNvSpPr>
            <a:spLocks noGrp="1"/>
          </p:cNvSpPr>
          <p:nvPr>
            <p:ph type="body" sz="quarter" idx="13" hasCustomPrompt="1"/>
          </p:nvPr>
        </p:nvSpPr>
        <p:spPr>
          <a:xfrm>
            <a:off x="9404430" y="3106608"/>
            <a:ext cx="2414087" cy="787207"/>
          </a:xfrm>
          <a:prstGeom prst="rect">
            <a:avLst/>
          </a:prstGeom>
        </p:spPr>
        <p:txBody>
          <a:bodyPr lIns="0" tIns="0" rIns="0" bIns="0"/>
          <a:lstStyle>
            <a:lvl1pPr algn="ctr">
              <a:buNone/>
              <a:defRPr sz="6000" b="1">
                <a:solidFill>
                  <a:srgbClr val="FFFFFF"/>
                </a:solidFill>
              </a:defRPr>
            </a:lvl1pPr>
            <a:lvl2pPr>
              <a:buNone/>
              <a:defRPr/>
            </a:lvl2pPr>
            <a:lvl3pPr>
              <a:buNone/>
              <a:defRPr/>
            </a:lvl3pPr>
            <a:lvl4pPr>
              <a:buNone/>
              <a:defRPr/>
            </a:lvl4pPr>
            <a:lvl5pPr>
              <a:buNone/>
              <a:defRPr/>
            </a:lvl5pPr>
          </a:lstStyle>
          <a:p>
            <a:pPr lvl="0"/>
            <a:r>
              <a:rPr lang="es-ES" dirty="0"/>
              <a:t>##%</a:t>
            </a:r>
            <a:endParaRPr lang="en-GB" dirty="0"/>
          </a:p>
        </p:txBody>
      </p:sp>
      <p:sp>
        <p:nvSpPr>
          <p:cNvPr id="33" name="Marcador de texto 5">
            <a:extLst>
              <a:ext uri="{FF2B5EF4-FFF2-40B4-BE49-F238E27FC236}">
                <a16:creationId xmlns:a16="http://schemas.microsoft.com/office/drawing/2014/main" id="{BBAF1C79-1CDD-45DB-B02E-C29874F2A3EA}"/>
              </a:ext>
            </a:extLst>
          </p:cNvPr>
          <p:cNvSpPr>
            <a:spLocks noGrp="1"/>
          </p:cNvSpPr>
          <p:nvPr>
            <p:ph type="body" sz="quarter" idx="14" hasCustomPrompt="1"/>
          </p:nvPr>
        </p:nvSpPr>
        <p:spPr>
          <a:xfrm>
            <a:off x="9404430" y="4821943"/>
            <a:ext cx="2414087" cy="787207"/>
          </a:xfrm>
          <a:prstGeom prst="rect">
            <a:avLst/>
          </a:prstGeom>
        </p:spPr>
        <p:txBody>
          <a:bodyPr lIns="0" tIns="0" rIns="0" bIns="0"/>
          <a:lstStyle>
            <a:lvl1pPr algn="ctr">
              <a:buNone/>
              <a:defRPr sz="6000" b="1">
                <a:solidFill>
                  <a:srgbClr val="FFFFFF"/>
                </a:solidFill>
              </a:defRPr>
            </a:lvl1pPr>
            <a:lvl2pPr>
              <a:buNone/>
              <a:defRPr/>
            </a:lvl2pPr>
            <a:lvl3pPr>
              <a:buNone/>
              <a:defRPr/>
            </a:lvl3pPr>
            <a:lvl4pPr>
              <a:buNone/>
              <a:defRPr/>
            </a:lvl4pPr>
            <a:lvl5pPr>
              <a:buNone/>
              <a:defRPr/>
            </a:lvl5pPr>
          </a:lstStyle>
          <a:p>
            <a:pPr lvl="0"/>
            <a:r>
              <a:rPr lang="es-ES" dirty="0"/>
              <a:t>##%</a:t>
            </a:r>
            <a:endParaRPr lang="en-GB" dirty="0"/>
          </a:p>
        </p:txBody>
      </p:sp>
      <p:sp>
        <p:nvSpPr>
          <p:cNvPr id="34" name="Marcador de texto 3">
            <a:extLst>
              <a:ext uri="{FF2B5EF4-FFF2-40B4-BE49-F238E27FC236}">
                <a16:creationId xmlns:a16="http://schemas.microsoft.com/office/drawing/2014/main" id="{DCEA6A05-FE73-4A04-9BFD-EFBEEF3B9CFE}"/>
              </a:ext>
            </a:extLst>
          </p:cNvPr>
          <p:cNvSpPr>
            <a:spLocks noGrp="1"/>
          </p:cNvSpPr>
          <p:nvPr>
            <p:ph type="body" sz="quarter" idx="15" hasCustomPrompt="1"/>
          </p:nvPr>
        </p:nvSpPr>
        <p:spPr>
          <a:xfrm>
            <a:off x="9404520" y="2222453"/>
            <a:ext cx="2414654" cy="320400"/>
          </a:xfrm>
          <a:prstGeom prst="rect">
            <a:avLst/>
          </a:prstGeom>
        </p:spPr>
        <p:txBody>
          <a:bodyPr lIns="0" tIns="0" rIns="0" bIns="0"/>
          <a:lstStyle>
            <a:lvl1pPr algn="ctr">
              <a:buNone/>
              <a:defRPr sz="1200" b="1">
                <a:solidFill>
                  <a:srgbClr val="FFFFFF"/>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s-ES" dirty="0"/>
              <a:t>Text </a:t>
            </a:r>
            <a:r>
              <a:rPr lang="es-ES" dirty="0" err="1"/>
              <a:t>for</a:t>
            </a:r>
            <a:r>
              <a:rPr lang="es-ES" dirty="0"/>
              <a:t> </a:t>
            </a:r>
            <a:r>
              <a:rPr lang="es-ES" dirty="0" err="1"/>
              <a:t>relevant</a:t>
            </a:r>
            <a:r>
              <a:rPr lang="es-ES" dirty="0"/>
              <a:t> figure</a:t>
            </a:r>
            <a:endParaRPr lang="en-GB" dirty="0"/>
          </a:p>
        </p:txBody>
      </p:sp>
      <p:sp>
        <p:nvSpPr>
          <p:cNvPr id="35" name="Marcador de texto 3">
            <a:extLst>
              <a:ext uri="{FF2B5EF4-FFF2-40B4-BE49-F238E27FC236}">
                <a16:creationId xmlns:a16="http://schemas.microsoft.com/office/drawing/2014/main" id="{33682074-3FEF-416B-BBDE-94E6E2F9C740}"/>
              </a:ext>
            </a:extLst>
          </p:cNvPr>
          <p:cNvSpPr>
            <a:spLocks noGrp="1"/>
          </p:cNvSpPr>
          <p:nvPr>
            <p:ph type="body" sz="quarter" idx="20" hasCustomPrompt="1"/>
          </p:nvPr>
        </p:nvSpPr>
        <p:spPr>
          <a:xfrm>
            <a:off x="9404520" y="2432899"/>
            <a:ext cx="2414654" cy="320400"/>
          </a:xfrm>
          <a:prstGeom prst="rect">
            <a:avLst/>
          </a:prstGeom>
        </p:spPr>
        <p:txBody>
          <a:bodyPr lIns="0" tIns="0" rIns="0" bIns="0"/>
          <a:lstStyle>
            <a:lvl1pPr algn="ctr">
              <a:buNone/>
              <a:defRPr sz="1000" b="0">
                <a:solidFill>
                  <a:srgbClr val="FFFFFF"/>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s-ES" dirty="0"/>
              <a:t>Text </a:t>
            </a:r>
            <a:r>
              <a:rPr lang="es-ES" dirty="0" err="1"/>
              <a:t>for</a:t>
            </a:r>
            <a:r>
              <a:rPr lang="es-ES" dirty="0"/>
              <a:t> </a:t>
            </a:r>
            <a:r>
              <a:rPr lang="es-ES" dirty="0" err="1"/>
              <a:t>relevant</a:t>
            </a:r>
            <a:r>
              <a:rPr lang="es-ES" dirty="0"/>
              <a:t> figure</a:t>
            </a:r>
            <a:endParaRPr lang="en-GB" dirty="0"/>
          </a:p>
        </p:txBody>
      </p:sp>
      <p:sp>
        <p:nvSpPr>
          <p:cNvPr id="36" name="Marcador de texto 3">
            <a:extLst>
              <a:ext uri="{FF2B5EF4-FFF2-40B4-BE49-F238E27FC236}">
                <a16:creationId xmlns:a16="http://schemas.microsoft.com/office/drawing/2014/main" id="{3009B9B7-55E7-4B0C-8255-FC29ABF8AFE6}"/>
              </a:ext>
            </a:extLst>
          </p:cNvPr>
          <p:cNvSpPr>
            <a:spLocks noGrp="1"/>
          </p:cNvSpPr>
          <p:nvPr>
            <p:ph type="body" sz="quarter" idx="21" hasCustomPrompt="1"/>
          </p:nvPr>
        </p:nvSpPr>
        <p:spPr>
          <a:xfrm>
            <a:off x="9410925" y="3950669"/>
            <a:ext cx="2414654" cy="320400"/>
          </a:xfrm>
          <a:prstGeom prst="rect">
            <a:avLst/>
          </a:prstGeom>
        </p:spPr>
        <p:txBody>
          <a:bodyPr lIns="0" tIns="0" rIns="0" bIns="0"/>
          <a:lstStyle>
            <a:lvl1pPr algn="ctr">
              <a:buNone/>
              <a:defRPr sz="1200" b="1">
                <a:solidFill>
                  <a:srgbClr val="FFFFFF"/>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s-ES" dirty="0"/>
              <a:t>Text </a:t>
            </a:r>
            <a:r>
              <a:rPr lang="es-ES" dirty="0" err="1"/>
              <a:t>for</a:t>
            </a:r>
            <a:r>
              <a:rPr lang="es-ES" dirty="0"/>
              <a:t> </a:t>
            </a:r>
            <a:r>
              <a:rPr lang="es-ES" dirty="0" err="1"/>
              <a:t>relevant</a:t>
            </a:r>
            <a:r>
              <a:rPr lang="es-ES" dirty="0"/>
              <a:t> figure</a:t>
            </a:r>
            <a:endParaRPr lang="en-GB" dirty="0"/>
          </a:p>
        </p:txBody>
      </p:sp>
      <p:sp>
        <p:nvSpPr>
          <p:cNvPr id="37" name="Marcador de texto 3">
            <a:extLst>
              <a:ext uri="{FF2B5EF4-FFF2-40B4-BE49-F238E27FC236}">
                <a16:creationId xmlns:a16="http://schemas.microsoft.com/office/drawing/2014/main" id="{B959AFC2-8996-4919-A682-2747AF44EC25}"/>
              </a:ext>
            </a:extLst>
          </p:cNvPr>
          <p:cNvSpPr>
            <a:spLocks noGrp="1"/>
          </p:cNvSpPr>
          <p:nvPr>
            <p:ph type="body" sz="quarter" idx="22" hasCustomPrompt="1"/>
          </p:nvPr>
        </p:nvSpPr>
        <p:spPr>
          <a:xfrm>
            <a:off x="9410925" y="4161115"/>
            <a:ext cx="2414654" cy="320400"/>
          </a:xfrm>
          <a:prstGeom prst="rect">
            <a:avLst/>
          </a:prstGeom>
        </p:spPr>
        <p:txBody>
          <a:bodyPr lIns="0" tIns="0" rIns="0" bIns="0"/>
          <a:lstStyle>
            <a:lvl1pPr algn="ctr">
              <a:buNone/>
              <a:defRPr lang="en-GB" sz="1000" b="0" i="0" kern="1200" dirty="0">
                <a:solidFill>
                  <a:srgbClr val="FFFFFF"/>
                </a:solidFill>
                <a:latin typeface="+mn-lt"/>
                <a:ea typeface="+mn-ea"/>
                <a:cs typeface="+mn-cs"/>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marL="0" lvl="0" indent="0" algn="ctr" defTabSz="914400" rtl="0" eaLnBrk="1" latinLnBrk="0" hangingPunct="1">
              <a:lnSpc>
                <a:spcPct val="90000"/>
              </a:lnSpc>
              <a:spcBef>
                <a:spcPts val="1800"/>
              </a:spcBef>
              <a:buFontTx/>
              <a:buNone/>
            </a:pPr>
            <a:r>
              <a:rPr lang="es-ES" dirty="0"/>
              <a:t>Text </a:t>
            </a:r>
            <a:r>
              <a:rPr lang="es-ES" dirty="0" err="1"/>
              <a:t>for</a:t>
            </a:r>
            <a:r>
              <a:rPr lang="es-ES" dirty="0"/>
              <a:t> </a:t>
            </a:r>
            <a:r>
              <a:rPr lang="es-ES" dirty="0" err="1"/>
              <a:t>relevant</a:t>
            </a:r>
            <a:r>
              <a:rPr lang="es-ES" dirty="0"/>
              <a:t> figure</a:t>
            </a:r>
            <a:endParaRPr lang="en-GB" dirty="0"/>
          </a:p>
        </p:txBody>
      </p:sp>
      <p:sp>
        <p:nvSpPr>
          <p:cNvPr id="38" name="Marcador de texto 3">
            <a:extLst>
              <a:ext uri="{FF2B5EF4-FFF2-40B4-BE49-F238E27FC236}">
                <a16:creationId xmlns:a16="http://schemas.microsoft.com/office/drawing/2014/main" id="{6B08A81F-C034-400F-9B5F-354604C30AB9}"/>
              </a:ext>
            </a:extLst>
          </p:cNvPr>
          <p:cNvSpPr>
            <a:spLocks noGrp="1"/>
          </p:cNvSpPr>
          <p:nvPr>
            <p:ph type="body" sz="quarter" idx="23" hasCustomPrompt="1"/>
          </p:nvPr>
        </p:nvSpPr>
        <p:spPr>
          <a:xfrm>
            <a:off x="9404520" y="5649955"/>
            <a:ext cx="2414654" cy="320400"/>
          </a:xfrm>
          <a:prstGeom prst="rect">
            <a:avLst/>
          </a:prstGeom>
        </p:spPr>
        <p:txBody>
          <a:bodyPr lIns="0" tIns="0" rIns="0" bIns="0"/>
          <a:lstStyle>
            <a:lvl1pPr algn="ctr">
              <a:buNone/>
              <a:defRPr sz="1200" b="1">
                <a:solidFill>
                  <a:srgbClr val="FFFFFF"/>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s-ES" dirty="0"/>
              <a:t>Text </a:t>
            </a:r>
            <a:r>
              <a:rPr lang="es-ES" dirty="0" err="1"/>
              <a:t>for</a:t>
            </a:r>
            <a:r>
              <a:rPr lang="es-ES" dirty="0"/>
              <a:t> </a:t>
            </a:r>
            <a:r>
              <a:rPr lang="es-ES" dirty="0" err="1"/>
              <a:t>relevant</a:t>
            </a:r>
            <a:r>
              <a:rPr lang="es-ES" dirty="0"/>
              <a:t> figure</a:t>
            </a:r>
            <a:endParaRPr lang="en-GB" dirty="0"/>
          </a:p>
        </p:txBody>
      </p:sp>
      <p:sp>
        <p:nvSpPr>
          <p:cNvPr id="39" name="Marcador de texto 3">
            <a:extLst>
              <a:ext uri="{FF2B5EF4-FFF2-40B4-BE49-F238E27FC236}">
                <a16:creationId xmlns:a16="http://schemas.microsoft.com/office/drawing/2014/main" id="{09AB3247-9F91-44C8-A332-75F6B2806398}"/>
              </a:ext>
            </a:extLst>
          </p:cNvPr>
          <p:cNvSpPr>
            <a:spLocks noGrp="1"/>
          </p:cNvSpPr>
          <p:nvPr>
            <p:ph type="body" sz="quarter" idx="24" hasCustomPrompt="1"/>
          </p:nvPr>
        </p:nvSpPr>
        <p:spPr>
          <a:xfrm>
            <a:off x="9404520" y="5860401"/>
            <a:ext cx="2414654" cy="320400"/>
          </a:xfrm>
          <a:prstGeom prst="rect">
            <a:avLst/>
          </a:prstGeom>
        </p:spPr>
        <p:txBody>
          <a:bodyPr lIns="0" tIns="0" rIns="0" bIns="0"/>
          <a:lstStyle>
            <a:lvl1pPr algn="ctr">
              <a:buNone/>
              <a:defRPr lang="en-GB" sz="1000" b="0" i="0" kern="1200" dirty="0">
                <a:solidFill>
                  <a:srgbClr val="FFFFFF"/>
                </a:solidFill>
                <a:latin typeface="+mn-lt"/>
                <a:ea typeface="+mn-ea"/>
                <a:cs typeface="+mn-cs"/>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marL="0" lvl="0" indent="0" algn="ctr" defTabSz="914400" rtl="0" eaLnBrk="1" latinLnBrk="0" hangingPunct="1">
              <a:lnSpc>
                <a:spcPct val="90000"/>
              </a:lnSpc>
              <a:spcBef>
                <a:spcPts val="1800"/>
              </a:spcBef>
              <a:buFontTx/>
              <a:buNone/>
            </a:pPr>
            <a:r>
              <a:rPr lang="es-ES" dirty="0"/>
              <a:t>Text </a:t>
            </a:r>
            <a:r>
              <a:rPr lang="es-ES" dirty="0" err="1"/>
              <a:t>for</a:t>
            </a:r>
            <a:r>
              <a:rPr lang="es-ES" dirty="0"/>
              <a:t> </a:t>
            </a:r>
            <a:r>
              <a:rPr lang="es-ES" dirty="0" err="1"/>
              <a:t>relevant</a:t>
            </a:r>
            <a:r>
              <a:rPr lang="es-ES" dirty="0"/>
              <a:t> figure</a:t>
            </a:r>
            <a:endParaRPr lang="en-GB" dirty="0"/>
          </a:p>
        </p:txBody>
      </p:sp>
    </p:spTree>
    <p:extLst>
      <p:ext uri="{BB962C8B-B14F-4D97-AF65-F5344CB8AC3E}">
        <p14:creationId xmlns:p14="http://schemas.microsoft.com/office/powerpoint/2010/main" val="81661073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CDBA13D-FCA5-4989-91E5-44E3413182C1}"/>
              </a:ext>
            </a:extLst>
          </p:cNvPr>
          <p:cNvGraphicFramePr>
            <a:graphicFrameLocks noChangeAspect="1"/>
          </p:cNvGraphicFramePr>
          <p:nvPr userDrawn="1">
            <p:custDataLst>
              <p:tags r:id="rId2"/>
            </p:custDataLst>
            <p:extLst>
              <p:ext uri="{D42A27DB-BD31-4B8C-83A1-F6EECF244321}">
                <p14:modId xmlns:p14="http://schemas.microsoft.com/office/powerpoint/2010/main" val="1695647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8" name="think-cell Slide" r:id="rId5" imgW="473" imgH="474" progId="TCLayout.ActiveDocument.1">
                  <p:embed/>
                </p:oleObj>
              </mc:Choice>
              <mc:Fallback>
                <p:oleObj name="think-cell Slide" r:id="rId5" imgW="473" imgH="474" progId="TCLayout.ActiveDocument.1">
                  <p:embed/>
                  <p:pic>
                    <p:nvPicPr>
                      <p:cNvPr id="2" name="Object 1" hidden="1">
                        <a:extLst>
                          <a:ext uri="{FF2B5EF4-FFF2-40B4-BE49-F238E27FC236}">
                            <a16:creationId xmlns:a16="http://schemas.microsoft.com/office/drawing/2014/main" id="{9CDBA13D-FCA5-4989-91E5-44E3413182C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7D4D7FA-7248-4529-B53C-62A15C74CE6E}"/>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Verdana" panose="020B0604030504040204" pitchFamily="34" charset="0"/>
              <a:ea typeface="+mj-ea"/>
              <a:cs typeface="+mj-cs"/>
              <a:sym typeface="Verdana" panose="020B0604030504040204" pitchFamily="34" charset="0"/>
            </a:endParaRPr>
          </a:p>
        </p:txBody>
      </p:sp>
      <p:sp>
        <p:nvSpPr>
          <p:cNvPr id="16" name="Marcador de texto 2">
            <a:extLst>
              <a:ext uri="{FF2B5EF4-FFF2-40B4-BE49-F238E27FC236}">
                <a16:creationId xmlns:a16="http://schemas.microsoft.com/office/drawing/2014/main" id="{9ECC12FF-66F9-5342-A608-D96A0F40994B}"/>
              </a:ext>
            </a:extLst>
          </p:cNvPr>
          <p:cNvSpPr>
            <a:spLocks noGrp="1"/>
          </p:cNvSpPr>
          <p:nvPr>
            <p:ph type="body" idx="10" hasCustomPrompt="1"/>
          </p:nvPr>
        </p:nvSpPr>
        <p:spPr>
          <a:xfrm>
            <a:off x="368790" y="722639"/>
            <a:ext cx="11446270" cy="324000"/>
          </a:xfrm>
          <a:prstGeom prst="rect">
            <a:avLst/>
          </a:prstGeom>
        </p:spPr>
        <p:txBody>
          <a:bodyPr lIns="0" tIns="0" rIns="0" bIns="0" anchor="t"/>
          <a:lstStyle>
            <a:lvl1pPr marL="0" indent="0">
              <a:lnSpc>
                <a:spcPct val="100000"/>
              </a:lnSpc>
              <a:spcBef>
                <a:spcPts val="0"/>
              </a:spcBef>
              <a:buNone/>
              <a:defRPr sz="2000" b="0">
                <a:solidFill>
                  <a:srgbClr val="000000"/>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err="1"/>
              <a:t>Subtitle</a:t>
            </a:r>
            <a:endParaRPr lang="es-ES" dirty="0"/>
          </a:p>
        </p:txBody>
      </p:sp>
      <p:sp>
        <p:nvSpPr>
          <p:cNvPr id="3" name="Title 2">
            <a:extLst>
              <a:ext uri="{FF2B5EF4-FFF2-40B4-BE49-F238E27FC236}">
                <a16:creationId xmlns:a16="http://schemas.microsoft.com/office/drawing/2014/main" id="{AC437299-17E5-4499-8DF6-B32E17F3F01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0412656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2_Text + relevant figures+images+straigh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18526C9-16E3-4A1D-828A-4692734F055E}"/>
              </a:ext>
            </a:extLst>
          </p:cNvPr>
          <p:cNvGraphicFramePr>
            <a:graphicFrameLocks noChangeAspect="1"/>
          </p:cNvGraphicFramePr>
          <p:nvPr userDrawn="1">
            <p:custDataLst>
              <p:tags r:id="rId2"/>
            </p:custDataLst>
            <p:extLst>
              <p:ext uri="{D42A27DB-BD31-4B8C-83A1-F6EECF244321}">
                <p14:modId xmlns:p14="http://schemas.microsoft.com/office/powerpoint/2010/main" val="21985194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80" name="think-cell Slide" r:id="rId5" imgW="473" imgH="474" progId="TCLayout.ActiveDocument.1">
                  <p:embed/>
                </p:oleObj>
              </mc:Choice>
              <mc:Fallback>
                <p:oleObj name="think-cell Slide" r:id="rId5" imgW="473" imgH="474" progId="TCLayout.ActiveDocument.1">
                  <p:embed/>
                  <p:pic>
                    <p:nvPicPr>
                      <p:cNvPr id="3" name="Object 2" hidden="1">
                        <a:extLst>
                          <a:ext uri="{FF2B5EF4-FFF2-40B4-BE49-F238E27FC236}">
                            <a16:creationId xmlns:a16="http://schemas.microsoft.com/office/drawing/2014/main" id="{C18526C9-16E3-4A1D-828A-4692734F055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B2B384D-A05A-4439-838E-B66DA57DCB38}"/>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Verdana" panose="020B0604030504040204" pitchFamily="34" charset="0"/>
              <a:ea typeface="+mj-ea"/>
              <a:cs typeface="+mj-cs"/>
              <a:sym typeface="Verdana" panose="020B0604030504040204" pitchFamily="34" charset="0"/>
            </a:endParaRPr>
          </a:p>
        </p:txBody>
      </p:sp>
      <p:sp>
        <p:nvSpPr>
          <p:cNvPr id="2" name="Rectángulo 1">
            <a:extLst>
              <a:ext uri="{FF2B5EF4-FFF2-40B4-BE49-F238E27FC236}">
                <a16:creationId xmlns:a16="http://schemas.microsoft.com/office/drawing/2014/main" id="{BF29E734-210D-BC45-815B-FC427C40A195}"/>
              </a:ext>
            </a:extLst>
          </p:cNvPr>
          <p:cNvSpPr/>
          <p:nvPr userDrawn="1"/>
        </p:nvSpPr>
        <p:spPr>
          <a:xfrm>
            <a:off x="6547911" y="-5081"/>
            <a:ext cx="5669541" cy="6872077"/>
          </a:xfrm>
          <a:custGeom>
            <a:avLst/>
            <a:gdLst>
              <a:gd name="connsiteX0" fmla="*/ 0 w 3267919"/>
              <a:gd name="connsiteY0" fmla="*/ 0 h 6858000"/>
              <a:gd name="connsiteX1" fmla="*/ 3267919 w 3267919"/>
              <a:gd name="connsiteY1" fmla="*/ 0 h 6858000"/>
              <a:gd name="connsiteX2" fmla="*/ 3267919 w 3267919"/>
              <a:gd name="connsiteY2" fmla="*/ 6858000 h 6858000"/>
              <a:gd name="connsiteX3" fmla="*/ 0 w 3267919"/>
              <a:gd name="connsiteY3" fmla="*/ 6858000 h 6858000"/>
              <a:gd name="connsiteX4" fmla="*/ 0 w 3267919"/>
              <a:gd name="connsiteY4" fmla="*/ 0 h 6858000"/>
              <a:gd name="connsiteX0" fmla="*/ 2835797 w 6103716"/>
              <a:gd name="connsiteY0" fmla="*/ 0 h 6858000"/>
              <a:gd name="connsiteX1" fmla="*/ 6103716 w 6103716"/>
              <a:gd name="connsiteY1" fmla="*/ 0 h 6858000"/>
              <a:gd name="connsiteX2" fmla="*/ 6103716 w 6103716"/>
              <a:gd name="connsiteY2" fmla="*/ 6858000 h 6858000"/>
              <a:gd name="connsiteX3" fmla="*/ 0 w 6103716"/>
              <a:gd name="connsiteY3" fmla="*/ 6858000 h 6858000"/>
              <a:gd name="connsiteX4" fmla="*/ 2835797 w 6103716"/>
              <a:gd name="connsiteY4" fmla="*/ 0 h 6858000"/>
              <a:gd name="connsiteX0" fmla="*/ 2835797 w 7255397"/>
              <a:gd name="connsiteY0" fmla="*/ 5788 h 6863788"/>
              <a:gd name="connsiteX1" fmla="*/ 7255397 w 7255397"/>
              <a:gd name="connsiteY1" fmla="*/ 0 h 6863788"/>
              <a:gd name="connsiteX2" fmla="*/ 6103716 w 7255397"/>
              <a:gd name="connsiteY2" fmla="*/ 6863788 h 6863788"/>
              <a:gd name="connsiteX3" fmla="*/ 0 w 7255397"/>
              <a:gd name="connsiteY3" fmla="*/ 6863788 h 6863788"/>
              <a:gd name="connsiteX4" fmla="*/ 2835797 w 7255397"/>
              <a:gd name="connsiteY4" fmla="*/ 5788 h 6863788"/>
              <a:gd name="connsiteX0" fmla="*/ 2835797 w 7255397"/>
              <a:gd name="connsiteY0" fmla="*/ 5788 h 6863788"/>
              <a:gd name="connsiteX1" fmla="*/ 7255397 w 7255397"/>
              <a:gd name="connsiteY1" fmla="*/ 0 h 6863788"/>
              <a:gd name="connsiteX2" fmla="*/ 7232248 w 7255397"/>
              <a:gd name="connsiteY2" fmla="*/ 6863788 h 6863788"/>
              <a:gd name="connsiteX3" fmla="*/ 0 w 7255397"/>
              <a:gd name="connsiteY3" fmla="*/ 6863788 h 6863788"/>
              <a:gd name="connsiteX4" fmla="*/ 2835797 w 7255397"/>
              <a:gd name="connsiteY4" fmla="*/ 5788 h 6863788"/>
              <a:gd name="connsiteX0" fmla="*/ 2586941 w 7006541"/>
              <a:gd name="connsiteY0" fmla="*/ 5788 h 6869576"/>
              <a:gd name="connsiteX1" fmla="*/ 7006541 w 7006541"/>
              <a:gd name="connsiteY1" fmla="*/ 0 h 6869576"/>
              <a:gd name="connsiteX2" fmla="*/ 6983392 w 7006541"/>
              <a:gd name="connsiteY2" fmla="*/ 6863788 h 6869576"/>
              <a:gd name="connsiteX3" fmla="*/ 0 w 7006541"/>
              <a:gd name="connsiteY3" fmla="*/ 6869576 h 6869576"/>
              <a:gd name="connsiteX4" fmla="*/ 2586941 w 7006541"/>
              <a:gd name="connsiteY4" fmla="*/ 5788 h 6869576"/>
              <a:gd name="connsiteX0" fmla="*/ 2586941 w 7006541"/>
              <a:gd name="connsiteY0" fmla="*/ 5788 h 6869576"/>
              <a:gd name="connsiteX1" fmla="*/ 7006541 w 7006541"/>
              <a:gd name="connsiteY1" fmla="*/ 0 h 6869576"/>
              <a:gd name="connsiteX2" fmla="*/ 6983392 w 7006541"/>
              <a:gd name="connsiteY2" fmla="*/ 6863788 h 6869576"/>
              <a:gd name="connsiteX3" fmla="*/ 0 w 7006541"/>
              <a:gd name="connsiteY3" fmla="*/ 6869576 h 6869576"/>
              <a:gd name="connsiteX4" fmla="*/ 2586941 w 7006541"/>
              <a:gd name="connsiteY4" fmla="*/ 5788 h 6869576"/>
              <a:gd name="connsiteX0" fmla="*/ 2586941 w 6983416"/>
              <a:gd name="connsiteY0" fmla="*/ 0 h 6863788"/>
              <a:gd name="connsiteX1" fmla="*/ 5148805 w 6983416"/>
              <a:gd name="connsiteY1" fmla="*/ 0 h 6863788"/>
              <a:gd name="connsiteX2" fmla="*/ 6983392 w 6983416"/>
              <a:gd name="connsiteY2" fmla="*/ 6858000 h 6863788"/>
              <a:gd name="connsiteX3" fmla="*/ 0 w 6983416"/>
              <a:gd name="connsiteY3" fmla="*/ 6863788 h 6863788"/>
              <a:gd name="connsiteX4" fmla="*/ 2586941 w 6983416"/>
              <a:gd name="connsiteY4" fmla="*/ 0 h 6863788"/>
              <a:gd name="connsiteX0" fmla="*/ 2586941 w 6983421"/>
              <a:gd name="connsiteY0" fmla="*/ 0 h 6863788"/>
              <a:gd name="connsiteX1" fmla="*/ 5513407 w 6983421"/>
              <a:gd name="connsiteY1" fmla="*/ 0 h 6863788"/>
              <a:gd name="connsiteX2" fmla="*/ 6983392 w 6983421"/>
              <a:gd name="connsiteY2" fmla="*/ 6858000 h 6863788"/>
              <a:gd name="connsiteX3" fmla="*/ 0 w 6983421"/>
              <a:gd name="connsiteY3" fmla="*/ 6863788 h 6863788"/>
              <a:gd name="connsiteX4" fmla="*/ 2586941 w 6983421"/>
              <a:gd name="connsiteY4" fmla="*/ 0 h 6863788"/>
              <a:gd name="connsiteX0" fmla="*/ 2586941 w 5513407"/>
              <a:gd name="connsiteY0" fmla="*/ 0 h 6869575"/>
              <a:gd name="connsiteX1" fmla="*/ 5513407 w 5513407"/>
              <a:gd name="connsiteY1" fmla="*/ 0 h 6869575"/>
              <a:gd name="connsiteX2" fmla="*/ 5183529 w 5513407"/>
              <a:gd name="connsiteY2" fmla="*/ 6869575 h 6869575"/>
              <a:gd name="connsiteX3" fmla="*/ 0 w 5513407"/>
              <a:gd name="connsiteY3" fmla="*/ 6863788 h 6869575"/>
              <a:gd name="connsiteX4" fmla="*/ 2586941 w 5513407"/>
              <a:gd name="connsiteY4" fmla="*/ 0 h 6869575"/>
              <a:gd name="connsiteX0" fmla="*/ 2586941 w 5513407"/>
              <a:gd name="connsiteY0" fmla="*/ 0 h 6863788"/>
              <a:gd name="connsiteX1" fmla="*/ 5513407 w 5513407"/>
              <a:gd name="connsiteY1" fmla="*/ 0 h 6863788"/>
              <a:gd name="connsiteX2" fmla="*/ 5496045 w 5513407"/>
              <a:gd name="connsiteY2" fmla="*/ 6829064 h 6863788"/>
              <a:gd name="connsiteX3" fmla="*/ 0 w 5513407"/>
              <a:gd name="connsiteY3" fmla="*/ 6863788 h 6863788"/>
              <a:gd name="connsiteX4" fmla="*/ 2586941 w 5513407"/>
              <a:gd name="connsiteY4" fmla="*/ 0 h 6863788"/>
              <a:gd name="connsiteX0" fmla="*/ 2586941 w 5520913"/>
              <a:gd name="connsiteY0" fmla="*/ 0 h 6863788"/>
              <a:gd name="connsiteX1" fmla="*/ 5513407 w 5520913"/>
              <a:gd name="connsiteY1" fmla="*/ 0 h 6863788"/>
              <a:gd name="connsiteX2" fmla="*/ 5519195 w 5520913"/>
              <a:gd name="connsiteY2" fmla="*/ 6840638 h 6863788"/>
              <a:gd name="connsiteX3" fmla="*/ 0 w 5520913"/>
              <a:gd name="connsiteY3" fmla="*/ 6863788 h 6863788"/>
              <a:gd name="connsiteX4" fmla="*/ 2586941 w 5520913"/>
              <a:gd name="connsiteY4" fmla="*/ 0 h 6863788"/>
              <a:gd name="connsiteX0" fmla="*/ 2586941 w 5543249"/>
              <a:gd name="connsiteY0" fmla="*/ 0 h 6863788"/>
              <a:gd name="connsiteX1" fmla="*/ 5513407 w 5543249"/>
              <a:gd name="connsiteY1" fmla="*/ 0 h 6863788"/>
              <a:gd name="connsiteX2" fmla="*/ 5542344 w 5543249"/>
              <a:gd name="connsiteY2" fmla="*/ 6852213 h 6863788"/>
              <a:gd name="connsiteX3" fmla="*/ 0 w 5543249"/>
              <a:gd name="connsiteY3" fmla="*/ 6863788 h 6863788"/>
              <a:gd name="connsiteX4" fmla="*/ 2586941 w 5543249"/>
              <a:gd name="connsiteY4" fmla="*/ 0 h 6863788"/>
              <a:gd name="connsiteX0" fmla="*/ 2586941 w 5543249"/>
              <a:gd name="connsiteY0" fmla="*/ 0 h 6863788"/>
              <a:gd name="connsiteX1" fmla="*/ 5513407 w 5543249"/>
              <a:gd name="connsiteY1" fmla="*/ 0 h 6863788"/>
              <a:gd name="connsiteX2" fmla="*/ 5542344 w 5543249"/>
              <a:gd name="connsiteY2" fmla="*/ 6852213 h 6863788"/>
              <a:gd name="connsiteX3" fmla="*/ 0 w 5543249"/>
              <a:gd name="connsiteY3" fmla="*/ 6863788 h 6863788"/>
              <a:gd name="connsiteX4" fmla="*/ 2586941 w 5543249"/>
              <a:gd name="connsiteY4" fmla="*/ 0 h 6863788"/>
              <a:gd name="connsiteX0" fmla="*/ 2552723 w 5509031"/>
              <a:gd name="connsiteY0" fmla="*/ 0 h 6852213"/>
              <a:gd name="connsiteX1" fmla="*/ 5479189 w 5509031"/>
              <a:gd name="connsiteY1" fmla="*/ 0 h 6852213"/>
              <a:gd name="connsiteX2" fmla="*/ 5508126 w 5509031"/>
              <a:gd name="connsiteY2" fmla="*/ 6852213 h 6852213"/>
              <a:gd name="connsiteX3" fmla="*/ 0 w 5509031"/>
              <a:gd name="connsiteY3" fmla="*/ 6789649 h 6852213"/>
              <a:gd name="connsiteX4" fmla="*/ 2552723 w 5509031"/>
              <a:gd name="connsiteY4" fmla="*/ 0 h 6852213"/>
              <a:gd name="connsiteX0" fmla="*/ 2552723 w 5494413"/>
              <a:gd name="connsiteY0" fmla="*/ 0 h 6789649"/>
              <a:gd name="connsiteX1" fmla="*/ 5479189 w 5494413"/>
              <a:gd name="connsiteY1" fmla="*/ 0 h 6789649"/>
              <a:gd name="connsiteX2" fmla="*/ 5493109 w 5494413"/>
              <a:gd name="connsiteY2" fmla="*/ 6606924 h 6789649"/>
              <a:gd name="connsiteX3" fmla="*/ 0 w 5494413"/>
              <a:gd name="connsiteY3" fmla="*/ 6789649 h 6789649"/>
              <a:gd name="connsiteX4" fmla="*/ 2552723 w 5494413"/>
              <a:gd name="connsiteY4" fmla="*/ 0 h 6789649"/>
              <a:gd name="connsiteX0" fmla="*/ 2552723 w 5479189"/>
              <a:gd name="connsiteY0" fmla="*/ 0 h 6789649"/>
              <a:gd name="connsiteX1" fmla="*/ 5479189 w 5479189"/>
              <a:gd name="connsiteY1" fmla="*/ 0 h 6789649"/>
              <a:gd name="connsiteX2" fmla="*/ 5433038 w 5479189"/>
              <a:gd name="connsiteY2" fmla="*/ 6757102 h 6789649"/>
              <a:gd name="connsiteX3" fmla="*/ 0 w 5479189"/>
              <a:gd name="connsiteY3" fmla="*/ 6789649 h 6789649"/>
              <a:gd name="connsiteX4" fmla="*/ 2552723 w 5479189"/>
              <a:gd name="connsiteY4" fmla="*/ 0 h 6789649"/>
              <a:gd name="connsiteX0" fmla="*/ 2552723 w 6003412"/>
              <a:gd name="connsiteY0" fmla="*/ 0 h 6789649"/>
              <a:gd name="connsiteX1" fmla="*/ 5479189 w 6003412"/>
              <a:gd name="connsiteY1" fmla="*/ 0 h 6789649"/>
              <a:gd name="connsiteX2" fmla="*/ 6003331 w 6003412"/>
              <a:gd name="connsiteY2" fmla="*/ 6762805 h 6789649"/>
              <a:gd name="connsiteX3" fmla="*/ 0 w 6003412"/>
              <a:gd name="connsiteY3" fmla="*/ 6789649 h 6789649"/>
              <a:gd name="connsiteX4" fmla="*/ 2552723 w 6003412"/>
              <a:gd name="connsiteY4" fmla="*/ 0 h 6789649"/>
              <a:gd name="connsiteX0" fmla="*/ 2564128 w 6014817"/>
              <a:gd name="connsiteY0" fmla="*/ 0 h 6766838"/>
              <a:gd name="connsiteX1" fmla="*/ 5490594 w 6014817"/>
              <a:gd name="connsiteY1" fmla="*/ 0 h 6766838"/>
              <a:gd name="connsiteX2" fmla="*/ 6014736 w 6014817"/>
              <a:gd name="connsiteY2" fmla="*/ 6762805 h 6766838"/>
              <a:gd name="connsiteX3" fmla="*/ 0 w 6014817"/>
              <a:gd name="connsiteY3" fmla="*/ 6766838 h 6766838"/>
              <a:gd name="connsiteX4" fmla="*/ 2564128 w 6014817"/>
              <a:gd name="connsiteY4" fmla="*/ 0 h 6766838"/>
              <a:gd name="connsiteX0" fmla="*/ 2564128 w 6020966"/>
              <a:gd name="connsiteY0" fmla="*/ 0 h 6766838"/>
              <a:gd name="connsiteX1" fmla="*/ 6020966 w 6020966"/>
              <a:gd name="connsiteY1" fmla="*/ 0 h 6766838"/>
              <a:gd name="connsiteX2" fmla="*/ 6014736 w 6020966"/>
              <a:gd name="connsiteY2" fmla="*/ 6762805 h 6766838"/>
              <a:gd name="connsiteX3" fmla="*/ 0 w 6020966"/>
              <a:gd name="connsiteY3" fmla="*/ 6766838 h 6766838"/>
              <a:gd name="connsiteX4" fmla="*/ 2564128 w 6020966"/>
              <a:gd name="connsiteY4" fmla="*/ 0 h 6766838"/>
              <a:gd name="connsiteX0" fmla="*/ 2564128 w 6022729"/>
              <a:gd name="connsiteY0" fmla="*/ 0 h 6766838"/>
              <a:gd name="connsiteX1" fmla="*/ 6020966 w 6022729"/>
              <a:gd name="connsiteY1" fmla="*/ 0 h 6766838"/>
              <a:gd name="connsiteX2" fmla="*/ 6020440 w 6022729"/>
              <a:gd name="connsiteY2" fmla="*/ 6757103 h 6766838"/>
              <a:gd name="connsiteX3" fmla="*/ 0 w 6022729"/>
              <a:gd name="connsiteY3" fmla="*/ 6766838 h 6766838"/>
              <a:gd name="connsiteX4" fmla="*/ 2564128 w 6022729"/>
              <a:gd name="connsiteY4" fmla="*/ 0 h 6766838"/>
              <a:gd name="connsiteX0" fmla="*/ 2564128 w 6020537"/>
              <a:gd name="connsiteY0" fmla="*/ 0 h 6766838"/>
              <a:gd name="connsiteX1" fmla="*/ 5581840 w 6020537"/>
              <a:gd name="connsiteY1" fmla="*/ 0 h 6766838"/>
              <a:gd name="connsiteX2" fmla="*/ 6020440 w 6020537"/>
              <a:gd name="connsiteY2" fmla="*/ 6757103 h 6766838"/>
              <a:gd name="connsiteX3" fmla="*/ 0 w 6020537"/>
              <a:gd name="connsiteY3" fmla="*/ 6766838 h 6766838"/>
              <a:gd name="connsiteX4" fmla="*/ 2564128 w 6020537"/>
              <a:gd name="connsiteY4" fmla="*/ 0 h 6766838"/>
              <a:gd name="connsiteX0" fmla="*/ 2564128 w 5581840"/>
              <a:gd name="connsiteY0" fmla="*/ 0 h 6768508"/>
              <a:gd name="connsiteX1" fmla="*/ 5581840 w 5581840"/>
              <a:gd name="connsiteY1" fmla="*/ 0 h 6768508"/>
              <a:gd name="connsiteX2" fmla="*/ 5147893 w 5581840"/>
              <a:gd name="connsiteY2" fmla="*/ 6768508 h 6768508"/>
              <a:gd name="connsiteX3" fmla="*/ 0 w 5581840"/>
              <a:gd name="connsiteY3" fmla="*/ 6766838 h 6768508"/>
              <a:gd name="connsiteX4" fmla="*/ 2564128 w 5581840"/>
              <a:gd name="connsiteY4" fmla="*/ 0 h 6768508"/>
              <a:gd name="connsiteX0" fmla="*/ 2564128 w 5581840"/>
              <a:gd name="connsiteY0" fmla="*/ 0 h 6766838"/>
              <a:gd name="connsiteX1" fmla="*/ 5581840 w 5581840"/>
              <a:gd name="connsiteY1" fmla="*/ 0 h 6766838"/>
              <a:gd name="connsiteX2" fmla="*/ 5569910 w 5581840"/>
              <a:gd name="connsiteY2" fmla="*/ 6757103 h 6766838"/>
              <a:gd name="connsiteX3" fmla="*/ 0 w 5581840"/>
              <a:gd name="connsiteY3" fmla="*/ 6766838 h 6766838"/>
              <a:gd name="connsiteX4" fmla="*/ 2564128 w 5581840"/>
              <a:gd name="connsiteY4" fmla="*/ 0 h 6766838"/>
              <a:gd name="connsiteX0" fmla="*/ 2564128 w 5586846"/>
              <a:gd name="connsiteY0" fmla="*/ 5006 h 6771844"/>
              <a:gd name="connsiteX1" fmla="*/ 5586846 w 5586846"/>
              <a:gd name="connsiteY1" fmla="*/ 0 h 6771844"/>
              <a:gd name="connsiteX2" fmla="*/ 5569910 w 5586846"/>
              <a:gd name="connsiteY2" fmla="*/ 6762109 h 6771844"/>
              <a:gd name="connsiteX3" fmla="*/ 0 w 5586846"/>
              <a:gd name="connsiteY3" fmla="*/ 6771844 h 6771844"/>
              <a:gd name="connsiteX4" fmla="*/ 2564128 w 5586846"/>
              <a:gd name="connsiteY4" fmla="*/ 5006 h 6771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86846" h="6771844">
                <a:moveTo>
                  <a:pt x="2564128" y="5006"/>
                </a:moveTo>
                <a:lnTo>
                  <a:pt x="5586846" y="0"/>
                </a:lnTo>
                <a:cubicBezTo>
                  <a:pt x="5579130" y="2287929"/>
                  <a:pt x="5577626" y="4474180"/>
                  <a:pt x="5569910" y="6762109"/>
                </a:cubicBezTo>
                <a:lnTo>
                  <a:pt x="0" y="6771844"/>
                </a:lnTo>
                <a:lnTo>
                  <a:pt x="2564128" y="5006"/>
                </a:lnTo>
                <a:close/>
              </a:path>
            </a:pathLst>
          </a:custGeom>
          <a:gradFill>
            <a:gsLst>
              <a:gs pos="0">
                <a:schemeClr val="accent1"/>
              </a:gs>
              <a:gs pos="100000">
                <a:schemeClr val="accent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accent4"/>
              </a:solidFill>
            </a:endParaRPr>
          </a:p>
        </p:txBody>
      </p:sp>
      <p:sp>
        <p:nvSpPr>
          <p:cNvPr id="15" name="Marcador de texto 2">
            <a:extLst>
              <a:ext uri="{FF2B5EF4-FFF2-40B4-BE49-F238E27FC236}">
                <a16:creationId xmlns:a16="http://schemas.microsoft.com/office/drawing/2014/main" id="{B0631F3F-D69C-4938-9C2D-8DBA1DF60BB1}"/>
              </a:ext>
            </a:extLst>
          </p:cNvPr>
          <p:cNvSpPr>
            <a:spLocks noGrp="1"/>
          </p:cNvSpPr>
          <p:nvPr>
            <p:ph type="body" idx="10" hasCustomPrompt="1"/>
          </p:nvPr>
        </p:nvSpPr>
        <p:spPr>
          <a:xfrm>
            <a:off x="368791" y="722639"/>
            <a:ext cx="5339118" cy="324000"/>
          </a:xfrm>
          <a:prstGeom prst="rect">
            <a:avLst/>
          </a:prstGeom>
        </p:spPr>
        <p:txBody>
          <a:bodyPr lIns="0" tIns="0" rIns="0" bIns="0" anchor="t"/>
          <a:lstStyle>
            <a:lvl1pPr marL="0" indent="0">
              <a:lnSpc>
                <a:spcPct val="100000"/>
              </a:lnSpc>
              <a:spcBef>
                <a:spcPts val="0"/>
              </a:spcBef>
              <a:buNone/>
              <a:defRPr sz="2000" b="0">
                <a:solidFill>
                  <a:srgbClr val="000000"/>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err="1"/>
              <a:t>Subtitle</a:t>
            </a:r>
            <a:endParaRPr lang="es-ES" dirty="0"/>
          </a:p>
        </p:txBody>
      </p:sp>
      <p:sp>
        <p:nvSpPr>
          <p:cNvPr id="8" name="Text Placeholder 7">
            <a:extLst>
              <a:ext uri="{FF2B5EF4-FFF2-40B4-BE49-F238E27FC236}">
                <a16:creationId xmlns:a16="http://schemas.microsoft.com/office/drawing/2014/main" id="{3A15B74D-3758-47B9-82C3-FFA884FCE23F}"/>
              </a:ext>
            </a:extLst>
          </p:cNvPr>
          <p:cNvSpPr>
            <a:spLocks noGrp="1"/>
          </p:cNvSpPr>
          <p:nvPr>
            <p:ph type="body" sz="quarter" idx="18"/>
          </p:nvPr>
        </p:nvSpPr>
        <p:spPr>
          <a:xfrm>
            <a:off x="368791" y="1396800"/>
            <a:ext cx="5736368" cy="4752000"/>
          </a:xfrm>
        </p:spPr>
        <p:txBody>
          <a:bodyPr/>
          <a:lstStyle>
            <a:lvl1pPr>
              <a:defRPr sz="14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uadroTexto 64">
            <a:extLst>
              <a:ext uri="{FF2B5EF4-FFF2-40B4-BE49-F238E27FC236}">
                <a16:creationId xmlns:a16="http://schemas.microsoft.com/office/drawing/2014/main" id="{7EEFB272-44BD-4440-81FD-B5BE8200048F}"/>
              </a:ext>
            </a:extLst>
          </p:cNvPr>
          <p:cNvSpPr txBox="1"/>
          <p:nvPr userDrawn="1"/>
        </p:nvSpPr>
        <p:spPr>
          <a:xfrm>
            <a:off x="10882303" y="6449284"/>
            <a:ext cx="936214" cy="138499"/>
          </a:xfrm>
          <a:prstGeom prst="rect">
            <a:avLst/>
          </a:prstGeom>
          <a:noFill/>
        </p:spPr>
        <p:txBody>
          <a:bodyPr wrap="square" lIns="0" tIns="0" rIns="0" bIns="0" rtlCol="0">
            <a:spAutoFit/>
          </a:bodyPr>
          <a:lstStyle/>
          <a:p>
            <a:pPr algn="r"/>
            <a:fld id="{A4EEDD72-1D6A-6B46-BCFA-C211F73E9379}" type="slidenum">
              <a:rPr lang="es-ES" sz="900" b="1" smtClean="0">
                <a:solidFill>
                  <a:srgbClr val="FFFFFF"/>
                </a:solidFill>
                <a:latin typeface="Verdana" panose="020B0604030504040204" pitchFamily="34" charset="0"/>
                <a:ea typeface="Verdana" panose="020B0604030504040204" pitchFamily="34" charset="0"/>
                <a:cs typeface="Verdana" panose="020B0604030504040204" pitchFamily="34" charset="0"/>
              </a:rPr>
              <a:pPr algn="r"/>
              <a:t>‹N›</a:t>
            </a:fld>
            <a:endParaRPr lang="es-ES" sz="900" b="1" dirty="0">
              <a:solidFill>
                <a:srgbClr val="FFFFFF"/>
              </a:solidFill>
              <a:latin typeface="Verdana" panose="020B0604030504040204" pitchFamily="34" charset="0"/>
              <a:ea typeface="Verdana" panose="020B0604030504040204" pitchFamily="34" charset="0"/>
              <a:cs typeface="Verdana" panose="020B0604030504040204" pitchFamily="34" charset="0"/>
            </a:endParaRPr>
          </a:p>
        </p:txBody>
      </p:sp>
      <p:sp>
        <p:nvSpPr>
          <p:cNvPr id="9" name="Title 8">
            <a:extLst>
              <a:ext uri="{FF2B5EF4-FFF2-40B4-BE49-F238E27FC236}">
                <a16:creationId xmlns:a16="http://schemas.microsoft.com/office/drawing/2014/main" id="{965B48A6-C16F-42F8-ABA4-E292AD3ADAB5}"/>
              </a:ext>
            </a:extLst>
          </p:cNvPr>
          <p:cNvSpPr>
            <a:spLocks noGrp="1"/>
          </p:cNvSpPr>
          <p:nvPr>
            <p:ph type="title"/>
          </p:nvPr>
        </p:nvSpPr>
        <p:spPr>
          <a:xfrm>
            <a:off x="367201" y="252000"/>
            <a:ext cx="5339118" cy="432000"/>
          </a:xfrm>
        </p:spPr>
        <p:txBody>
          <a:bodyPr/>
          <a:lstStyle/>
          <a:p>
            <a:r>
              <a:rPr lang="en-US"/>
              <a:t>Click to edit Master title style</a:t>
            </a:r>
          </a:p>
        </p:txBody>
      </p:sp>
      <p:pic>
        <p:nvPicPr>
          <p:cNvPr id="21" name="Graphic 10">
            <a:extLst>
              <a:ext uri="{FF2B5EF4-FFF2-40B4-BE49-F238E27FC236}">
                <a16:creationId xmlns:a16="http://schemas.microsoft.com/office/drawing/2014/main" id="{B6011187-AA8E-452B-973C-511891D6AD7A}"/>
              </a:ext>
            </a:extLst>
          </p:cNvPr>
          <p:cNvPicPr>
            <a:picLocks noChangeAspect="1"/>
          </p:cNvPicPr>
          <p:nvPr userDrawn="1"/>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70517" y="6420188"/>
            <a:ext cx="675863" cy="162467"/>
          </a:xfrm>
          <a:prstGeom prst="rect">
            <a:avLst/>
          </a:prstGeom>
        </p:spPr>
      </p:pic>
      <p:sp>
        <p:nvSpPr>
          <p:cNvPr id="24" name="Rectangle 23">
            <a:extLst>
              <a:ext uri="{FF2B5EF4-FFF2-40B4-BE49-F238E27FC236}">
                <a16:creationId xmlns:a16="http://schemas.microsoft.com/office/drawing/2014/main" id="{B757EFA4-9CA7-4971-930F-9A211DFD8C84}"/>
              </a:ext>
            </a:extLst>
          </p:cNvPr>
          <p:cNvSpPr/>
          <p:nvPr userDrawn="1"/>
        </p:nvSpPr>
        <p:spPr>
          <a:xfrm>
            <a:off x="3051745"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5" name="Rectangle 24">
            <a:extLst>
              <a:ext uri="{FF2B5EF4-FFF2-40B4-BE49-F238E27FC236}">
                <a16:creationId xmlns:a16="http://schemas.microsoft.com/office/drawing/2014/main" id="{85E15839-E41E-4EDF-8BBC-E860E59953A6}"/>
              </a:ext>
            </a:extLst>
          </p:cNvPr>
          <p:cNvSpPr/>
          <p:nvPr userDrawn="1"/>
        </p:nvSpPr>
        <p:spPr>
          <a:xfrm>
            <a:off x="7490"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6" name="Rectangle 25">
            <a:extLst>
              <a:ext uri="{FF2B5EF4-FFF2-40B4-BE49-F238E27FC236}">
                <a16:creationId xmlns:a16="http://schemas.microsoft.com/office/drawing/2014/main" id="{1C5E13AA-8E9B-4754-89F8-7BB4FEA969D7}"/>
              </a:ext>
            </a:extLst>
          </p:cNvPr>
          <p:cNvSpPr/>
          <p:nvPr userDrawn="1"/>
        </p:nvSpPr>
        <p:spPr>
          <a:xfrm>
            <a:off x="9149414"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7" name="Rectangle 26">
            <a:extLst>
              <a:ext uri="{FF2B5EF4-FFF2-40B4-BE49-F238E27FC236}">
                <a16:creationId xmlns:a16="http://schemas.microsoft.com/office/drawing/2014/main" id="{72A25B90-3501-4354-8001-D9BB6C0DD482}"/>
              </a:ext>
            </a:extLst>
          </p:cNvPr>
          <p:cNvSpPr/>
          <p:nvPr userDrawn="1"/>
        </p:nvSpPr>
        <p:spPr>
          <a:xfrm>
            <a:off x="6105159"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3" name="Marcador de texto 5">
            <a:extLst>
              <a:ext uri="{FF2B5EF4-FFF2-40B4-BE49-F238E27FC236}">
                <a16:creationId xmlns:a16="http://schemas.microsoft.com/office/drawing/2014/main" id="{734CF444-F455-41CC-A4F0-0119B7CCF206}"/>
              </a:ext>
            </a:extLst>
          </p:cNvPr>
          <p:cNvSpPr>
            <a:spLocks noGrp="1"/>
          </p:cNvSpPr>
          <p:nvPr>
            <p:ph type="body" sz="quarter" idx="12" hasCustomPrompt="1"/>
          </p:nvPr>
        </p:nvSpPr>
        <p:spPr>
          <a:xfrm>
            <a:off x="9404430" y="1396800"/>
            <a:ext cx="2414087" cy="787206"/>
          </a:xfrm>
          <a:prstGeom prst="rect">
            <a:avLst/>
          </a:prstGeom>
        </p:spPr>
        <p:txBody>
          <a:bodyPr lIns="0" tIns="0" rIns="0" bIns="0"/>
          <a:lstStyle>
            <a:lvl1pPr algn="ctr">
              <a:buNone/>
              <a:defRPr sz="6000" b="1">
                <a:solidFill>
                  <a:srgbClr val="FFFFFF"/>
                </a:solidFill>
              </a:defRPr>
            </a:lvl1pPr>
            <a:lvl2pPr>
              <a:buNone/>
              <a:defRPr/>
            </a:lvl2pPr>
            <a:lvl3pPr>
              <a:buNone/>
              <a:defRPr/>
            </a:lvl3pPr>
            <a:lvl4pPr>
              <a:buNone/>
              <a:defRPr/>
            </a:lvl4pPr>
            <a:lvl5pPr>
              <a:buNone/>
              <a:defRPr/>
            </a:lvl5pPr>
          </a:lstStyle>
          <a:p>
            <a:pPr lvl="0"/>
            <a:r>
              <a:rPr lang="es-ES" dirty="0"/>
              <a:t>##%</a:t>
            </a:r>
            <a:endParaRPr lang="en-GB" dirty="0"/>
          </a:p>
        </p:txBody>
      </p:sp>
      <p:sp>
        <p:nvSpPr>
          <p:cNvPr id="34" name="Marcador de texto 5">
            <a:extLst>
              <a:ext uri="{FF2B5EF4-FFF2-40B4-BE49-F238E27FC236}">
                <a16:creationId xmlns:a16="http://schemas.microsoft.com/office/drawing/2014/main" id="{F9743225-97B5-4C1C-ABED-2A4A6D0271F5}"/>
              </a:ext>
            </a:extLst>
          </p:cNvPr>
          <p:cNvSpPr>
            <a:spLocks noGrp="1"/>
          </p:cNvSpPr>
          <p:nvPr>
            <p:ph type="body" sz="quarter" idx="13" hasCustomPrompt="1"/>
          </p:nvPr>
        </p:nvSpPr>
        <p:spPr>
          <a:xfrm>
            <a:off x="9404430" y="3106608"/>
            <a:ext cx="2414087" cy="787207"/>
          </a:xfrm>
          <a:prstGeom prst="rect">
            <a:avLst/>
          </a:prstGeom>
        </p:spPr>
        <p:txBody>
          <a:bodyPr lIns="0" tIns="0" rIns="0" bIns="0"/>
          <a:lstStyle>
            <a:lvl1pPr algn="ctr">
              <a:buNone/>
              <a:defRPr sz="6000" b="1">
                <a:solidFill>
                  <a:srgbClr val="FFFFFF"/>
                </a:solidFill>
              </a:defRPr>
            </a:lvl1pPr>
            <a:lvl2pPr>
              <a:buNone/>
              <a:defRPr/>
            </a:lvl2pPr>
            <a:lvl3pPr>
              <a:buNone/>
              <a:defRPr/>
            </a:lvl3pPr>
            <a:lvl4pPr>
              <a:buNone/>
              <a:defRPr/>
            </a:lvl4pPr>
            <a:lvl5pPr>
              <a:buNone/>
              <a:defRPr/>
            </a:lvl5pPr>
          </a:lstStyle>
          <a:p>
            <a:pPr lvl="0"/>
            <a:r>
              <a:rPr lang="es-ES" dirty="0"/>
              <a:t>##%</a:t>
            </a:r>
            <a:endParaRPr lang="en-GB" dirty="0"/>
          </a:p>
        </p:txBody>
      </p:sp>
      <p:sp>
        <p:nvSpPr>
          <p:cNvPr id="35" name="Marcador de texto 5">
            <a:extLst>
              <a:ext uri="{FF2B5EF4-FFF2-40B4-BE49-F238E27FC236}">
                <a16:creationId xmlns:a16="http://schemas.microsoft.com/office/drawing/2014/main" id="{DC8F35E4-28B6-4F72-9C7F-98AF5BE6014C}"/>
              </a:ext>
            </a:extLst>
          </p:cNvPr>
          <p:cNvSpPr>
            <a:spLocks noGrp="1"/>
          </p:cNvSpPr>
          <p:nvPr>
            <p:ph type="body" sz="quarter" idx="14" hasCustomPrompt="1"/>
          </p:nvPr>
        </p:nvSpPr>
        <p:spPr>
          <a:xfrm>
            <a:off x="9404430" y="4821943"/>
            <a:ext cx="2414087" cy="787207"/>
          </a:xfrm>
          <a:prstGeom prst="rect">
            <a:avLst/>
          </a:prstGeom>
        </p:spPr>
        <p:txBody>
          <a:bodyPr lIns="0" tIns="0" rIns="0" bIns="0"/>
          <a:lstStyle>
            <a:lvl1pPr algn="ctr">
              <a:buNone/>
              <a:defRPr sz="6000" b="1">
                <a:solidFill>
                  <a:srgbClr val="FFFFFF"/>
                </a:solidFill>
              </a:defRPr>
            </a:lvl1pPr>
            <a:lvl2pPr>
              <a:buNone/>
              <a:defRPr/>
            </a:lvl2pPr>
            <a:lvl3pPr>
              <a:buNone/>
              <a:defRPr/>
            </a:lvl3pPr>
            <a:lvl4pPr>
              <a:buNone/>
              <a:defRPr/>
            </a:lvl4pPr>
            <a:lvl5pPr>
              <a:buNone/>
              <a:defRPr/>
            </a:lvl5pPr>
          </a:lstStyle>
          <a:p>
            <a:pPr lvl="0"/>
            <a:r>
              <a:rPr lang="es-ES" dirty="0"/>
              <a:t>##%</a:t>
            </a:r>
            <a:endParaRPr lang="en-GB" dirty="0"/>
          </a:p>
        </p:txBody>
      </p:sp>
      <p:sp>
        <p:nvSpPr>
          <p:cNvPr id="36" name="Marcador de texto 3">
            <a:extLst>
              <a:ext uri="{FF2B5EF4-FFF2-40B4-BE49-F238E27FC236}">
                <a16:creationId xmlns:a16="http://schemas.microsoft.com/office/drawing/2014/main" id="{CF3B3251-335E-446C-B6FC-00CA9E17D9D2}"/>
              </a:ext>
            </a:extLst>
          </p:cNvPr>
          <p:cNvSpPr>
            <a:spLocks noGrp="1"/>
          </p:cNvSpPr>
          <p:nvPr>
            <p:ph type="body" sz="quarter" idx="15" hasCustomPrompt="1"/>
          </p:nvPr>
        </p:nvSpPr>
        <p:spPr>
          <a:xfrm>
            <a:off x="9404520" y="2222453"/>
            <a:ext cx="2414654" cy="320400"/>
          </a:xfrm>
          <a:prstGeom prst="rect">
            <a:avLst/>
          </a:prstGeom>
        </p:spPr>
        <p:txBody>
          <a:bodyPr lIns="0" tIns="0" rIns="0" bIns="0"/>
          <a:lstStyle>
            <a:lvl1pPr algn="ctr">
              <a:buNone/>
              <a:defRPr sz="1200" b="1">
                <a:solidFill>
                  <a:srgbClr val="FFFFFF"/>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s-ES" dirty="0"/>
              <a:t>Text </a:t>
            </a:r>
            <a:r>
              <a:rPr lang="es-ES" dirty="0" err="1"/>
              <a:t>for</a:t>
            </a:r>
            <a:r>
              <a:rPr lang="es-ES" dirty="0"/>
              <a:t> </a:t>
            </a:r>
            <a:r>
              <a:rPr lang="es-ES" dirty="0" err="1"/>
              <a:t>relevant</a:t>
            </a:r>
            <a:r>
              <a:rPr lang="es-ES" dirty="0"/>
              <a:t> figure</a:t>
            </a:r>
            <a:endParaRPr lang="en-GB" dirty="0"/>
          </a:p>
        </p:txBody>
      </p:sp>
      <p:sp>
        <p:nvSpPr>
          <p:cNvPr id="37" name="Marcador de texto 3">
            <a:extLst>
              <a:ext uri="{FF2B5EF4-FFF2-40B4-BE49-F238E27FC236}">
                <a16:creationId xmlns:a16="http://schemas.microsoft.com/office/drawing/2014/main" id="{C98A5DB2-9900-475B-8AFD-F29E0FB3D0DE}"/>
              </a:ext>
            </a:extLst>
          </p:cNvPr>
          <p:cNvSpPr>
            <a:spLocks noGrp="1"/>
          </p:cNvSpPr>
          <p:nvPr>
            <p:ph type="body" sz="quarter" idx="20" hasCustomPrompt="1"/>
          </p:nvPr>
        </p:nvSpPr>
        <p:spPr>
          <a:xfrm>
            <a:off x="9404520" y="2432899"/>
            <a:ext cx="2414654" cy="320400"/>
          </a:xfrm>
          <a:prstGeom prst="rect">
            <a:avLst/>
          </a:prstGeom>
        </p:spPr>
        <p:txBody>
          <a:bodyPr lIns="0" tIns="0" rIns="0" bIns="0"/>
          <a:lstStyle>
            <a:lvl1pPr algn="ctr">
              <a:buNone/>
              <a:defRPr sz="1000" b="0">
                <a:solidFill>
                  <a:srgbClr val="FFFFFF"/>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s-ES" dirty="0"/>
              <a:t>Text </a:t>
            </a:r>
            <a:r>
              <a:rPr lang="es-ES" dirty="0" err="1"/>
              <a:t>for</a:t>
            </a:r>
            <a:r>
              <a:rPr lang="es-ES" dirty="0"/>
              <a:t> </a:t>
            </a:r>
            <a:r>
              <a:rPr lang="es-ES" dirty="0" err="1"/>
              <a:t>relevant</a:t>
            </a:r>
            <a:r>
              <a:rPr lang="es-ES" dirty="0"/>
              <a:t> figure</a:t>
            </a:r>
            <a:endParaRPr lang="en-GB" dirty="0"/>
          </a:p>
        </p:txBody>
      </p:sp>
      <p:sp>
        <p:nvSpPr>
          <p:cNvPr id="38" name="Marcador de texto 3">
            <a:extLst>
              <a:ext uri="{FF2B5EF4-FFF2-40B4-BE49-F238E27FC236}">
                <a16:creationId xmlns:a16="http://schemas.microsoft.com/office/drawing/2014/main" id="{D3EA224C-0C6A-4296-A78D-2E87829688A2}"/>
              </a:ext>
            </a:extLst>
          </p:cNvPr>
          <p:cNvSpPr>
            <a:spLocks noGrp="1"/>
          </p:cNvSpPr>
          <p:nvPr>
            <p:ph type="body" sz="quarter" idx="21" hasCustomPrompt="1"/>
          </p:nvPr>
        </p:nvSpPr>
        <p:spPr>
          <a:xfrm>
            <a:off x="9410925" y="3950669"/>
            <a:ext cx="2414654" cy="320400"/>
          </a:xfrm>
          <a:prstGeom prst="rect">
            <a:avLst/>
          </a:prstGeom>
        </p:spPr>
        <p:txBody>
          <a:bodyPr lIns="0" tIns="0" rIns="0" bIns="0"/>
          <a:lstStyle>
            <a:lvl1pPr algn="ctr">
              <a:buNone/>
              <a:defRPr sz="1200" b="1">
                <a:solidFill>
                  <a:srgbClr val="FFFFFF"/>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s-ES" dirty="0"/>
              <a:t>Text </a:t>
            </a:r>
            <a:r>
              <a:rPr lang="es-ES" dirty="0" err="1"/>
              <a:t>for</a:t>
            </a:r>
            <a:r>
              <a:rPr lang="es-ES" dirty="0"/>
              <a:t> </a:t>
            </a:r>
            <a:r>
              <a:rPr lang="es-ES" dirty="0" err="1"/>
              <a:t>relevant</a:t>
            </a:r>
            <a:r>
              <a:rPr lang="es-ES" dirty="0"/>
              <a:t> figure</a:t>
            </a:r>
            <a:endParaRPr lang="en-GB" dirty="0"/>
          </a:p>
        </p:txBody>
      </p:sp>
      <p:sp>
        <p:nvSpPr>
          <p:cNvPr id="39" name="Marcador de texto 3">
            <a:extLst>
              <a:ext uri="{FF2B5EF4-FFF2-40B4-BE49-F238E27FC236}">
                <a16:creationId xmlns:a16="http://schemas.microsoft.com/office/drawing/2014/main" id="{0AFD99CE-1675-4229-93E5-311A23A458E9}"/>
              </a:ext>
            </a:extLst>
          </p:cNvPr>
          <p:cNvSpPr>
            <a:spLocks noGrp="1"/>
          </p:cNvSpPr>
          <p:nvPr>
            <p:ph type="body" sz="quarter" idx="22" hasCustomPrompt="1"/>
          </p:nvPr>
        </p:nvSpPr>
        <p:spPr>
          <a:xfrm>
            <a:off x="9410925" y="4161115"/>
            <a:ext cx="2414654" cy="320400"/>
          </a:xfrm>
          <a:prstGeom prst="rect">
            <a:avLst/>
          </a:prstGeom>
        </p:spPr>
        <p:txBody>
          <a:bodyPr lIns="0" tIns="0" rIns="0" bIns="0"/>
          <a:lstStyle>
            <a:lvl1pPr algn="ctr">
              <a:buNone/>
              <a:defRPr lang="en-GB" sz="1000" b="0" i="0" kern="1200" dirty="0">
                <a:solidFill>
                  <a:srgbClr val="FFFFFF"/>
                </a:solidFill>
                <a:latin typeface="+mn-lt"/>
                <a:ea typeface="+mn-ea"/>
                <a:cs typeface="+mn-cs"/>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marL="0" lvl="0" indent="0" algn="ctr" defTabSz="914400" rtl="0" eaLnBrk="1" latinLnBrk="0" hangingPunct="1">
              <a:lnSpc>
                <a:spcPct val="90000"/>
              </a:lnSpc>
              <a:spcBef>
                <a:spcPts val="1800"/>
              </a:spcBef>
              <a:buFontTx/>
              <a:buNone/>
            </a:pPr>
            <a:r>
              <a:rPr lang="es-ES" dirty="0"/>
              <a:t>Text </a:t>
            </a:r>
            <a:r>
              <a:rPr lang="es-ES" dirty="0" err="1"/>
              <a:t>for</a:t>
            </a:r>
            <a:r>
              <a:rPr lang="es-ES" dirty="0"/>
              <a:t> </a:t>
            </a:r>
            <a:r>
              <a:rPr lang="es-ES" dirty="0" err="1"/>
              <a:t>relevant</a:t>
            </a:r>
            <a:r>
              <a:rPr lang="es-ES" dirty="0"/>
              <a:t> figure</a:t>
            </a:r>
            <a:endParaRPr lang="en-GB" dirty="0"/>
          </a:p>
        </p:txBody>
      </p:sp>
      <p:sp>
        <p:nvSpPr>
          <p:cNvPr id="40" name="Marcador de texto 3">
            <a:extLst>
              <a:ext uri="{FF2B5EF4-FFF2-40B4-BE49-F238E27FC236}">
                <a16:creationId xmlns:a16="http://schemas.microsoft.com/office/drawing/2014/main" id="{3E8CC5A2-CF31-4CDC-A337-EB78D067E064}"/>
              </a:ext>
            </a:extLst>
          </p:cNvPr>
          <p:cNvSpPr>
            <a:spLocks noGrp="1"/>
          </p:cNvSpPr>
          <p:nvPr>
            <p:ph type="body" sz="quarter" idx="23" hasCustomPrompt="1"/>
          </p:nvPr>
        </p:nvSpPr>
        <p:spPr>
          <a:xfrm>
            <a:off x="9404520" y="5649955"/>
            <a:ext cx="2414654" cy="320400"/>
          </a:xfrm>
          <a:prstGeom prst="rect">
            <a:avLst/>
          </a:prstGeom>
        </p:spPr>
        <p:txBody>
          <a:bodyPr lIns="0" tIns="0" rIns="0" bIns="0"/>
          <a:lstStyle>
            <a:lvl1pPr algn="ctr">
              <a:buNone/>
              <a:defRPr sz="1200" b="1">
                <a:solidFill>
                  <a:srgbClr val="FFFFFF"/>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s-ES" dirty="0"/>
              <a:t>Text </a:t>
            </a:r>
            <a:r>
              <a:rPr lang="es-ES" dirty="0" err="1"/>
              <a:t>for</a:t>
            </a:r>
            <a:r>
              <a:rPr lang="es-ES" dirty="0"/>
              <a:t> </a:t>
            </a:r>
            <a:r>
              <a:rPr lang="es-ES" dirty="0" err="1"/>
              <a:t>relevant</a:t>
            </a:r>
            <a:r>
              <a:rPr lang="es-ES" dirty="0"/>
              <a:t> figure</a:t>
            </a:r>
            <a:endParaRPr lang="en-GB" dirty="0"/>
          </a:p>
        </p:txBody>
      </p:sp>
      <p:sp>
        <p:nvSpPr>
          <p:cNvPr id="41" name="Marcador de texto 3">
            <a:extLst>
              <a:ext uri="{FF2B5EF4-FFF2-40B4-BE49-F238E27FC236}">
                <a16:creationId xmlns:a16="http://schemas.microsoft.com/office/drawing/2014/main" id="{D13919C7-BD45-4225-A535-74C704EA7678}"/>
              </a:ext>
            </a:extLst>
          </p:cNvPr>
          <p:cNvSpPr>
            <a:spLocks noGrp="1"/>
          </p:cNvSpPr>
          <p:nvPr>
            <p:ph type="body" sz="quarter" idx="24" hasCustomPrompt="1"/>
          </p:nvPr>
        </p:nvSpPr>
        <p:spPr>
          <a:xfrm>
            <a:off x="9404520" y="5860401"/>
            <a:ext cx="2414654" cy="320400"/>
          </a:xfrm>
          <a:prstGeom prst="rect">
            <a:avLst/>
          </a:prstGeom>
        </p:spPr>
        <p:txBody>
          <a:bodyPr lIns="0" tIns="0" rIns="0" bIns="0"/>
          <a:lstStyle>
            <a:lvl1pPr algn="ctr">
              <a:buNone/>
              <a:defRPr lang="en-GB" sz="1000" b="0" i="0" kern="1200" dirty="0">
                <a:solidFill>
                  <a:srgbClr val="FFFFFF"/>
                </a:solidFill>
                <a:latin typeface="+mn-lt"/>
                <a:ea typeface="+mn-ea"/>
                <a:cs typeface="+mn-cs"/>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marL="0" lvl="0" indent="0" algn="ctr" defTabSz="914400" rtl="0" eaLnBrk="1" latinLnBrk="0" hangingPunct="1">
              <a:lnSpc>
                <a:spcPct val="90000"/>
              </a:lnSpc>
              <a:spcBef>
                <a:spcPts val="1800"/>
              </a:spcBef>
              <a:buFontTx/>
              <a:buNone/>
            </a:pPr>
            <a:r>
              <a:rPr lang="es-ES" dirty="0"/>
              <a:t>Text </a:t>
            </a:r>
            <a:r>
              <a:rPr lang="es-ES" dirty="0" err="1"/>
              <a:t>for</a:t>
            </a:r>
            <a:r>
              <a:rPr lang="es-ES" dirty="0"/>
              <a:t> </a:t>
            </a:r>
            <a:r>
              <a:rPr lang="es-ES" dirty="0" err="1"/>
              <a:t>relevant</a:t>
            </a:r>
            <a:r>
              <a:rPr lang="es-ES" dirty="0"/>
              <a:t> figure</a:t>
            </a:r>
            <a:endParaRPr lang="en-GB" dirty="0"/>
          </a:p>
        </p:txBody>
      </p:sp>
    </p:spTree>
    <p:extLst>
      <p:ext uri="{BB962C8B-B14F-4D97-AF65-F5344CB8AC3E}">
        <p14:creationId xmlns:p14="http://schemas.microsoft.com/office/powerpoint/2010/main" val="183246051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3_Text + relevant figures+images+straigh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18526C9-16E3-4A1D-828A-4692734F055E}"/>
              </a:ext>
            </a:extLst>
          </p:cNvPr>
          <p:cNvGraphicFramePr>
            <a:graphicFrameLocks noChangeAspect="1"/>
          </p:cNvGraphicFramePr>
          <p:nvPr userDrawn="1">
            <p:custDataLst>
              <p:tags r:id="rId2"/>
            </p:custDataLst>
            <p:extLst>
              <p:ext uri="{D42A27DB-BD31-4B8C-83A1-F6EECF244321}">
                <p14:modId xmlns:p14="http://schemas.microsoft.com/office/powerpoint/2010/main" val="35023774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04" name="think-cell Slide" r:id="rId5" imgW="473" imgH="474" progId="TCLayout.ActiveDocument.1">
                  <p:embed/>
                </p:oleObj>
              </mc:Choice>
              <mc:Fallback>
                <p:oleObj name="think-cell Slide" r:id="rId5" imgW="473" imgH="474" progId="TCLayout.ActiveDocument.1">
                  <p:embed/>
                  <p:pic>
                    <p:nvPicPr>
                      <p:cNvPr id="3" name="Object 2" hidden="1">
                        <a:extLst>
                          <a:ext uri="{FF2B5EF4-FFF2-40B4-BE49-F238E27FC236}">
                            <a16:creationId xmlns:a16="http://schemas.microsoft.com/office/drawing/2014/main" id="{C18526C9-16E3-4A1D-828A-4692734F055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B2B384D-A05A-4439-838E-B66DA57DCB38}"/>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Verdana" panose="020B0604030504040204" pitchFamily="34" charset="0"/>
              <a:ea typeface="+mj-ea"/>
              <a:cs typeface="+mj-cs"/>
              <a:sym typeface="Verdana" panose="020B0604030504040204" pitchFamily="34" charset="0"/>
            </a:endParaRPr>
          </a:p>
        </p:txBody>
      </p:sp>
      <p:sp>
        <p:nvSpPr>
          <p:cNvPr id="15" name="Marcador de texto 2">
            <a:extLst>
              <a:ext uri="{FF2B5EF4-FFF2-40B4-BE49-F238E27FC236}">
                <a16:creationId xmlns:a16="http://schemas.microsoft.com/office/drawing/2014/main" id="{B0631F3F-D69C-4938-9C2D-8DBA1DF60BB1}"/>
              </a:ext>
            </a:extLst>
          </p:cNvPr>
          <p:cNvSpPr>
            <a:spLocks noGrp="1"/>
          </p:cNvSpPr>
          <p:nvPr>
            <p:ph type="body" idx="10" hasCustomPrompt="1"/>
          </p:nvPr>
        </p:nvSpPr>
        <p:spPr>
          <a:xfrm>
            <a:off x="368791" y="722639"/>
            <a:ext cx="5339118" cy="324000"/>
          </a:xfrm>
          <a:prstGeom prst="rect">
            <a:avLst/>
          </a:prstGeom>
        </p:spPr>
        <p:txBody>
          <a:bodyPr lIns="0" tIns="0" rIns="0" bIns="0" anchor="t"/>
          <a:lstStyle>
            <a:lvl1pPr marL="0" indent="0">
              <a:lnSpc>
                <a:spcPct val="100000"/>
              </a:lnSpc>
              <a:spcBef>
                <a:spcPts val="0"/>
              </a:spcBef>
              <a:buNone/>
              <a:defRPr sz="2000" b="0">
                <a:solidFill>
                  <a:srgbClr val="000000"/>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err="1"/>
              <a:t>Subtitle</a:t>
            </a:r>
            <a:endParaRPr lang="es-ES" dirty="0"/>
          </a:p>
        </p:txBody>
      </p:sp>
      <p:sp>
        <p:nvSpPr>
          <p:cNvPr id="8" name="Text Placeholder 7">
            <a:extLst>
              <a:ext uri="{FF2B5EF4-FFF2-40B4-BE49-F238E27FC236}">
                <a16:creationId xmlns:a16="http://schemas.microsoft.com/office/drawing/2014/main" id="{3A15B74D-3758-47B9-82C3-FFA884FCE23F}"/>
              </a:ext>
            </a:extLst>
          </p:cNvPr>
          <p:cNvSpPr>
            <a:spLocks noGrp="1"/>
          </p:cNvSpPr>
          <p:nvPr>
            <p:ph type="body" sz="quarter" idx="18"/>
          </p:nvPr>
        </p:nvSpPr>
        <p:spPr>
          <a:xfrm>
            <a:off x="368790" y="1396800"/>
            <a:ext cx="5727209" cy="4752000"/>
          </a:xfrm>
        </p:spPr>
        <p:txBody>
          <a:bodyPr/>
          <a:lstStyle>
            <a:lvl1pPr>
              <a:defRPr sz="14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uadroTexto 64">
            <a:extLst>
              <a:ext uri="{FF2B5EF4-FFF2-40B4-BE49-F238E27FC236}">
                <a16:creationId xmlns:a16="http://schemas.microsoft.com/office/drawing/2014/main" id="{7EEFB272-44BD-4440-81FD-B5BE8200048F}"/>
              </a:ext>
            </a:extLst>
          </p:cNvPr>
          <p:cNvSpPr txBox="1"/>
          <p:nvPr userDrawn="1"/>
        </p:nvSpPr>
        <p:spPr>
          <a:xfrm>
            <a:off x="10882303" y="6449284"/>
            <a:ext cx="936214" cy="138499"/>
          </a:xfrm>
          <a:prstGeom prst="rect">
            <a:avLst/>
          </a:prstGeom>
          <a:noFill/>
        </p:spPr>
        <p:txBody>
          <a:bodyPr wrap="square" lIns="0" tIns="0" rIns="0" bIns="0" rtlCol="0">
            <a:spAutoFit/>
          </a:bodyPr>
          <a:lstStyle/>
          <a:p>
            <a:pPr algn="r"/>
            <a:fld id="{A4EEDD72-1D6A-6B46-BCFA-C211F73E9379}" type="slidenum">
              <a:rPr lang="es-ES" sz="900" b="1" smtClean="0">
                <a:solidFill>
                  <a:srgbClr val="FFFFFF"/>
                </a:solidFill>
                <a:latin typeface="Verdana" panose="020B0604030504040204" pitchFamily="34" charset="0"/>
                <a:ea typeface="Verdana" panose="020B0604030504040204" pitchFamily="34" charset="0"/>
                <a:cs typeface="Verdana" panose="020B0604030504040204" pitchFamily="34" charset="0"/>
              </a:rPr>
              <a:pPr algn="r"/>
              <a:t>‹N›</a:t>
            </a:fld>
            <a:endParaRPr lang="es-ES" sz="900" b="1" dirty="0">
              <a:solidFill>
                <a:srgbClr val="FFFFFF"/>
              </a:solidFill>
              <a:latin typeface="Verdana" panose="020B0604030504040204" pitchFamily="34" charset="0"/>
              <a:ea typeface="Verdana" panose="020B0604030504040204" pitchFamily="34" charset="0"/>
              <a:cs typeface="Verdana" panose="020B0604030504040204" pitchFamily="34" charset="0"/>
            </a:endParaRPr>
          </a:p>
        </p:txBody>
      </p:sp>
      <p:sp>
        <p:nvSpPr>
          <p:cNvPr id="9" name="Title 8">
            <a:extLst>
              <a:ext uri="{FF2B5EF4-FFF2-40B4-BE49-F238E27FC236}">
                <a16:creationId xmlns:a16="http://schemas.microsoft.com/office/drawing/2014/main" id="{965B48A6-C16F-42F8-ABA4-E292AD3ADAB5}"/>
              </a:ext>
            </a:extLst>
          </p:cNvPr>
          <p:cNvSpPr>
            <a:spLocks noGrp="1"/>
          </p:cNvSpPr>
          <p:nvPr>
            <p:ph type="title"/>
          </p:nvPr>
        </p:nvSpPr>
        <p:spPr>
          <a:xfrm>
            <a:off x="367201" y="252000"/>
            <a:ext cx="5339118" cy="432000"/>
          </a:xfrm>
        </p:spPr>
        <p:txBody>
          <a:bodyPr/>
          <a:lstStyle/>
          <a:p>
            <a:r>
              <a:rPr lang="en-US"/>
              <a:t>Click to edit Master title style</a:t>
            </a:r>
          </a:p>
        </p:txBody>
      </p:sp>
      <p:pic>
        <p:nvPicPr>
          <p:cNvPr id="21" name="Graphic 10">
            <a:extLst>
              <a:ext uri="{FF2B5EF4-FFF2-40B4-BE49-F238E27FC236}">
                <a16:creationId xmlns:a16="http://schemas.microsoft.com/office/drawing/2014/main" id="{B6011187-AA8E-452B-973C-511891D6AD7A}"/>
              </a:ext>
            </a:extLst>
          </p:cNvPr>
          <p:cNvPicPr>
            <a:picLocks noChangeAspect="1"/>
          </p:cNvPicPr>
          <p:nvPr userDrawn="1"/>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70517" y="6420188"/>
            <a:ext cx="675863" cy="162467"/>
          </a:xfrm>
          <a:prstGeom prst="rect">
            <a:avLst/>
          </a:prstGeom>
        </p:spPr>
      </p:pic>
      <p:sp>
        <p:nvSpPr>
          <p:cNvPr id="17" name="Marcador de posición de imagen 2">
            <a:extLst>
              <a:ext uri="{FF2B5EF4-FFF2-40B4-BE49-F238E27FC236}">
                <a16:creationId xmlns:a16="http://schemas.microsoft.com/office/drawing/2014/main" id="{818A30A8-0AD4-4579-B422-E8F2A10F4AFF}"/>
              </a:ext>
            </a:extLst>
          </p:cNvPr>
          <p:cNvSpPr>
            <a:spLocks noGrp="1"/>
          </p:cNvSpPr>
          <p:nvPr>
            <p:ph type="pic" sz="quarter" idx="19" hasCustomPrompt="1"/>
          </p:nvPr>
        </p:nvSpPr>
        <p:spPr>
          <a:xfrm>
            <a:off x="6538529" y="-14050"/>
            <a:ext cx="5670915" cy="6877222"/>
          </a:xfrm>
          <a:custGeom>
            <a:avLst/>
            <a:gdLst>
              <a:gd name="connsiteX0" fmla="*/ 0 w 4592124"/>
              <a:gd name="connsiteY0" fmla="*/ 0 h 6858000"/>
              <a:gd name="connsiteX1" fmla="*/ 4592124 w 4592124"/>
              <a:gd name="connsiteY1" fmla="*/ 0 h 6858000"/>
              <a:gd name="connsiteX2" fmla="*/ 4592124 w 4592124"/>
              <a:gd name="connsiteY2" fmla="*/ 6858000 h 6858000"/>
              <a:gd name="connsiteX3" fmla="*/ 0 w 4592124"/>
              <a:gd name="connsiteY3" fmla="*/ 6858000 h 6858000"/>
              <a:gd name="connsiteX4" fmla="*/ 0 w 4592124"/>
              <a:gd name="connsiteY4" fmla="*/ 0 h 6858000"/>
              <a:gd name="connsiteX0" fmla="*/ 2549525 w 4592124"/>
              <a:gd name="connsiteY0" fmla="*/ 1058 h 6858000"/>
              <a:gd name="connsiteX1" fmla="*/ 4592124 w 4592124"/>
              <a:gd name="connsiteY1" fmla="*/ 0 h 6858000"/>
              <a:gd name="connsiteX2" fmla="*/ 4592124 w 4592124"/>
              <a:gd name="connsiteY2" fmla="*/ 6858000 h 6858000"/>
              <a:gd name="connsiteX3" fmla="*/ 0 w 4592124"/>
              <a:gd name="connsiteY3" fmla="*/ 6858000 h 6858000"/>
              <a:gd name="connsiteX4" fmla="*/ 2549525 w 4592124"/>
              <a:gd name="connsiteY4" fmla="*/ 1058 h 6858000"/>
              <a:gd name="connsiteX0" fmla="*/ 2549525 w 4592124"/>
              <a:gd name="connsiteY0" fmla="*/ 0 h 6856942"/>
              <a:gd name="connsiteX1" fmla="*/ 4592124 w 4592124"/>
              <a:gd name="connsiteY1" fmla="*/ 1371762 h 6856942"/>
              <a:gd name="connsiteX2" fmla="*/ 4592124 w 4592124"/>
              <a:gd name="connsiteY2" fmla="*/ 6856942 h 6856942"/>
              <a:gd name="connsiteX3" fmla="*/ 0 w 4592124"/>
              <a:gd name="connsiteY3" fmla="*/ 6856942 h 6856942"/>
              <a:gd name="connsiteX4" fmla="*/ 2549525 w 4592124"/>
              <a:gd name="connsiteY4" fmla="*/ 0 h 6856942"/>
              <a:gd name="connsiteX0" fmla="*/ 2045812 w 4592124"/>
              <a:gd name="connsiteY0" fmla="*/ 1058 h 5485180"/>
              <a:gd name="connsiteX1" fmla="*/ 4592124 w 4592124"/>
              <a:gd name="connsiteY1" fmla="*/ 0 h 5485180"/>
              <a:gd name="connsiteX2" fmla="*/ 4592124 w 4592124"/>
              <a:gd name="connsiteY2" fmla="*/ 5485180 h 5485180"/>
              <a:gd name="connsiteX3" fmla="*/ 0 w 4592124"/>
              <a:gd name="connsiteY3" fmla="*/ 5485180 h 5485180"/>
              <a:gd name="connsiteX4" fmla="*/ 2045812 w 4592124"/>
              <a:gd name="connsiteY4" fmla="*/ 1058 h 5485180"/>
              <a:gd name="connsiteX0" fmla="*/ 2028628 w 4592124"/>
              <a:gd name="connsiteY0" fmla="*/ 36027 h 5485180"/>
              <a:gd name="connsiteX1" fmla="*/ 4592124 w 4592124"/>
              <a:gd name="connsiteY1" fmla="*/ 0 h 5485180"/>
              <a:gd name="connsiteX2" fmla="*/ 4592124 w 4592124"/>
              <a:gd name="connsiteY2" fmla="*/ 5485180 h 5485180"/>
              <a:gd name="connsiteX3" fmla="*/ 0 w 4592124"/>
              <a:gd name="connsiteY3" fmla="*/ 5485180 h 5485180"/>
              <a:gd name="connsiteX4" fmla="*/ 2028628 w 4592124"/>
              <a:gd name="connsiteY4" fmla="*/ 36027 h 5485180"/>
              <a:gd name="connsiteX0" fmla="*/ 2028628 w 4592124"/>
              <a:gd name="connsiteY0" fmla="*/ 4509 h 5453662"/>
              <a:gd name="connsiteX1" fmla="*/ 4568296 w 4592124"/>
              <a:gd name="connsiteY1" fmla="*/ 0 h 5453662"/>
              <a:gd name="connsiteX2" fmla="*/ 4592124 w 4592124"/>
              <a:gd name="connsiteY2" fmla="*/ 5453662 h 5453662"/>
              <a:gd name="connsiteX3" fmla="*/ 0 w 4592124"/>
              <a:gd name="connsiteY3" fmla="*/ 5453662 h 5453662"/>
              <a:gd name="connsiteX4" fmla="*/ 2028628 w 4592124"/>
              <a:gd name="connsiteY4" fmla="*/ 4509 h 5453662"/>
              <a:gd name="connsiteX0" fmla="*/ 2028628 w 4743341"/>
              <a:gd name="connsiteY0" fmla="*/ 4509 h 5460656"/>
              <a:gd name="connsiteX1" fmla="*/ 4568296 w 4743341"/>
              <a:gd name="connsiteY1" fmla="*/ 0 h 5460656"/>
              <a:gd name="connsiteX2" fmla="*/ 4743341 w 4743341"/>
              <a:gd name="connsiteY2" fmla="*/ 5460656 h 5460656"/>
              <a:gd name="connsiteX3" fmla="*/ 0 w 4743341"/>
              <a:gd name="connsiteY3" fmla="*/ 5453662 h 5460656"/>
              <a:gd name="connsiteX4" fmla="*/ 2028628 w 4743341"/>
              <a:gd name="connsiteY4" fmla="*/ 4509 h 5460656"/>
              <a:gd name="connsiteX0" fmla="*/ 2028628 w 4760755"/>
              <a:gd name="connsiteY0" fmla="*/ 4509 h 5460656"/>
              <a:gd name="connsiteX1" fmla="*/ 4760755 w 4760755"/>
              <a:gd name="connsiteY1" fmla="*/ 0 h 5460656"/>
              <a:gd name="connsiteX2" fmla="*/ 4743341 w 4760755"/>
              <a:gd name="connsiteY2" fmla="*/ 5460656 h 5460656"/>
              <a:gd name="connsiteX3" fmla="*/ 0 w 4760755"/>
              <a:gd name="connsiteY3" fmla="*/ 5453662 h 5460656"/>
              <a:gd name="connsiteX4" fmla="*/ 2028628 w 4760755"/>
              <a:gd name="connsiteY4" fmla="*/ 4509 h 5460656"/>
              <a:gd name="connsiteX0" fmla="*/ 2042201 w 4774328"/>
              <a:gd name="connsiteY0" fmla="*/ 4509 h 5467473"/>
              <a:gd name="connsiteX1" fmla="*/ 4774328 w 4774328"/>
              <a:gd name="connsiteY1" fmla="*/ 0 h 5467473"/>
              <a:gd name="connsiteX2" fmla="*/ 4756914 w 4774328"/>
              <a:gd name="connsiteY2" fmla="*/ 5460656 h 5467473"/>
              <a:gd name="connsiteX3" fmla="*/ 0 w 4774328"/>
              <a:gd name="connsiteY3" fmla="*/ 5467473 h 5467473"/>
              <a:gd name="connsiteX4" fmla="*/ 2042201 w 4774328"/>
              <a:gd name="connsiteY4" fmla="*/ 4509 h 5467473"/>
              <a:gd name="connsiteX0" fmla="*/ 2042201 w 4774328"/>
              <a:gd name="connsiteY0" fmla="*/ 4509 h 5474466"/>
              <a:gd name="connsiteX1" fmla="*/ 4774328 w 4774328"/>
              <a:gd name="connsiteY1" fmla="*/ 0 h 5474466"/>
              <a:gd name="connsiteX2" fmla="*/ 4765962 w 4774328"/>
              <a:gd name="connsiteY2" fmla="*/ 5474466 h 5474466"/>
              <a:gd name="connsiteX3" fmla="*/ 0 w 4774328"/>
              <a:gd name="connsiteY3" fmla="*/ 5467473 h 5474466"/>
              <a:gd name="connsiteX4" fmla="*/ 2042201 w 4774328"/>
              <a:gd name="connsiteY4" fmla="*/ 4509 h 5474466"/>
              <a:gd name="connsiteX0" fmla="*/ 2042201 w 4778853"/>
              <a:gd name="connsiteY0" fmla="*/ 0 h 5469957"/>
              <a:gd name="connsiteX1" fmla="*/ 4778853 w 4778853"/>
              <a:gd name="connsiteY1" fmla="*/ 4698 h 5469957"/>
              <a:gd name="connsiteX2" fmla="*/ 4765962 w 4778853"/>
              <a:gd name="connsiteY2" fmla="*/ 5469957 h 5469957"/>
              <a:gd name="connsiteX3" fmla="*/ 0 w 4778853"/>
              <a:gd name="connsiteY3" fmla="*/ 5462964 h 5469957"/>
              <a:gd name="connsiteX4" fmla="*/ 2042201 w 4778853"/>
              <a:gd name="connsiteY4" fmla="*/ 0 h 5469957"/>
              <a:gd name="connsiteX0" fmla="*/ 2042201 w 4781135"/>
              <a:gd name="connsiteY0" fmla="*/ 0 h 5462964"/>
              <a:gd name="connsiteX1" fmla="*/ 4778853 w 4781135"/>
              <a:gd name="connsiteY1" fmla="*/ 4698 h 5462964"/>
              <a:gd name="connsiteX2" fmla="*/ 4779535 w 4781135"/>
              <a:gd name="connsiteY2" fmla="*/ 5460751 h 5462964"/>
              <a:gd name="connsiteX3" fmla="*/ 0 w 4781135"/>
              <a:gd name="connsiteY3" fmla="*/ 5462964 h 5462964"/>
              <a:gd name="connsiteX4" fmla="*/ 2042201 w 4781135"/>
              <a:gd name="connsiteY4" fmla="*/ 0 h 5462964"/>
              <a:gd name="connsiteX0" fmla="*/ 2046725 w 4781135"/>
              <a:gd name="connsiteY0" fmla="*/ 0 h 5467567"/>
              <a:gd name="connsiteX1" fmla="*/ 4778853 w 4781135"/>
              <a:gd name="connsiteY1" fmla="*/ 9301 h 5467567"/>
              <a:gd name="connsiteX2" fmla="*/ 4779535 w 4781135"/>
              <a:gd name="connsiteY2" fmla="*/ 5465354 h 5467567"/>
              <a:gd name="connsiteX3" fmla="*/ 0 w 4781135"/>
              <a:gd name="connsiteY3" fmla="*/ 5467567 h 5467567"/>
              <a:gd name="connsiteX4" fmla="*/ 2046725 w 4781135"/>
              <a:gd name="connsiteY4" fmla="*/ 0 h 5467567"/>
              <a:gd name="connsiteX0" fmla="*/ 2046725 w 4779604"/>
              <a:gd name="connsiteY0" fmla="*/ 2821 h 5470388"/>
              <a:gd name="connsiteX1" fmla="*/ 4433343 w 4779604"/>
              <a:gd name="connsiteY1" fmla="*/ 0 h 5470388"/>
              <a:gd name="connsiteX2" fmla="*/ 4779535 w 4779604"/>
              <a:gd name="connsiteY2" fmla="*/ 5468175 h 5470388"/>
              <a:gd name="connsiteX3" fmla="*/ 0 w 4779604"/>
              <a:gd name="connsiteY3" fmla="*/ 5470388 h 5470388"/>
              <a:gd name="connsiteX4" fmla="*/ 2046725 w 4779604"/>
              <a:gd name="connsiteY4" fmla="*/ 2821 h 5470388"/>
              <a:gd name="connsiteX0" fmla="*/ 2046725 w 4433343"/>
              <a:gd name="connsiteY0" fmla="*/ 2821 h 5470388"/>
              <a:gd name="connsiteX1" fmla="*/ 4433343 w 4433343"/>
              <a:gd name="connsiteY1" fmla="*/ 0 h 5470388"/>
              <a:gd name="connsiteX2" fmla="*/ 4426082 w 4433343"/>
              <a:gd name="connsiteY2" fmla="*/ 5468175 h 5470388"/>
              <a:gd name="connsiteX3" fmla="*/ 0 w 4433343"/>
              <a:gd name="connsiteY3" fmla="*/ 5470388 h 5470388"/>
              <a:gd name="connsiteX4" fmla="*/ 2046725 w 4433343"/>
              <a:gd name="connsiteY4" fmla="*/ 2821 h 5470388"/>
              <a:gd name="connsiteX0" fmla="*/ 2046725 w 4433343"/>
              <a:gd name="connsiteY0" fmla="*/ 2821 h 5470388"/>
              <a:gd name="connsiteX1" fmla="*/ 4433343 w 4433343"/>
              <a:gd name="connsiteY1" fmla="*/ 0 h 5470388"/>
              <a:gd name="connsiteX2" fmla="*/ 4426082 w 4433343"/>
              <a:gd name="connsiteY2" fmla="*/ 5468175 h 5470388"/>
              <a:gd name="connsiteX3" fmla="*/ 0 w 4433343"/>
              <a:gd name="connsiteY3" fmla="*/ 5470388 h 5470388"/>
              <a:gd name="connsiteX4" fmla="*/ 2046725 w 4433343"/>
              <a:gd name="connsiteY4" fmla="*/ 2821 h 5470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3343" h="5470388">
                <a:moveTo>
                  <a:pt x="2046725" y="2821"/>
                </a:moveTo>
                <a:lnTo>
                  <a:pt x="4433343" y="0"/>
                </a:lnTo>
                <a:cubicBezTo>
                  <a:pt x="4427538" y="1820219"/>
                  <a:pt x="4431887" y="3647956"/>
                  <a:pt x="4426082" y="5468175"/>
                </a:cubicBezTo>
                <a:lnTo>
                  <a:pt x="0" y="5470388"/>
                </a:lnTo>
                <a:lnTo>
                  <a:pt x="2046725" y="2821"/>
                </a:lnTo>
                <a:close/>
              </a:path>
            </a:pathLst>
          </a:custGeom>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F9900"/>
                </a:solidFill>
                <a:prstDash val="solid"/>
                <a:round/>
                <a:headEnd type="none" w="med" len="med"/>
                <a:tailEnd type="none" w="med" len="med"/>
              </a14:hiddenLine>
            </a:ext>
          </a:extLst>
        </p:spPr>
        <p:txBody>
          <a:bodyPr anchor="ctr"/>
          <a:lstStyle>
            <a:lvl1pPr marL="228600" marR="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a:solidFill>
                  <a:srgbClr val="FFFFFF"/>
                </a:solidFill>
              </a:defRPr>
            </a:lvl1pPr>
          </a:lstStyle>
          <a:p>
            <a:pPr marL="228600" marR="0" lvl="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Drag picture to placeholder </a:t>
            </a:r>
            <a:br>
              <a:rPr lang="en-US" dirty="0"/>
            </a:br>
            <a:r>
              <a:rPr lang="en-US" dirty="0"/>
              <a:t>or click icon to add</a:t>
            </a:r>
          </a:p>
        </p:txBody>
      </p:sp>
      <p:sp>
        <p:nvSpPr>
          <p:cNvPr id="19" name="Rectangle 18">
            <a:extLst>
              <a:ext uri="{FF2B5EF4-FFF2-40B4-BE49-F238E27FC236}">
                <a16:creationId xmlns:a16="http://schemas.microsoft.com/office/drawing/2014/main" id="{E235253B-4788-48C3-8C5C-B27A4A2762F0}"/>
              </a:ext>
            </a:extLst>
          </p:cNvPr>
          <p:cNvSpPr/>
          <p:nvPr userDrawn="1"/>
        </p:nvSpPr>
        <p:spPr>
          <a:xfrm>
            <a:off x="3051745"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3" name="Rectangle 22">
            <a:extLst>
              <a:ext uri="{FF2B5EF4-FFF2-40B4-BE49-F238E27FC236}">
                <a16:creationId xmlns:a16="http://schemas.microsoft.com/office/drawing/2014/main" id="{3271D781-0BCC-494E-B7A3-16F3BF35C3D6}"/>
              </a:ext>
            </a:extLst>
          </p:cNvPr>
          <p:cNvSpPr/>
          <p:nvPr userDrawn="1"/>
        </p:nvSpPr>
        <p:spPr>
          <a:xfrm>
            <a:off x="7490"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4" name="Rectangle 23">
            <a:extLst>
              <a:ext uri="{FF2B5EF4-FFF2-40B4-BE49-F238E27FC236}">
                <a16:creationId xmlns:a16="http://schemas.microsoft.com/office/drawing/2014/main" id="{54D787DD-BBF4-4A33-9588-9B496123B2FC}"/>
              </a:ext>
            </a:extLst>
          </p:cNvPr>
          <p:cNvSpPr/>
          <p:nvPr userDrawn="1"/>
        </p:nvSpPr>
        <p:spPr>
          <a:xfrm>
            <a:off x="9149414"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5" name="Rectangle 24">
            <a:extLst>
              <a:ext uri="{FF2B5EF4-FFF2-40B4-BE49-F238E27FC236}">
                <a16:creationId xmlns:a16="http://schemas.microsoft.com/office/drawing/2014/main" id="{E1AFF213-746D-4026-BBDF-37085FA4ED9E}"/>
              </a:ext>
            </a:extLst>
          </p:cNvPr>
          <p:cNvSpPr/>
          <p:nvPr userDrawn="1"/>
        </p:nvSpPr>
        <p:spPr>
          <a:xfrm>
            <a:off x="6105159"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6" name="Marcador de texto 5">
            <a:extLst>
              <a:ext uri="{FF2B5EF4-FFF2-40B4-BE49-F238E27FC236}">
                <a16:creationId xmlns:a16="http://schemas.microsoft.com/office/drawing/2014/main" id="{F1DDD6CC-4367-4C92-8DFA-810C67A783B3}"/>
              </a:ext>
            </a:extLst>
          </p:cNvPr>
          <p:cNvSpPr>
            <a:spLocks noGrp="1"/>
          </p:cNvSpPr>
          <p:nvPr>
            <p:ph type="body" sz="quarter" idx="12" hasCustomPrompt="1"/>
          </p:nvPr>
        </p:nvSpPr>
        <p:spPr>
          <a:xfrm>
            <a:off x="9404430" y="1396800"/>
            <a:ext cx="2414087" cy="787206"/>
          </a:xfrm>
          <a:prstGeom prst="rect">
            <a:avLst/>
          </a:prstGeom>
        </p:spPr>
        <p:txBody>
          <a:bodyPr lIns="0" tIns="0" rIns="0" bIns="0"/>
          <a:lstStyle>
            <a:lvl1pPr algn="ctr">
              <a:buNone/>
              <a:defRPr sz="6000" b="1">
                <a:solidFill>
                  <a:schemeClr val="bg1"/>
                </a:solidFill>
              </a:defRPr>
            </a:lvl1pPr>
            <a:lvl2pPr>
              <a:buNone/>
              <a:defRPr/>
            </a:lvl2pPr>
            <a:lvl3pPr>
              <a:buNone/>
              <a:defRPr/>
            </a:lvl3pPr>
            <a:lvl4pPr>
              <a:buNone/>
              <a:defRPr/>
            </a:lvl4pPr>
            <a:lvl5pPr>
              <a:buNone/>
              <a:defRPr/>
            </a:lvl5pPr>
          </a:lstStyle>
          <a:p>
            <a:pPr lvl="0"/>
            <a:r>
              <a:rPr lang="es-ES" dirty="0"/>
              <a:t>##%</a:t>
            </a:r>
            <a:endParaRPr lang="en-GB" dirty="0"/>
          </a:p>
        </p:txBody>
      </p:sp>
      <p:sp>
        <p:nvSpPr>
          <p:cNvPr id="27" name="Marcador de texto 5">
            <a:extLst>
              <a:ext uri="{FF2B5EF4-FFF2-40B4-BE49-F238E27FC236}">
                <a16:creationId xmlns:a16="http://schemas.microsoft.com/office/drawing/2014/main" id="{7B89164F-9826-4814-8515-A61E08EB2ADE}"/>
              </a:ext>
            </a:extLst>
          </p:cNvPr>
          <p:cNvSpPr>
            <a:spLocks noGrp="1"/>
          </p:cNvSpPr>
          <p:nvPr>
            <p:ph type="body" sz="quarter" idx="13" hasCustomPrompt="1"/>
          </p:nvPr>
        </p:nvSpPr>
        <p:spPr>
          <a:xfrm>
            <a:off x="9404430" y="3106608"/>
            <a:ext cx="2414087" cy="787207"/>
          </a:xfrm>
          <a:prstGeom prst="rect">
            <a:avLst/>
          </a:prstGeom>
        </p:spPr>
        <p:txBody>
          <a:bodyPr lIns="0" tIns="0" rIns="0" bIns="0"/>
          <a:lstStyle>
            <a:lvl1pPr algn="ctr">
              <a:buNone/>
              <a:defRPr sz="6000" b="1">
                <a:solidFill>
                  <a:schemeClr val="bg1"/>
                </a:solidFill>
              </a:defRPr>
            </a:lvl1pPr>
            <a:lvl2pPr>
              <a:buNone/>
              <a:defRPr/>
            </a:lvl2pPr>
            <a:lvl3pPr>
              <a:buNone/>
              <a:defRPr/>
            </a:lvl3pPr>
            <a:lvl4pPr>
              <a:buNone/>
              <a:defRPr/>
            </a:lvl4pPr>
            <a:lvl5pPr>
              <a:buNone/>
              <a:defRPr/>
            </a:lvl5pPr>
          </a:lstStyle>
          <a:p>
            <a:pPr lvl="0"/>
            <a:r>
              <a:rPr lang="es-ES" dirty="0"/>
              <a:t>##%</a:t>
            </a:r>
            <a:endParaRPr lang="en-GB" dirty="0"/>
          </a:p>
        </p:txBody>
      </p:sp>
      <p:sp>
        <p:nvSpPr>
          <p:cNvPr id="28" name="Marcador de texto 5">
            <a:extLst>
              <a:ext uri="{FF2B5EF4-FFF2-40B4-BE49-F238E27FC236}">
                <a16:creationId xmlns:a16="http://schemas.microsoft.com/office/drawing/2014/main" id="{A667C706-85AF-4EBD-861D-55FE6163BC6A}"/>
              </a:ext>
            </a:extLst>
          </p:cNvPr>
          <p:cNvSpPr>
            <a:spLocks noGrp="1"/>
          </p:cNvSpPr>
          <p:nvPr>
            <p:ph type="body" sz="quarter" idx="14" hasCustomPrompt="1"/>
          </p:nvPr>
        </p:nvSpPr>
        <p:spPr>
          <a:xfrm>
            <a:off x="9404430" y="4821943"/>
            <a:ext cx="2414087" cy="787207"/>
          </a:xfrm>
          <a:prstGeom prst="rect">
            <a:avLst/>
          </a:prstGeom>
        </p:spPr>
        <p:txBody>
          <a:bodyPr lIns="0" tIns="0" rIns="0" bIns="0"/>
          <a:lstStyle>
            <a:lvl1pPr algn="ctr">
              <a:buNone/>
              <a:defRPr sz="6000" b="1">
                <a:solidFill>
                  <a:schemeClr val="bg1"/>
                </a:solidFill>
              </a:defRPr>
            </a:lvl1pPr>
            <a:lvl2pPr>
              <a:buNone/>
              <a:defRPr/>
            </a:lvl2pPr>
            <a:lvl3pPr>
              <a:buNone/>
              <a:defRPr/>
            </a:lvl3pPr>
            <a:lvl4pPr>
              <a:buNone/>
              <a:defRPr/>
            </a:lvl4pPr>
            <a:lvl5pPr>
              <a:buNone/>
              <a:defRPr/>
            </a:lvl5pPr>
          </a:lstStyle>
          <a:p>
            <a:pPr lvl="0"/>
            <a:r>
              <a:rPr lang="es-ES" dirty="0"/>
              <a:t>##%</a:t>
            </a:r>
            <a:endParaRPr lang="en-GB" dirty="0"/>
          </a:p>
        </p:txBody>
      </p:sp>
      <p:sp>
        <p:nvSpPr>
          <p:cNvPr id="29" name="Marcador de texto 3">
            <a:extLst>
              <a:ext uri="{FF2B5EF4-FFF2-40B4-BE49-F238E27FC236}">
                <a16:creationId xmlns:a16="http://schemas.microsoft.com/office/drawing/2014/main" id="{6CFD4781-336D-4F3C-85AF-003EA049BB42}"/>
              </a:ext>
            </a:extLst>
          </p:cNvPr>
          <p:cNvSpPr>
            <a:spLocks noGrp="1"/>
          </p:cNvSpPr>
          <p:nvPr>
            <p:ph type="body" sz="quarter" idx="15" hasCustomPrompt="1"/>
          </p:nvPr>
        </p:nvSpPr>
        <p:spPr>
          <a:xfrm>
            <a:off x="9404520" y="2222453"/>
            <a:ext cx="2414654" cy="320400"/>
          </a:xfrm>
          <a:prstGeom prst="rect">
            <a:avLst/>
          </a:prstGeom>
        </p:spPr>
        <p:txBody>
          <a:bodyPr lIns="0" tIns="0" rIns="0" bIns="0"/>
          <a:lstStyle>
            <a:lvl1pPr algn="ctr">
              <a:buNone/>
              <a:defRPr sz="1200" b="1">
                <a:solidFill>
                  <a:schemeClr val="bg1"/>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s-ES" dirty="0"/>
              <a:t>Text </a:t>
            </a:r>
            <a:r>
              <a:rPr lang="es-ES" dirty="0" err="1"/>
              <a:t>for</a:t>
            </a:r>
            <a:r>
              <a:rPr lang="es-ES" dirty="0"/>
              <a:t> </a:t>
            </a:r>
            <a:r>
              <a:rPr lang="es-ES" dirty="0" err="1"/>
              <a:t>relevant</a:t>
            </a:r>
            <a:r>
              <a:rPr lang="es-ES" dirty="0"/>
              <a:t> figure</a:t>
            </a:r>
            <a:endParaRPr lang="en-GB" dirty="0"/>
          </a:p>
        </p:txBody>
      </p:sp>
      <p:sp>
        <p:nvSpPr>
          <p:cNvPr id="30" name="Marcador de texto 3">
            <a:extLst>
              <a:ext uri="{FF2B5EF4-FFF2-40B4-BE49-F238E27FC236}">
                <a16:creationId xmlns:a16="http://schemas.microsoft.com/office/drawing/2014/main" id="{131273C2-7615-436D-990D-D20A0C2BE623}"/>
              </a:ext>
            </a:extLst>
          </p:cNvPr>
          <p:cNvSpPr>
            <a:spLocks noGrp="1"/>
          </p:cNvSpPr>
          <p:nvPr>
            <p:ph type="body" sz="quarter" idx="20" hasCustomPrompt="1"/>
          </p:nvPr>
        </p:nvSpPr>
        <p:spPr>
          <a:xfrm>
            <a:off x="9404520" y="2432899"/>
            <a:ext cx="2414654" cy="320400"/>
          </a:xfrm>
          <a:prstGeom prst="rect">
            <a:avLst/>
          </a:prstGeom>
        </p:spPr>
        <p:txBody>
          <a:bodyPr lIns="0" tIns="0" rIns="0" bIns="0"/>
          <a:lstStyle>
            <a:lvl1pPr algn="ctr">
              <a:buNone/>
              <a:defRPr sz="1000" b="0">
                <a:solidFill>
                  <a:schemeClr val="bg1"/>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s-ES" dirty="0"/>
              <a:t>Text </a:t>
            </a:r>
            <a:r>
              <a:rPr lang="es-ES" dirty="0" err="1"/>
              <a:t>for</a:t>
            </a:r>
            <a:r>
              <a:rPr lang="es-ES" dirty="0"/>
              <a:t> </a:t>
            </a:r>
            <a:r>
              <a:rPr lang="es-ES" dirty="0" err="1"/>
              <a:t>relevant</a:t>
            </a:r>
            <a:r>
              <a:rPr lang="es-ES" dirty="0"/>
              <a:t> figure</a:t>
            </a:r>
            <a:endParaRPr lang="en-GB" dirty="0"/>
          </a:p>
        </p:txBody>
      </p:sp>
      <p:sp>
        <p:nvSpPr>
          <p:cNvPr id="31" name="Marcador de texto 3">
            <a:extLst>
              <a:ext uri="{FF2B5EF4-FFF2-40B4-BE49-F238E27FC236}">
                <a16:creationId xmlns:a16="http://schemas.microsoft.com/office/drawing/2014/main" id="{025BD441-33F7-4C41-84BC-606A7B455415}"/>
              </a:ext>
            </a:extLst>
          </p:cNvPr>
          <p:cNvSpPr>
            <a:spLocks noGrp="1"/>
          </p:cNvSpPr>
          <p:nvPr>
            <p:ph type="body" sz="quarter" idx="21" hasCustomPrompt="1"/>
          </p:nvPr>
        </p:nvSpPr>
        <p:spPr>
          <a:xfrm>
            <a:off x="9410925" y="3950669"/>
            <a:ext cx="2414654" cy="320400"/>
          </a:xfrm>
          <a:prstGeom prst="rect">
            <a:avLst/>
          </a:prstGeom>
        </p:spPr>
        <p:txBody>
          <a:bodyPr lIns="0" tIns="0" rIns="0" bIns="0"/>
          <a:lstStyle>
            <a:lvl1pPr algn="ctr">
              <a:buNone/>
              <a:defRPr sz="1200" b="1">
                <a:solidFill>
                  <a:schemeClr val="bg1"/>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s-ES" dirty="0"/>
              <a:t>Text </a:t>
            </a:r>
            <a:r>
              <a:rPr lang="es-ES" dirty="0" err="1"/>
              <a:t>for</a:t>
            </a:r>
            <a:r>
              <a:rPr lang="es-ES" dirty="0"/>
              <a:t> </a:t>
            </a:r>
            <a:r>
              <a:rPr lang="es-ES" dirty="0" err="1"/>
              <a:t>relevant</a:t>
            </a:r>
            <a:r>
              <a:rPr lang="es-ES" dirty="0"/>
              <a:t> figure</a:t>
            </a:r>
            <a:endParaRPr lang="en-GB" dirty="0"/>
          </a:p>
        </p:txBody>
      </p:sp>
      <p:sp>
        <p:nvSpPr>
          <p:cNvPr id="32" name="Marcador de texto 3">
            <a:extLst>
              <a:ext uri="{FF2B5EF4-FFF2-40B4-BE49-F238E27FC236}">
                <a16:creationId xmlns:a16="http://schemas.microsoft.com/office/drawing/2014/main" id="{2017F5C9-F4AA-4820-84A9-FE1C4CF0407D}"/>
              </a:ext>
            </a:extLst>
          </p:cNvPr>
          <p:cNvSpPr>
            <a:spLocks noGrp="1"/>
          </p:cNvSpPr>
          <p:nvPr>
            <p:ph type="body" sz="quarter" idx="22" hasCustomPrompt="1"/>
          </p:nvPr>
        </p:nvSpPr>
        <p:spPr>
          <a:xfrm>
            <a:off x="9410925" y="4161115"/>
            <a:ext cx="2414654" cy="320400"/>
          </a:xfrm>
          <a:prstGeom prst="rect">
            <a:avLst/>
          </a:prstGeom>
        </p:spPr>
        <p:txBody>
          <a:bodyPr lIns="0" tIns="0" rIns="0" bIns="0"/>
          <a:lstStyle>
            <a:lvl1pPr algn="ctr">
              <a:buNone/>
              <a:defRPr lang="en-GB" sz="1000" b="0" i="0" kern="1200" dirty="0">
                <a:solidFill>
                  <a:schemeClr val="bg1"/>
                </a:solidFill>
                <a:latin typeface="+mn-lt"/>
                <a:ea typeface="+mn-ea"/>
                <a:cs typeface="+mn-cs"/>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marL="0" lvl="0" indent="0" algn="ctr" defTabSz="914400" rtl="0" eaLnBrk="1" latinLnBrk="0" hangingPunct="1">
              <a:lnSpc>
                <a:spcPct val="90000"/>
              </a:lnSpc>
              <a:spcBef>
                <a:spcPts val="1800"/>
              </a:spcBef>
              <a:buFontTx/>
              <a:buNone/>
            </a:pPr>
            <a:r>
              <a:rPr lang="es-ES" dirty="0"/>
              <a:t>Text </a:t>
            </a:r>
            <a:r>
              <a:rPr lang="es-ES" dirty="0" err="1"/>
              <a:t>for</a:t>
            </a:r>
            <a:r>
              <a:rPr lang="es-ES" dirty="0"/>
              <a:t> </a:t>
            </a:r>
            <a:r>
              <a:rPr lang="es-ES" dirty="0" err="1"/>
              <a:t>relevant</a:t>
            </a:r>
            <a:r>
              <a:rPr lang="es-ES" dirty="0"/>
              <a:t> figure</a:t>
            </a:r>
            <a:endParaRPr lang="en-GB" dirty="0"/>
          </a:p>
        </p:txBody>
      </p:sp>
      <p:sp>
        <p:nvSpPr>
          <p:cNvPr id="33" name="Marcador de texto 3">
            <a:extLst>
              <a:ext uri="{FF2B5EF4-FFF2-40B4-BE49-F238E27FC236}">
                <a16:creationId xmlns:a16="http://schemas.microsoft.com/office/drawing/2014/main" id="{CD9D557B-731A-4486-89A3-A28FB18C3DB0}"/>
              </a:ext>
            </a:extLst>
          </p:cNvPr>
          <p:cNvSpPr>
            <a:spLocks noGrp="1"/>
          </p:cNvSpPr>
          <p:nvPr>
            <p:ph type="body" sz="quarter" idx="23" hasCustomPrompt="1"/>
          </p:nvPr>
        </p:nvSpPr>
        <p:spPr>
          <a:xfrm>
            <a:off x="9404520" y="5649955"/>
            <a:ext cx="2414654" cy="320400"/>
          </a:xfrm>
          <a:prstGeom prst="rect">
            <a:avLst/>
          </a:prstGeom>
        </p:spPr>
        <p:txBody>
          <a:bodyPr lIns="0" tIns="0" rIns="0" bIns="0"/>
          <a:lstStyle>
            <a:lvl1pPr algn="ctr">
              <a:buNone/>
              <a:defRPr sz="1200" b="1">
                <a:solidFill>
                  <a:schemeClr val="bg1"/>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s-ES" dirty="0"/>
              <a:t>Text </a:t>
            </a:r>
            <a:r>
              <a:rPr lang="es-ES" dirty="0" err="1"/>
              <a:t>for</a:t>
            </a:r>
            <a:r>
              <a:rPr lang="es-ES" dirty="0"/>
              <a:t> </a:t>
            </a:r>
            <a:r>
              <a:rPr lang="es-ES" dirty="0" err="1"/>
              <a:t>relevant</a:t>
            </a:r>
            <a:r>
              <a:rPr lang="es-ES" dirty="0"/>
              <a:t> figure</a:t>
            </a:r>
            <a:endParaRPr lang="en-GB" dirty="0"/>
          </a:p>
        </p:txBody>
      </p:sp>
      <p:sp>
        <p:nvSpPr>
          <p:cNvPr id="34" name="Marcador de texto 3">
            <a:extLst>
              <a:ext uri="{FF2B5EF4-FFF2-40B4-BE49-F238E27FC236}">
                <a16:creationId xmlns:a16="http://schemas.microsoft.com/office/drawing/2014/main" id="{42607C9A-4672-4E5B-83FC-18EB73962554}"/>
              </a:ext>
            </a:extLst>
          </p:cNvPr>
          <p:cNvSpPr>
            <a:spLocks noGrp="1"/>
          </p:cNvSpPr>
          <p:nvPr>
            <p:ph type="body" sz="quarter" idx="24" hasCustomPrompt="1"/>
          </p:nvPr>
        </p:nvSpPr>
        <p:spPr>
          <a:xfrm>
            <a:off x="9404520" y="5860401"/>
            <a:ext cx="2414654" cy="320400"/>
          </a:xfrm>
          <a:prstGeom prst="rect">
            <a:avLst/>
          </a:prstGeom>
        </p:spPr>
        <p:txBody>
          <a:bodyPr lIns="0" tIns="0" rIns="0" bIns="0"/>
          <a:lstStyle>
            <a:lvl1pPr algn="ctr">
              <a:buNone/>
              <a:defRPr lang="en-GB" sz="1000" b="0" i="0" kern="1200" dirty="0">
                <a:solidFill>
                  <a:schemeClr val="bg1"/>
                </a:solidFill>
                <a:latin typeface="+mn-lt"/>
                <a:ea typeface="+mn-ea"/>
                <a:cs typeface="+mn-cs"/>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marL="0" lvl="0" indent="0" algn="ctr" defTabSz="914400" rtl="0" eaLnBrk="1" latinLnBrk="0" hangingPunct="1">
              <a:lnSpc>
                <a:spcPct val="90000"/>
              </a:lnSpc>
              <a:spcBef>
                <a:spcPts val="1800"/>
              </a:spcBef>
              <a:buFontTx/>
              <a:buNone/>
            </a:pPr>
            <a:r>
              <a:rPr lang="es-ES" dirty="0"/>
              <a:t>Text </a:t>
            </a:r>
            <a:r>
              <a:rPr lang="es-ES" dirty="0" err="1"/>
              <a:t>for</a:t>
            </a:r>
            <a:r>
              <a:rPr lang="es-ES" dirty="0"/>
              <a:t> </a:t>
            </a:r>
            <a:r>
              <a:rPr lang="es-ES" dirty="0" err="1"/>
              <a:t>relevant</a:t>
            </a:r>
            <a:r>
              <a:rPr lang="es-ES" dirty="0"/>
              <a:t> figure</a:t>
            </a:r>
            <a:endParaRPr lang="en-GB" dirty="0"/>
          </a:p>
        </p:txBody>
      </p:sp>
    </p:spTree>
    <p:extLst>
      <p:ext uri="{BB962C8B-B14F-4D97-AF65-F5344CB8AC3E}">
        <p14:creationId xmlns:p14="http://schemas.microsoft.com/office/powerpoint/2010/main" val="233193623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4_Text + relevant figures+fullimages+straigh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C6E4ADC8-0B09-456C-98F3-35E3A84B8262}"/>
              </a:ext>
            </a:extLst>
          </p:cNvPr>
          <p:cNvSpPr>
            <a:spLocks noGrp="1"/>
          </p:cNvSpPr>
          <p:nvPr>
            <p:ph type="pic" sz="quarter" idx="19"/>
          </p:nvPr>
        </p:nvSpPr>
        <p:spPr>
          <a:xfrm>
            <a:off x="0" y="0"/>
            <a:ext cx="12192000" cy="6858000"/>
          </a:xfrm>
        </p:spPr>
        <p:txBody>
          <a:bodyPr/>
          <a:lstStyle/>
          <a:p>
            <a:endParaRPr lang="en-US"/>
          </a:p>
        </p:txBody>
      </p:sp>
      <p:graphicFrame>
        <p:nvGraphicFramePr>
          <p:cNvPr id="3" name="Object 2" hidden="1">
            <a:extLst>
              <a:ext uri="{FF2B5EF4-FFF2-40B4-BE49-F238E27FC236}">
                <a16:creationId xmlns:a16="http://schemas.microsoft.com/office/drawing/2014/main" id="{C18526C9-16E3-4A1D-828A-4692734F055E}"/>
              </a:ext>
            </a:extLst>
          </p:cNvPr>
          <p:cNvGraphicFramePr>
            <a:graphicFrameLocks noChangeAspect="1"/>
          </p:cNvGraphicFramePr>
          <p:nvPr userDrawn="1">
            <p:custDataLst>
              <p:tags r:id="rId2"/>
            </p:custDataLst>
            <p:extLst>
              <p:ext uri="{D42A27DB-BD31-4B8C-83A1-F6EECF244321}">
                <p14:modId xmlns:p14="http://schemas.microsoft.com/office/powerpoint/2010/main" val="369050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28" name="think-cell Slide" r:id="rId5" imgW="473" imgH="474" progId="TCLayout.ActiveDocument.1">
                  <p:embed/>
                </p:oleObj>
              </mc:Choice>
              <mc:Fallback>
                <p:oleObj name="think-cell Slide" r:id="rId5" imgW="473" imgH="474" progId="TCLayout.ActiveDocument.1">
                  <p:embed/>
                  <p:pic>
                    <p:nvPicPr>
                      <p:cNvPr id="3" name="Object 2" hidden="1">
                        <a:extLst>
                          <a:ext uri="{FF2B5EF4-FFF2-40B4-BE49-F238E27FC236}">
                            <a16:creationId xmlns:a16="http://schemas.microsoft.com/office/drawing/2014/main" id="{C18526C9-16E3-4A1D-828A-4692734F055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B2B384D-A05A-4439-838E-B66DA57DCB38}"/>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Verdana" panose="020B0604030504040204" pitchFamily="34" charset="0"/>
              <a:ea typeface="+mj-ea"/>
              <a:cs typeface="+mj-cs"/>
              <a:sym typeface="Verdana" panose="020B0604030504040204" pitchFamily="34" charset="0"/>
            </a:endParaRPr>
          </a:p>
        </p:txBody>
      </p:sp>
      <p:sp>
        <p:nvSpPr>
          <p:cNvPr id="6" name="Marcador de texto 5">
            <a:extLst>
              <a:ext uri="{FF2B5EF4-FFF2-40B4-BE49-F238E27FC236}">
                <a16:creationId xmlns:a16="http://schemas.microsoft.com/office/drawing/2014/main" id="{9EBCB333-58BB-B544-BBAA-8ED40584EC60}"/>
              </a:ext>
            </a:extLst>
          </p:cNvPr>
          <p:cNvSpPr>
            <a:spLocks noGrp="1"/>
          </p:cNvSpPr>
          <p:nvPr>
            <p:ph type="body" sz="quarter" idx="12" hasCustomPrompt="1"/>
          </p:nvPr>
        </p:nvSpPr>
        <p:spPr>
          <a:xfrm>
            <a:off x="9354805" y="1396800"/>
            <a:ext cx="2463133" cy="787206"/>
          </a:xfrm>
          <a:prstGeom prst="rect">
            <a:avLst/>
          </a:prstGeom>
        </p:spPr>
        <p:txBody>
          <a:bodyPr lIns="0" tIns="0" rIns="0" bIns="0"/>
          <a:lstStyle>
            <a:lvl1pPr algn="ctr">
              <a:buNone/>
              <a:defRPr sz="6000" b="1">
                <a:solidFill>
                  <a:srgbClr val="FFFFFF"/>
                </a:solidFill>
              </a:defRPr>
            </a:lvl1pPr>
            <a:lvl2pPr>
              <a:buNone/>
              <a:defRPr/>
            </a:lvl2pPr>
            <a:lvl3pPr>
              <a:buNone/>
              <a:defRPr/>
            </a:lvl3pPr>
            <a:lvl4pPr>
              <a:buNone/>
              <a:defRPr/>
            </a:lvl4pPr>
            <a:lvl5pPr>
              <a:buNone/>
              <a:defRPr/>
            </a:lvl5pPr>
          </a:lstStyle>
          <a:p>
            <a:pPr lvl="0"/>
            <a:r>
              <a:rPr lang="es-ES" dirty="0"/>
              <a:t>##%</a:t>
            </a:r>
            <a:endParaRPr lang="en-GB" dirty="0"/>
          </a:p>
        </p:txBody>
      </p:sp>
      <p:sp>
        <p:nvSpPr>
          <p:cNvPr id="20" name="Marcador de texto 5">
            <a:extLst>
              <a:ext uri="{FF2B5EF4-FFF2-40B4-BE49-F238E27FC236}">
                <a16:creationId xmlns:a16="http://schemas.microsoft.com/office/drawing/2014/main" id="{2C06ACCB-354C-3D41-AB30-002D49D29C60}"/>
              </a:ext>
            </a:extLst>
          </p:cNvPr>
          <p:cNvSpPr>
            <a:spLocks noGrp="1"/>
          </p:cNvSpPr>
          <p:nvPr>
            <p:ph type="body" sz="quarter" idx="13" hasCustomPrompt="1"/>
          </p:nvPr>
        </p:nvSpPr>
        <p:spPr>
          <a:xfrm>
            <a:off x="9354805" y="3106608"/>
            <a:ext cx="2463133" cy="787207"/>
          </a:xfrm>
          <a:prstGeom prst="rect">
            <a:avLst/>
          </a:prstGeom>
        </p:spPr>
        <p:txBody>
          <a:bodyPr lIns="0" tIns="0" rIns="0" bIns="0"/>
          <a:lstStyle>
            <a:lvl1pPr algn="ctr">
              <a:buNone/>
              <a:defRPr sz="6000" b="1">
                <a:solidFill>
                  <a:srgbClr val="FFFFFF"/>
                </a:solidFill>
              </a:defRPr>
            </a:lvl1pPr>
            <a:lvl2pPr>
              <a:buNone/>
              <a:defRPr/>
            </a:lvl2pPr>
            <a:lvl3pPr>
              <a:buNone/>
              <a:defRPr/>
            </a:lvl3pPr>
            <a:lvl4pPr>
              <a:buNone/>
              <a:defRPr/>
            </a:lvl4pPr>
            <a:lvl5pPr>
              <a:buNone/>
              <a:defRPr/>
            </a:lvl5pPr>
          </a:lstStyle>
          <a:p>
            <a:pPr lvl="0"/>
            <a:r>
              <a:rPr lang="es-ES" dirty="0"/>
              <a:t>##%</a:t>
            </a:r>
            <a:endParaRPr lang="en-GB" dirty="0"/>
          </a:p>
        </p:txBody>
      </p:sp>
      <p:sp>
        <p:nvSpPr>
          <p:cNvPr id="22" name="Marcador de texto 5">
            <a:extLst>
              <a:ext uri="{FF2B5EF4-FFF2-40B4-BE49-F238E27FC236}">
                <a16:creationId xmlns:a16="http://schemas.microsoft.com/office/drawing/2014/main" id="{55898699-B5C9-1042-AB4E-4107C11BB498}"/>
              </a:ext>
            </a:extLst>
          </p:cNvPr>
          <p:cNvSpPr>
            <a:spLocks noGrp="1"/>
          </p:cNvSpPr>
          <p:nvPr>
            <p:ph type="body" sz="quarter" idx="14" hasCustomPrompt="1"/>
          </p:nvPr>
        </p:nvSpPr>
        <p:spPr>
          <a:xfrm>
            <a:off x="9354805" y="4821943"/>
            <a:ext cx="2463133" cy="787207"/>
          </a:xfrm>
          <a:prstGeom prst="rect">
            <a:avLst/>
          </a:prstGeom>
        </p:spPr>
        <p:txBody>
          <a:bodyPr lIns="0" tIns="0" rIns="0" bIns="0"/>
          <a:lstStyle>
            <a:lvl1pPr algn="ctr">
              <a:buNone/>
              <a:defRPr sz="6000" b="1">
                <a:solidFill>
                  <a:srgbClr val="FFFFFF"/>
                </a:solidFill>
              </a:defRPr>
            </a:lvl1pPr>
            <a:lvl2pPr>
              <a:buNone/>
              <a:defRPr/>
            </a:lvl2pPr>
            <a:lvl3pPr>
              <a:buNone/>
              <a:defRPr/>
            </a:lvl3pPr>
            <a:lvl4pPr>
              <a:buNone/>
              <a:defRPr/>
            </a:lvl4pPr>
            <a:lvl5pPr>
              <a:buNone/>
              <a:defRPr/>
            </a:lvl5pPr>
          </a:lstStyle>
          <a:p>
            <a:pPr lvl="0"/>
            <a:r>
              <a:rPr lang="es-ES" dirty="0"/>
              <a:t>##%</a:t>
            </a:r>
            <a:endParaRPr lang="en-GB" dirty="0"/>
          </a:p>
        </p:txBody>
      </p:sp>
      <p:sp>
        <p:nvSpPr>
          <p:cNvPr id="4" name="Marcador de texto 3">
            <a:extLst>
              <a:ext uri="{FF2B5EF4-FFF2-40B4-BE49-F238E27FC236}">
                <a16:creationId xmlns:a16="http://schemas.microsoft.com/office/drawing/2014/main" id="{E8D5A004-570A-094C-B900-71EF2C9421F9}"/>
              </a:ext>
            </a:extLst>
          </p:cNvPr>
          <p:cNvSpPr>
            <a:spLocks noGrp="1"/>
          </p:cNvSpPr>
          <p:nvPr>
            <p:ph type="body" sz="quarter" idx="15" hasCustomPrompt="1"/>
          </p:nvPr>
        </p:nvSpPr>
        <p:spPr>
          <a:xfrm>
            <a:off x="9354805" y="2181942"/>
            <a:ext cx="2463712" cy="320400"/>
          </a:xfrm>
          <a:prstGeom prst="rect">
            <a:avLst/>
          </a:prstGeom>
        </p:spPr>
        <p:txBody>
          <a:bodyPr lIns="0" tIns="0" rIns="0" bIns="0"/>
          <a:lstStyle>
            <a:lvl1pPr algn="ctr">
              <a:buNone/>
              <a:defRPr sz="1000" b="0">
                <a:solidFill>
                  <a:srgbClr val="FFFFFF"/>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s-ES" dirty="0"/>
              <a:t>Text </a:t>
            </a:r>
            <a:r>
              <a:rPr lang="es-ES" dirty="0" err="1"/>
              <a:t>for</a:t>
            </a:r>
            <a:r>
              <a:rPr lang="es-ES" dirty="0"/>
              <a:t> </a:t>
            </a:r>
            <a:r>
              <a:rPr lang="es-ES" dirty="0" err="1"/>
              <a:t>relevevant</a:t>
            </a:r>
            <a:r>
              <a:rPr lang="es-ES" dirty="0"/>
              <a:t> figure</a:t>
            </a:r>
            <a:endParaRPr lang="en-GB" dirty="0"/>
          </a:p>
        </p:txBody>
      </p:sp>
      <p:sp>
        <p:nvSpPr>
          <p:cNvPr id="13" name="Marcador de texto 3">
            <a:extLst>
              <a:ext uri="{FF2B5EF4-FFF2-40B4-BE49-F238E27FC236}">
                <a16:creationId xmlns:a16="http://schemas.microsoft.com/office/drawing/2014/main" id="{875879A7-B32B-1A41-AC83-2784AED7BE4A}"/>
              </a:ext>
            </a:extLst>
          </p:cNvPr>
          <p:cNvSpPr>
            <a:spLocks noGrp="1"/>
          </p:cNvSpPr>
          <p:nvPr>
            <p:ph type="body" sz="quarter" idx="16" hasCustomPrompt="1"/>
          </p:nvPr>
        </p:nvSpPr>
        <p:spPr>
          <a:xfrm>
            <a:off x="9354805" y="3889058"/>
            <a:ext cx="2463712" cy="320400"/>
          </a:xfrm>
          <a:prstGeom prst="rect">
            <a:avLst/>
          </a:prstGeom>
        </p:spPr>
        <p:txBody>
          <a:bodyPr lIns="0" tIns="0" rIns="0" bIns="0"/>
          <a:lstStyle>
            <a:lvl1pPr algn="ctr">
              <a:buNone/>
              <a:defRPr sz="1000" b="0">
                <a:solidFill>
                  <a:srgbClr val="FFFFFF"/>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s-ES" dirty="0"/>
              <a:t>Text </a:t>
            </a:r>
            <a:r>
              <a:rPr lang="es-ES" dirty="0" err="1"/>
              <a:t>for</a:t>
            </a:r>
            <a:r>
              <a:rPr lang="es-ES" dirty="0"/>
              <a:t> </a:t>
            </a:r>
            <a:r>
              <a:rPr lang="es-ES" dirty="0" err="1"/>
              <a:t>relevevant</a:t>
            </a:r>
            <a:r>
              <a:rPr lang="es-ES" dirty="0"/>
              <a:t> figure</a:t>
            </a:r>
            <a:endParaRPr lang="en-GB" dirty="0"/>
          </a:p>
        </p:txBody>
      </p:sp>
      <p:sp>
        <p:nvSpPr>
          <p:cNvPr id="14" name="Marcador de texto 3">
            <a:extLst>
              <a:ext uri="{FF2B5EF4-FFF2-40B4-BE49-F238E27FC236}">
                <a16:creationId xmlns:a16="http://schemas.microsoft.com/office/drawing/2014/main" id="{E61C715B-7BD4-534A-8056-30CB1B8EDD3C}"/>
              </a:ext>
            </a:extLst>
          </p:cNvPr>
          <p:cNvSpPr>
            <a:spLocks noGrp="1"/>
          </p:cNvSpPr>
          <p:nvPr>
            <p:ph type="body" sz="quarter" idx="17" hasCustomPrompt="1"/>
          </p:nvPr>
        </p:nvSpPr>
        <p:spPr>
          <a:xfrm>
            <a:off x="9354805" y="5590858"/>
            <a:ext cx="2463712" cy="320400"/>
          </a:xfrm>
          <a:prstGeom prst="rect">
            <a:avLst/>
          </a:prstGeom>
        </p:spPr>
        <p:txBody>
          <a:bodyPr lIns="0" tIns="0" rIns="0" bIns="0"/>
          <a:lstStyle>
            <a:lvl1pPr algn="ctr">
              <a:buNone/>
              <a:defRPr sz="1000" b="0">
                <a:solidFill>
                  <a:srgbClr val="FFFFFF"/>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s-ES" dirty="0"/>
              <a:t>Text </a:t>
            </a:r>
            <a:r>
              <a:rPr lang="es-ES" dirty="0" err="1"/>
              <a:t>for</a:t>
            </a:r>
            <a:r>
              <a:rPr lang="es-ES" dirty="0"/>
              <a:t> </a:t>
            </a:r>
            <a:r>
              <a:rPr lang="es-ES" dirty="0" err="1"/>
              <a:t>relevevant</a:t>
            </a:r>
            <a:r>
              <a:rPr lang="es-ES" dirty="0"/>
              <a:t> figure</a:t>
            </a:r>
            <a:endParaRPr lang="en-GB" dirty="0"/>
          </a:p>
        </p:txBody>
      </p:sp>
      <p:sp>
        <p:nvSpPr>
          <p:cNvPr id="15" name="Marcador de texto 2">
            <a:extLst>
              <a:ext uri="{FF2B5EF4-FFF2-40B4-BE49-F238E27FC236}">
                <a16:creationId xmlns:a16="http://schemas.microsoft.com/office/drawing/2014/main" id="{B0631F3F-D69C-4938-9C2D-8DBA1DF60BB1}"/>
              </a:ext>
            </a:extLst>
          </p:cNvPr>
          <p:cNvSpPr>
            <a:spLocks noGrp="1"/>
          </p:cNvSpPr>
          <p:nvPr>
            <p:ph type="body" idx="10" hasCustomPrompt="1"/>
          </p:nvPr>
        </p:nvSpPr>
        <p:spPr>
          <a:xfrm>
            <a:off x="368791" y="722639"/>
            <a:ext cx="5339118" cy="324000"/>
          </a:xfrm>
          <a:prstGeom prst="rect">
            <a:avLst/>
          </a:prstGeom>
        </p:spPr>
        <p:txBody>
          <a:bodyPr lIns="0" tIns="0" rIns="0" bIns="0" anchor="t"/>
          <a:lstStyle>
            <a:lvl1pPr marL="0" indent="0">
              <a:lnSpc>
                <a:spcPct val="100000"/>
              </a:lnSpc>
              <a:spcBef>
                <a:spcPts val="0"/>
              </a:spcBef>
              <a:buNone/>
              <a:defRPr sz="2000" b="0">
                <a:solidFill>
                  <a:srgbClr val="000000"/>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err="1"/>
              <a:t>Subtitle</a:t>
            </a:r>
            <a:endParaRPr lang="es-ES" dirty="0"/>
          </a:p>
        </p:txBody>
      </p:sp>
      <p:sp>
        <p:nvSpPr>
          <p:cNvPr id="8" name="Text Placeholder 7">
            <a:extLst>
              <a:ext uri="{FF2B5EF4-FFF2-40B4-BE49-F238E27FC236}">
                <a16:creationId xmlns:a16="http://schemas.microsoft.com/office/drawing/2014/main" id="{3A15B74D-3758-47B9-82C3-FFA884FCE23F}"/>
              </a:ext>
            </a:extLst>
          </p:cNvPr>
          <p:cNvSpPr>
            <a:spLocks noGrp="1"/>
          </p:cNvSpPr>
          <p:nvPr>
            <p:ph type="body" sz="quarter" idx="18"/>
          </p:nvPr>
        </p:nvSpPr>
        <p:spPr>
          <a:xfrm>
            <a:off x="368791" y="1396800"/>
            <a:ext cx="4034934" cy="4752000"/>
          </a:xfrm>
        </p:spPr>
        <p:txBody>
          <a:bodyPr/>
          <a:lstStyle>
            <a:lvl1pPr>
              <a:defRPr sz="14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uadroTexto 64">
            <a:extLst>
              <a:ext uri="{FF2B5EF4-FFF2-40B4-BE49-F238E27FC236}">
                <a16:creationId xmlns:a16="http://schemas.microsoft.com/office/drawing/2014/main" id="{7EEFB272-44BD-4440-81FD-B5BE8200048F}"/>
              </a:ext>
            </a:extLst>
          </p:cNvPr>
          <p:cNvSpPr txBox="1"/>
          <p:nvPr userDrawn="1"/>
        </p:nvSpPr>
        <p:spPr>
          <a:xfrm>
            <a:off x="10882303" y="6449284"/>
            <a:ext cx="936214" cy="138499"/>
          </a:xfrm>
          <a:prstGeom prst="rect">
            <a:avLst/>
          </a:prstGeom>
          <a:noFill/>
        </p:spPr>
        <p:txBody>
          <a:bodyPr wrap="square" lIns="0" tIns="0" rIns="0" bIns="0" rtlCol="0">
            <a:spAutoFit/>
          </a:bodyPr>
          <a:lstStyle/>
          <a:p>
            <a:pPr algn="r"/>
            <a:fld id="{A4EEDD72-1D6A-6B46-BCFA-C211F73E9379}" type="slidenum">
              <a:rPr lang="es-ES" sz="900" b="1" smtClean="0">
                <a:solidFill>
                  <a:srgbClr val="FFFFFF"/>
                </a:solidFill>
                <a:latin typeface="Verdana" panose="020B0604030504040204" pitchFamily="34" charset="0"/>
                <a:ea typeface="Verdana" panose="020B0604030504040204" pitchFamily="34" charset="0"/>
                <a:cs typeface="Verdana" panose="020B0604030504040204" pitchFamily="34" charset="0"/>
              </a:rPr>
              <a:pPr algn="r"/>
              <a:t>‹N›</a:t>
            </a:fld>
            <a:endParaRPr lang="es-ES" sz="900" b="1" dirty="0">
              <a:solidFill>
                <a:srgbClr val="FFFFFF"/>
              </a:solidFill>
              <a:latin typeface="Verdana" panose="020B0604030504040204" pitchFamily="34" charset="0"/>
              <a:ea typeface="Verdana" panose="020B0604030504040204" pitchFamily="34" charset="0"/>
              <a:cs typeface="Verdana" panose="020B0604030504040204" pitchFamily="34" charset="0"/>
            </a:endParaRPr>
          </a:p>
        </p:txBody>
      </p:sp>
      <p:sp>
        <p:nvSpPr>
          <p:cNvPr id="9" name="Title 8">
            <a:extLst>
              <a:ext uri="{FF2B5EF4-FFF2-40B4-BE49-F238E27FC236}">
                <a16:creationId xmlns:a16="http://schemas.microsoft.com/office/drawing/2014/main" id="{965B48A6-C16F-42F8-ABA4-E292AD3ADAB5}"/>
              </a:ext>
            </a:extLst>
          </p:cNvPr>
          <p:cNvSpPr>
            <a:spLocks noGrp="1"/>
          </p:cNvSpPr>
          <p:nvPr>
            <p:ph type="title"/>
          </p:nvPr>
        </p:nvSpPr>
        <p:spPr>
          <a:xfrm>
            <a:off x="367201" y="252000"/>
            <a:ext cx="5339118" cy="432000"/>
          </a:xfrm>
        </p:spPr>
        <p:txBody>
          <a:bodyPr/>
          <a:lstStyle/>
          <a:p>
            <a:r>
              <a:rPr lang="en-US"/>
              <a:t>Click to edit Master title style</a:t>
            </a:r>
          </a:p>
        </p:txBody>
      </p:sp>
      <p:pic>
        <p:nvPicPr>
          <p:cNvPr id="21" name="Graphic 10">
            <a:extLst>
              <a:ext uri="{FF2B5EF4-FFF2-40B4-BE49-F238E27FC236}">
                <a16:creationId xmlns:a16="http://schemas.microsoft.com/office/drawing/2014/main" id="{B6011187-AA8E-452B-973C-511891D6AD7A}"/>
              </a:ext>
            </a:extLst>
          </p:cNvPr>
          <p:cNvPicPr>
            <a:picLocks noChangeAspect="1"/>
          </p:cNvPicPr>
          <p:nvPr userDrawn="1"/>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70517" y="6420188"/>
            <a:ext cx="675863" cy="162467"/>
          </a:xfrm>
          <a:prstGeom prst="rect">
            <a:avLst/>
          </a:prstGeom>
        </p:spPr>
      </p:pic>
      <p:sp>
        <p:nvSpPr>
          <p:cNvPr id="16" name="Rectangle 15">
            <a:extLst>
              <a:ext uri="{FF2B5EF4-FFF2-40B4-BE49-F238E27FC236}">
                <a16:creationId xmlns:a16="http://schemas.microsoft.com/office/drawing/2014/main" id="{A6AE2891-66DF-462A-B1BA-D359F8B895FC}"/>
              </a:ext>
            </a:extLst>
          </p:cNvPr>
          <p:cNvSpPr/>
          <p:nvPr userDrawn="1"/>
        </p:nvSpPr>
        <p:spPr>
          <a:xfrm>
            <a:off x="3051745"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7" name="Rectangle 16">
            <a:extLst>
              <a:ext uri="{FF2B5EF4-FFF2-40B4-BE49-F238E27FC236}">
                <a16:creationId xmlns:a16="http://schemas.microsoft.com/office/drawing/2014/main" id="{CDAFA182-F549-4DB6-8514-3778104EC9EE}"/>
              </a:ext>
            </a:extLst>
          </p:cNvPr>
          <p:cNvSpPr/>
          <p:nvPr userDrawn="1"/>
        </p:nvSpPr>
        <p:spPr>
          <a:xfrm>
            <a:off x="7490"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9" name="Rectangle 18">
            <a:extLst>
              <a:ext uri="{FF2B5EF4-FFF2-40B4-BE49-F238E27FC236}">
                <a16:creationId xmlns:a16="http://schemas.microsoft.com/office/drawing/2014/main" id="{0EC6C7D4-8032-483B-A6F5-CAD20BEFBB5C}"/>
              </a:ext>
            </a:extLst>
          </p:cNvPr>
          <p:cNvSpPr/>
          <p:nvPr userDrawn="1"/>
        </p:nvSpPr>
        <p:spPr>
          <a:xfrm>
            <a:off x="9149414"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3" name="Rectangle 22">
            <a:extLst>
              <a:ext uri="{FF2B5EF4-FFF2-40B4-BE49-F238E27FC236}">
                <a16:creationId xmlns:a16="http://schemas.microsoft.com/office/drawing/2014/main" id="{8874DC1B-12AA-48F6-BA12-5D826A76C033}"/>
              </a:ext>
            </a:extLst>
          </p:cNvPr>
          <p:cNvSpPr/>
          <p:nvPr userDrawn="1"/>
        </p:nvSpPr>
        <p:spPr>
          <a:xfrm>
            <a:off x="6105159"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Tree>
    <p:extLst>
      <p:ext uri="{BB962C8B-B14F-4D97-AF65-F5344CB8AC3E}">
        <p14:creationId xmlns:p14="http://schemas.microsoft.com/office/powerpoint/2010/main" val="73199139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1_Text + relevant figures+straigh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18526C9-16E3-4A1D-828A-4692734F055E}"/>
              </a:ext>
            </a:extLst>
          </p:cNvPr>
          <p:cNvGraphicFramePr>
            <a:graphicFrameLocks noChangeAspect="1"/>
          </p:cNvGraphicFramePr>
          <p:nvPr userDrawn="1">
            <p:custDataLst>
              <p:tags r:id="rId2"/>
            </p:custDataLst>
            <p:extLst>
              <p:ext uri="{D42A27DB-BD31-4B8C-83A1-F6EECF244321}">
                <p14:modId xmlns:p14="http://schemas.microsoft.com/office/powerpoint/2010/main" val="38728007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52" name="think-cell Slide" r:id="rId5" imgW="473" imgH="474" progId="TCLayout.ActiveDocument.1">
                  <p:embed/>
                </p:oleObj>
              </mc:Choice>
              <mc:Fallback>
                <p:oleObj name="think-cell Slide" r:id="rId5" imgW="473" imgH="474" progId="TCLayout.ActiveDocument.1">
                  <p:embed/>
                  <p:pic>
                    <p:nvPicPr>
                      <p:cNvPr id="3" name="Object 2" hidden="1">
                        <a:extLst>
                          <a:ext uri="{FF2B5EF4-FFF2-40B4-BE49-F238E27FC236}">
                            <a16:creationId xmlns:a16="http://schemas.microsoft.com/office/drawing/2014/main" id="{C18526C9-16E3-4A1D-828A-4692734F055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B2B384D-A05A-4439-838E-B66DA57DCB38}"/>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Verdana" panose="020B0604030504040204" pitchFamily="34" charset="0"/>
              <a:ea typeface="+mj-ea"/>
              <a:cs typeface="+mj-cs"/>
              <a:sym typeface="Verdana" panose="020B0604030504040204" pitchFamily="34" charset="0"/>
            </a:endParaRPr>
          </a:p>
        </p:txBody>
      </p:sp>
      <p:sp>
        <p:nvSpPr>
          <p:cNvPr id="2" name="Rectángulo 1">
            <a:extLst>
              <a:ext uri="{FF2B5EF4-FFF2-40B4-BE49-F238E27FC236}">
                <a16:creationId xmlns:a16="http://schemas.microsoft.com/office/drawing/2014/main" id="{BF29E734-210D-BC45-815B-FC427C40A195}"/>
              </a:ext>
            </a:extLst>
          </p:cNvPr>
          <p:cNvSpPr/>
          <p:nvPr userDrawn="1"/>
        </p:nvSpPr>
        <p:spPr>
          <a:xfrm>
            <a:off x="-36512" y="0"/>
            <a:ext cx="3756025" cy="6858000"/>
          </a:xfrm>
          <a:prstGeom prst="rect">
            <a:avLst/>
          </a:prstGeom>
          <a:gradFill>
            <a:gsLst>
              <a:gs pos="0">
                <a:schemeClr val="accent1"/>
              </a:gs>
              <a:gs pos="100000">
                <a:schemeClr val="accent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accent4"/>
              </a:solidFill>
            </a:endParaRPr>
          </a:p>
        </p:txBody>
      </p:sp>
      <p:sp>
        <p:nvSpPr>
          <p:cNvPr id="15" name="Marcador de texto 2">
            <a:extLst>
              <a:ext uri="{FF2B5EF4-FFF2-40B4-BE49-F238E27FC236}">
                <a16:creationId xmlns:a16="http://schemas.microsoft.com/office/drawing/2014/main" id="{B0631F3F-D69C-4938-9C2D-8DBA1DF60BB1}"/>
              </a:ext>
            </a:extLst>
          </p:cNvPr>
          <p:cNvSpPr>
            <a:spLocks noGrp="1"/>
          </p:cNvSpPr>
          <p:nvPr>
            <p:ph type="body" idx="10" hasCustomPrompt="1"/>
          </p:nvPr>
        </p:nvSpPr>
        <p:spPr>
          <a:xfrm>
            <a:off x="4403725" y="722639"/>
            <a:ext cx="7414792" cy="324000"/>
          </a:xfrm>
          <a:prstGeom prst="rect">
            <a:avLst/>
          </a:prstGeom>
        </p:spPr>
        <p:txBody>
          <a:bodyPr lIns="0" tIns="0" rIns="0" bIns="0" anchor="t"/>
          <a:lstStyle>
            <a:lvl1pPr marL="0" indent="0">
              <a:lnSpc>
                <a:spcPct val="100000"/>
              </a:lnSpc>
              <a:spcBef>
                <a:spcPts val="0"/>
              </a:spcBef>
              <a:buNone/>
              <a:defRPr sz="2000" b="0">
                <a:solidFill>
                  <a:srgbClr val="000000"/>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err="1"/>
              <a:t>Subtitle</a:t>
            </a:r>
            <a:endParaRPr lang="es-ES" dirty="0"/>
          </a:p>
        </p:txBody>
      </p:sp>
      <p:sp>
        <p:nvSpPr>
          <p:cNvPr id="8" name="Text Placeholder 7">
            <a:extLst>
              <a:ext uri="{FF2B5EF4-FFF2-40B4-BE49-F238E27FC236}">
                <a16:creationId xmlns:a16="http://schemas.microsoft.com/office/drawing/2014/main" id="{3A15B74D-3758-47B9-82C3-FFA884FCE23F}"/>
              </a:ext>
            </a:extLst>
          </p:cNvPr>
          <p:cNvSpPr>
            <a:spLocks noGrp="1"/>
          </p:cNvSpPr>
          <p:nvPr>
            <p:ph type="body" sz="quarter" idx="18"/>
          </p:nvPr>
        </p:nvSpPr>
        <p:spPr>
          <a:xfrm>
            <a:off x="4403725" y="1396800"/>
            <a:ext cx="7414792" cy="4752000"/>
          </a:xfrm>
        </p:spPr>
        <p:txBody>
          <a:bodyPr/>
          <a:lstStyle>
            <a:lvl1pPr>
              <a:defRPr sz="14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uadroTexto 64">
            <a:extLst>
              <a:ext uri="{FF2B5EF4-FFF2-40B4-BE49-F238E27FC236}">
                <a16:creationId xmlns:a16="http://schemas.microsoft.com/office/drawing/2014/main" id="{7EEFB272-44BD-4440-81FD-B5BE8200048F}"/>
              </a:ext>
            </a:extLst>
          </p:cNvPr>
          <p:cNvSpPr txBox="1"/>
          <p:nvPr userDrawn="1"/>
        </p:nvSpPr>
        <p:spPr>
          <a:xfrm>
            <a:off x="10882303" y="6449284"/>
            <a:ext cx="936214" cy="138499"/>
          </a:xfrm>
          <a:prstGeom prst="rect">
            <a:avLst/>
          </a:prstGeom>
          <a:noFill/>
        </p:spPr>
        <p:txBody>
          <a:bodyPr wrap="square" lIns="0" tIns="0" rIns="0" bIns="0" rtlCol="0">
            <a:spAutoFit/>
          </a:bodyPr>
          <a:lstStyle/>
          <a:p>
            <a:pPr algn="r"/>
            <a:fld id="{A4EEDD72-1D6A-6B46-BCFA-C211F73E9379}" type="slidenum">
              <a:rPr lang="es-ES" sz="900" b="1" smtClean="0">
                <a:solidFill>
                  <a:schemeClr val="accent1"/>
                </a:solidFill>
                <a:latin typeface="+mj-lt"/>
                <a:ea typeface="Verdana" panose="020B0604030504040204" pitchFamily="34" charset="0"/>
                <a:cs typeface="Verdana" panose="020B0604030504040204" pitchFamily="34" charset="0"/>
              </a:rPr>
              <a:pPr algn="r"/>
              <a:t>‹N›</a:t>
            </a:fld>
            <a:endParaRPr lang="es-ES" sz="900" b="1" dirty="0">
              <a:solidFill>
                <a:schemeClr val="accent1"/>
              </a:solidFill>
              <a:latin typeface="+mj-lt"/>
              <a:ea typeface="Verdana" panose="020B0604030504040204" pitchFamily="34" charset="0"/>
              <a:cs typeface="Verdana" panose="020B0604030504040204" pitchFamily="34" charset="0"/>
            </a:endParaRPr>
          </a:p>
        </p:txBody>
      </p:sp>
      <p:sp>
        <p:nvSpPr>
          <p:cNvPr id="9" name="Title 8">
            <a:extLst>
              <a:ext uri="{FF2B5EF4-FFF2-40B4-BE49-F238E27FC236}">
                <a16:creationId xmlns:a16="http://schemas.microsoft.com/office/drawing/2014/main" id="{965B48A6-C16F-42F8-ABA4-E292AD3ADAB5}"/>
              </a:ext>
            </a:extLst>
          </p:cNvPr>
          <p:cNvSpPr>
            <a:spLocks noGrp="1"/>
          </p:cNvSpPr>
          <p:nvPr>
            <p:ph type="title"/>
          </p:nvPr>
        </p:nvSpPr>
        <p:spPr>
          <a:xfrm>
            <a:off x="4402135" y="252000"/>
            <a:ext cx="7414792" cy="432000"/>
          </a:xfrm>
        </p:spPr>
        <p:txBody>
          <a:bodyPr/>
          <a:lstStyle/>
          <a:p>
            <a:r>
              <a:rPr lang="en-US" dirty="0"/>
              <a:t>Click to edit Master title style</a:t>
            </a:r>
          </a:p>
        </p:txBody>
      </p:sp>
      <p:pic>
        <p:nvPicPr>
          <p:cNvPr id="21" name="Graphic 10">
            <a:extLst>
              <a:ext uri="{FF2B5EF4-FFF2-40B4-BE49-F238E27FC236}">
                <a16:creationId xmlns:a16="http://schemas.microsoft.com/office/drawing/2014/main" id="{B6011187-AA8E-452B-973C-511891D6AD7A}"/>
              </a:ext>
            </a:extLst>
          </p:cNvPr>
          <p:cNvPicPr>
            <a:picLocks noChangeAspect="1"/>
          </p:cNvPicPr>
          <p:nvPr userDrawn="1"/>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70517" y="6420188"/>
            <a:ext cx="675863" cy="162467"/>
          </a:xfrm>
          <a:prstGeom prst="rect">
            <a:avLst/>
          </a:prstGeom>
        </p:spPr>
      </p:pic>
      <p:sp>
        <p:nvSpPr>
          <p:cNvPr id="17" name="Footer Placeholder 4">
            <a:extLst>
              <a:ext uri="{FF2B5EF4-FFF2-40B4-BE49-F238E27FC236}">
                <a16:creationId xmlns:a16="http://schemas.microsoft.com/office/drawing/2014/main" id="{36D1FE24-3FB1-4965-9A0E-D81523BCBBED}"/>
              </a:ext>
            </a:extLst>
          </p:cNvPr>
          <p:cNvSpPr txBox="1"/>
          <p:nvPr userDrawn="1"/>
        </p:nvSpPr>
        <p:spPr>
          <a:xfrm>
            <a:off x="5361433" y="6449284"/>
            <a:ext cx="1475068" cy="133372"/>
          </a:xfrm>
          <a:prstGeom prst="rect">
            <a:avLst/>
          </a:prstGeom>
        </p:spPr>
        <p:txBody>
          <a:bodyPr vert="horz" lIns="0" tIns="0" rIns="0" bIns="0" rtlCol="0" anchor="t" anchorCtr="0">
            <a:noAutofit/>
          </a:bodyPr>
          <a:lstStyle>
            <a:defPPr>
              <a:defRPr lang="es-ES"/>
            </a:defPPr>
            <a:lvl1pPr marL="0" algn="l" defTabSz="914400" rtl="0" eaLnBrk="1" latinLnBrk="0" hangingPunct="1">
              <a:defRPr sz="9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dirty="0">
                <a:solidFill>
                  <a:schemeClr val="tx2"/>
                </a:solidFill>
                <a:ea typeface="Arial" charset="0"/>
                <a:cs typeface="Arial" charset="0"/>
              </a:rPr>
              <a:t>Adecco.com</a:t>
            </a:r>
          </a:p>
        </p:txBody>
      </p:sp>
      <p:sp>
        <p:nvSpPr>
          <p:cNvPr id="19" name="Rectangle 18">
            <a:extLst>
              <a:ext uri="{FF2B5EF4-FFF2-40B4-BE49-F238E27FC236}">
                <a16:creationId xmlns:a16="http://schemas.microsoft.com/office/drawing/2014/main" id="{EA65080D-E1EA-48ED-B342-4C5DF44CEEF9}"/>
              </a:ext>
            </a:extLst>
          </p:cNvPr>
          <p:cNvSpPr/>
          <p:nvPr userDrawn="1"/>
        </p:nvSpPr>
        <p:spPr>
          <a:xfrm>
            <a:off x="3051745"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3" name="Rectangle 22">
            <a:extLst>
              <a:ext uri="{FF2B5EF4-FFF2-40B4-BE49-F238E27FC236}">
                <a16:creationId xmlns:a16="http://schemas.microsoft.com/office/drawing/2014/main" id="{1F54E3B3-1486-462C-BBA1-41483863087A}"/>
              </a:ext>
            </a:extLst>
          </p:cNvPr>
          <p:cNvSpPr/>
          <p:nvPr userDrawn="1"/>
        </p:nvSpPr>
        <p:spPr>
          <a:xfrm>
            <a:off x="7490"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4" name="Rectangle 23">
            <a:extLst>
              <a:ext uri="{FF2B5EF4-FFF2-40B4-BE49-F238E27FC236}">
                <a16:creationId xmlns:a16="http://schemas.microsoft.com/office/drawing/2014/main" id="{F1619248-42DE-4D4A-9A07-42C87EE4E17F}"/>
              </a:ext>
            </a:extLst>
          </p:cNvPr>
          <p:cNvSpPr/>
          <p:nvPr userDrawn="1"/>
        </p:nvSpPr>
        <p:spPr>
          <a:xfrm>
            <a:off x="9149414"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5" name="Rectangle 24">
            <a:extLst>
              <a:ext uri="{FF2B5EF4-FFF2-40B4-BE49-F238E27FC236}">
                <a16:creationId xmlns:a16="http://schemas.microsoft.com/office/drawing/2014/main" id="{96DDF7D5-9C5D-45F0-9425-A0CAF51D7922}"/>
              </a:ext>
            </a:extLst>
          </p:cNvPr>
          <p:cNvSpPr/>
          <p:nvPr userDrawn="1"/>
        </p:nvSpPr>
        <p:spPr>
          <a:xfrm>
            <a:off x="6105159"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2" name="Marcador de texto 5">
            <a:extLst>
              <a:ext uri="{FF2B5EF4-FFF2-40B4-BE49-F238E27FC236}">
                <a16:creationId xmlns:a16="http://schemas.microsoft.com/office/drawing/2014/main" id="{4D81F058-BB1B-4732-B551-7E9EB41C33CE}"/>
              </a:ext>
            </a:extLst>
          </p:cNvPr>
          <p:cNvSpPr>
            <a:spLocks noGrp="1"/>
          </p:cNvSpPr>
          <p:nvPr>
            <p:ph type="body" sz="quarter" idx="12" hasCustomPrompt="1"/>
          </p:nvPr>
        </p:nvSpPr>
        <p:spPr>
          <a:xfrm>
            <a:off x="371475" y="1396800"/>
            <a:ext cx="2680270" cy="787206"/>
          </a:xfrm>
          <a:prstGeom prst="rect">
            <a:avLst/>
          </a:prstGeom>
        </p:spPr>
        <p:txBody>
          <a:bodyPr lIns="0" tIns="0" rIns="0" bIns="0"/>
          <a:lstStyle>
            <a:lvl1pPr algn="ctr">
              <a:buNone/>
              <a:defRPr sz="6000" b="1">
                <a:solidFill>
                  <a:srgbClr val="FFFFFF"/>
                </a:solidFill>
              </a:defRPr>
            </a:lvl1pPr>
            <a:lvl2pPr>
              <a:buNone/>
              <a:defRPr/>
            </a:lvl2pPr>
            <a:lvl3pPr>
              <a:buNone/>
              <a:defRPr/>
            </a:lvl3pPr>
            <a:lvl4pPr>
              <a:buNone/>
              <a:defRPr/>
            </a:lvl4pPr>
            <a:lvl5pPr>
              <a:buNone/>
              <a:defRPr/>
            </a:lvl5pPr>
          </a:lstStyle>
          <a:p>
            <a:pPr lvl="0"/>
            <a:r>
              <a:rPr lang="es-ES" dirty="0"/>
              <a:t>##%</a:t>
            </a:r>
            <a:endParaRPr lang="en-GB" dirty="0"/>
          </a:p>
        </p:txBody>
      </p:sp>
      <p:sp>
        <p:nvSpPr>
          <p:cNvPr id="33" name="Marcador de texto 5">
            <a:extLst>
              <a:ext uri="{FF2B5EF4-FFF2-40B4-BE49-F238E27FC236}">
                <a16:creationId xmlns:a16="http://schemas.microsoft.com/office/drawing/2014/main" id="{57B95884-2216-4ADC-B34B-9541D33D6916}"/>
              </a:ext>
            </a:extLst>
          </p:cNvPr>
          <p:cNvSpPr>
            <a:spLocks noGrp="1"/>
          </p:cNvSpPr>
          <p:nvPr>
            <p:ph type="body" sz="quarter" idx="13" hasCustomPrompt="1"/>
          </p:nvPr>
        </p:nvSpPr>
        <p:spPr>
          <a:xfrm>
            <a:off x="371475" y="3106608"/>
            <a:ext cx="2680270" cy="787207"/>
          </a:xfrm>
          <a:prstGeom prst="rect">
            <a:avLst/>
          </a:prstGeom>
        </p:spPr>
        <p:txBody>
          <a:bodyPr lIns="0" tIns="0" rIns="0" bIns="0"/>
          <a:lstStyle>
            <a:lvl1pPr algn="ctr">
              <a:buNone/>
              <a:defRPr sz="6000" b="1">
                <a:solidFill>
                  <a:srgbClr val="FFFFFF"/>
                </a:solidFill>
              </a:defRPr>
            </a:lvl1pPr>
            <a:lvl2pPr>
              <a:buNone/>
              <a:defRPr/>
            </a:lvl2pPr>
            <a:lvl3pPr>
              <a:buNone/>
              <a:defRPr/>
            </a:lvl3pPr>
            <a:lvl4pPr>
              <a:buNone/>
              <a:defRPr/>
            </a:lvl4pPr>
            <a:lvl5pPr>
              <a:buNone/>
              <a:defRPr/>
            </a:lvl5pPr>
          </a:lstStyle>
          <a:p>
            <a:pPr lvl="0"/>
            <a:r>
              <a:rPr lang="es-ES" dirty="0"/>
              <a:t>##%</a:t>
            </a:r>
            <a:endParaRPr lang="en-GB" dirty="0"/>
          </a:p>
        </p:txBody>
      </p:sp>
      <p:sp>
        <p:nvSpPr>
          <p:cNvPr id="34" name="Marcador de texto 5">
            <a:extLst>
              <a:ext uri="{FF2B5EF4-FFF2-40B4-BE49-F238E27FC236}">
                <a16:creationId xmlns:a16="http://schemas.microsoft.com/office/drawing/2014/main" id="{989A93DB-5FAD-479C-9104-222317A66E5A}"/>
              </a:ext>
            </a:extLst>
          </p:cNvPr>
          <p:cNvSpPr>
            <a:spLocks noGrp="1"/>
          </p:cNvSpPr>
          <p:nvPr>
            <p:ph type="body" sz="quarter" idx="14" hasCustomPrompt="1"/>
          </p:nvPr>
        </p:nvSpPr>
        <p:spPr>
          <a:xfrm>
            <a:off x="371475" y="4821943"/>
            <a:ext cx="2680270" cy="787207"/>
          </a:xfrm>
          <a:prstGeom prst="rect">
            <a:avLst/>
          </a:prstGeom>
        </p:spPr>
        <p:txBody>
          <a:bodyPr lIns="0" tIns="0" rIns="0" bIns="0"/>
          <a:lstStyle>
            <a:lvl1pPr algn="ctr">
              <a:buNone/>
              <a:defRPr sz="6000" b="1">
                <a:solidFill>
                  <a:srgbClr val="FFFFFF"/>
                </a:solidFill>
              </a:defRPr>
            </a:lvl1pPr>
            <a:lvl2pPr>
              <a:buNone/>
              <a:defRPr/>
            </a:lvl2pPr>
            <a:lvl3pPr>
              <a:buNone/>
              <a:defRPr/>
            </a:lvl3pPr>
            <a:lvl4pPr>
              <a:buNone/>
              <a:defRPr/>
            </a:lvl4pPr>
            <a:lvl5pPr>
              <a:buNone/>
              <a:defRPr/>
            </a:lvl5pPr>
          </a:lstStyle>
          <a:p>
            <a:pPr lvl="0"/>
            <a:r>
              <a:rPr lang="es-ES" dirty="0"/>
              <a:t>##%</a:t>
            </a:r>
            <a:endParaRPr lang="en-GB" dirty="0"/>
          </a:p>
        </p:txBody>
      </p:sp>
      <p:sp>
        <p:nvSpPr>
          <p:cNvPr id="35" name="Marcador de texto 3">
            <a:extLst>
              <a:ext uri="{FF2B5EF4-FFF2-40B4-BE49-F238E27FC236}">
                <a16:creationId xmlns:a16="http://schemas.microsoft.com/office/drawing/2014/main" id="{1F8BBCEC-F3C3-43DD-AD9F-8B0F66A7EEDF}"/>
              </a:ext>
            </a:extLst>
          </p:cNvPr>
          <p:cNvSpPr>
            <a:spLocks noGrp="1"/>
          </p:cNvSpPr>
          <p:nvPr>
            <p:ph type="body" sz="quarter" idx="15" hasCustomPrompt="1"/>
          </p:nvPr>
        </p:nvSpPr>
        <p:spPr>
          <a:xfrm>
            <a:off x="371565" y="2222453"/>
            <a:ext cx="2680900" cy="320400"/>
          </a:xfrm>
          <a:prstGeom prst="rect">
            <a:avLst/>
          </a:prstGeom>
        </p:spPr>
        <p:txBody>
          <a:bodyPr lIns="0" tIns="0" rIns="0" bIns="0"/>
          <a:lstStyle>
            <a:lvl1pPr algn="ctr">
              <a:buNone/>
              <a:defRPr sz="1200" b="1">
                <a:solidFill>
                  <a:srgbClr val="FFFFFF"/>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s-ES" dirty="0"/>
              <a:t>Text </a:t>
            </a:r>
            <a:r>
              <a:rPr lang="es-ES" dirty="0" err="1"/>
              <a:t>for</a:t>
            </a:r>
            <a:r>
              <a:rPr lang="es-ES" dirty="0"/>
              <a:t> </a:t>
            </a:r>
            <a:r>
              <a:rPr lang="es-ES" dirty="0" err="1"/>
              <a:t>relevant</a:t>
            </a:r>
            <a:r>
              <a:rPr lang="es-ES" dirty="0"/>
              <a:t> figure</a:t>
            </a:r>
            <a:endParaRPr lang="en-GB" dirty="0"/>
          </a:p>
        </p:txBody>
      </p:sp>
      <p:sp>
        <p:nvSpPr>
          <p:cNvPr id="36" name="Marcador de texto 3">
            <a:extLst>
              <a:ext uri="{FF2B5EF4-FFF2-40B4-BE49-F238E27FC236}">
                <a16:creationId xmlns:a16="http://schemas.microsoft.com/office/drawing/2014/main" id="{0EBDB276-6978-4FA5-9C48-29F1DFB0DE3A}"/>
              </a:ext>
            </a:extLst>
          </p:cNvPr>
          <p:cNvSpPr>
            <a:spLocks noGrp="1"/>
          </p:cNvSpPr>
          <p:nvPr>
            <p:ph type="body" sz="quarter" idx="20" hasCustomPrompt="1"/>
          </p:nvPr>
        </p:nvSpPr>
        <p:spPr>
          <a:xfrm>
            <a:off x="371565" y="2432899"/>
            <a:ext cx="2680900" cy="320400"/>
          </a:xfrm>
          <a:prstGeom prst="rect">
            <a:avLst/>
          </a:prstGeom>
        </p:spPr>
        <p:txBody>
          <a:bodyPr lIns="0" tIns="0" rIns="0" bIns="0"/>
          <a:lstStyle>
            <a:lvl1pPr algn="ctr">
              <a:buNone/>
              <a:defRPr sz="1000" b="0">
                <a:solidFill>
                  <a:srgbClr val="FFFFFF"/>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s-ES" dirty="0"/>
              <a:t>Text </a:t>
            </a:r>
            <a:r>
              <a:rPr lang="es-ES" dirty="0" err="1"/>
              <a:t>for</a:t>
            </a:r>
            <a:r>
              <a:rPr lang="es-ES" dirty="0"/>
              <a:t> </a:t>
            </a:r>
            <a:r>
              <a:rPr lang="es-ES" dirty="0" err="1"/>
              <a:t>relevant</a:t>
            </a:r>
            <a:r>
              <a:rPr lang="es-ES" dirty="0"/>
              <a:t> figure</a:t>
            </a:r>
            <a:endParaRPr lang="en-GB" dirty="0"/>
          </a:p>
        </p:txBody>
      </p:sp>
      <p:sp>
        <p:nvSpPr>
          <p:cNvPr id="37" name="Marcador de texto 3">
            <a:extLst>
              <a:ext uri="{FF2B5EF4-FFF2-40B4-BE49-F238E27FC236}">
                <a16:creationId xmlns:a16="http://schemas.microsoft.com/office/drawing/2014/main" id="{CD777A97-2975-4E36-8B58-40F206D85E66}"/>
              </a:ext>
            </a:extLst>
          </p:cNvPr>
          <p:cNvSpPr>
            <a:spLocks noGrp="1"/>
          </p:cNvSpPr>
          <p:nvPr>
            <p:ph type="body" sz="quarter" idx="21" hasCustomPrompt="1"/>
          </p:nvPr>
        </p:nvSpPr>
        <p:spPr>
          <a:xfrm>
            <a:off x="377970" y="3950669"/>
            <a:ext cx="2680900" cy="320400"/>
          </a:xfrm>
          <a:prstGeom prst="rect">
            <a:avLst/>
          </a:prstGeom>
        </p:spPr>
        <p:txBody>
          <a:bodyPr lIns="0" tIns="0" rIns="0" bIns="0"/>
          <a:lstStyle>
            <a:lvl1pPr algn="ctr">
              <a:buNone/>
              <a:defRPr sz="1200" b="1">
                <a:solidFill>
                  <a:srgbClr val="FFFFFF"/>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s-ES" dirty="0"/>
              <a:t>Text </a:t>
            </a:r>
            <a:r>
              <a:rPr lang="es-ES" dirty="0" err="1"/>
              <a:t>for</a:t>
            </a:r>
            <a:r>
              <a:rPr lang="es-ES" dirty="0"/>
              <a:t> </a:t>
            </a:r>
            <a:r>
              <a:rPr lang="es-ES" dirty="0" err="1"/>
              <a:t>relevant</a:t>
            </a:r>
            <a:r>
              <a:rPr lang="es-ES" dirty="0"/>
              <a:t> figure</a:t>
            </a:r>
            <a:endParaRPr lang="en-GB" dirty="0"/>
          </a:p>
        </p:txBody>
      </p:sp>
      <p:sp>
        <p:nvSpPr>
          <p:cNvPr id="38" name="Marcador de texto 3">
            <a:extLst>
              <a:ext uri="{FF2B5EF4-FFF2-40B4-BE49-F238E27FC236}">
                <a16:creationId xmlns:a16="http://schemas.microsoft.com/office/drawing/2014/main" id="{1D9B2011-005B-4F2A-A4B7-AC82BE52B59C}"/>
              </a:ext>
            </a:extLst>
          </p:cNvPr>
          <p:cNvSpPr>
            <a:spLocks noGrp="1"/>
          </p:cNvSpPr>
          <p:nvPr>
            <p:ph type="body" sz="quarter" idx="22" hasCustomPrompt="1"/>
          </p:nvPr>
        </p:nvSpPr>
        <p:spPr>
          <a:xfrm>
            <a:off x="377970" y="4161115"/>
            <a:ext cx="2680900" cy="320400"/>
          </a:xfrm>
          <a:prstGeom prst="rect">
            <a:avLst/>
          </a:prstGeom>
        </p:spPr>
        <p:txBody>
          <a:bodyPr lIns="0" tIns="0" rIns="0" bIns="0"/>
          <a:lstStyle>
            <a:lvl1pPr algn="ctr">
              <a:buNone/>
              <a:defRPr lang="en-GB" sz="1000" b="0" i="0" kern="1200" dirty="0">
                <a:solidFill>
                  <a:srgbClr val="FFFFFF"/>
                </a:solidFill>
                <a:latin typeface="+mn-lt"/>
                <a:ea typeface="+mn-ea"/>
                <a:cs typeface="+mn-cs"/>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marL="0" lvl="0" indent="0" algn="ctr" defTabSz="914400" rtl="0" eaLnBrk="1" latinLnBrk="0" hangingPunct="1">
              <a:lnSpc>
                <a:spcPct val="90000"/>
              </a:lnSpc>
              <a:spcBef>
                <a:spcPts val="1800"/>
              </a:spcBef>
              <a:buFontTx/>
              <a:buNone/>
            </a:pPr>
            <a:r>
              <a:rPr lang="es-ES" dirty="0"/>
              <a:t>Text </a:t>
            </a:r>
            <a:r>
              <a:rPr lang="es-ES" dirty="0" err="1"/>
              <a:t>for</a:t>
            </a:r>
            <a:r>
              <a:rPr lang="es-ES" dirty="0"/>
              <a:t> </a:t>
            </a:r>
            <a:r>
              <a:rPr lang="es-ES" dirty="0" err="1"/>
              <a:t>relevant</a:t>
            </a:r>
            <a:r>
              <a:rPr lang="es-ES" dirty="0"/>
              <a:t> figure</a:t>
            </a:r>
            <a:endParaRPr lang="en-GB" dirty="0"/>
          </a:p>
        </p:txBody>
      </p:sp>
      <p:sp>
        <p:nvSpPr>
          <p:cNvPr id="39" name="Marcador de texto 3">
            <a:extLst>
              <a:ext uri="{FF2B5EF4-FFF2-40B4-BE49-F238E27FC236}">
                <a16:creationId xmlns:a16="http://schemas.microsoft.com/office/drawing/2014/main" id="{D82EAFE6-9BA8-4F1B-A497-7ADBB01A11B2}"/>
              </a:ext>
            </a:extLst>
          </p:cNvPr>
          <p:cNvSpPr>
            <a:spLocks noGrp="1"/>
          </p:cNvSpPr>
          <p:nvPr>
            <p:ph type="body" sz="quarter" idx="23" hasCustomPrompt="1"/>
          </p:nvPr>
        </p:nvSpPr>
        <p:spPr>
          <a:xfrm>
            <a:off x="371565" y="5649955"/>
            <a:ext cx="2680900" cy="320400"/>
          </a:xfrm>
          <a:prstGeom prst="rect">
            <a:avLst/>
          </a:prstGeom>
        </p:spPr>
        <p:txBody>
          <a:bodyPr lIns="0" tIns="0" rIns="0" bIns="0"/>
          <a:lstStyle>
            <a:lvl1pPr algn="ctr">
              <a:buNone/>
              <a:defRPr sz="1200" b="1">
                <a:solidFill>
                  <a:srgbClr val="FFFFFF"/>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s-ES" dirty="0"/>
              <a:t>Text </a:t>
            </a:r>
            <a:r>
              <a:rPr lang="es-ES" dirty="0" err="1"/>
              <a:t>for</a:t>
            </a:r>
            <a:r>
              <a:rPr lang="es-ES" dirty="0"/>
              <a:t> </a:t>
            </a:r>
            <a:r>
              <a:rPr lang="es-ES" dirty="0" err="1"/>
              <a:t>relevant</a:t>
            </a:r>
            <a:r>
              <a:rPr lang="es-ES" dirty="0"/>
              <a:t> figure</a:t>
            </a:r>
            <a:endParaRPr lang="en-GB" dirty="0"/>
          </a:p>
        </p:txBody>
      </p:sp>
      <p:sp>
        <p:nvSpPr>
          <p:cNvPr id="40" name="Marcador de texto 3">
            <a:extLst>
              <a:ext uri="{FF2B5EF4-FFF2-40B4-BE49-F238E27FC236}">
                <a16:creationId xmlns:a16="http://schemas.microsoft.com/office/drawing/2014/main" id="{95DC9C14-7E4A-445E-B3FC-D318A3A088F8}"/>
              </a:ext>
            </a:extLst>
          </p:cNvPr>
          <p:cNvSpPr>
            <a:spLocks noGrp="1"/>
          </p:cNvSpPr>
          <p:nvPr>
            <p:ph type="body" sz="quarter" idx="24" hasCustomPrompt="1"/>
          </p:nvPr>
        </p:nvSpPr>
        <p:spPr>
          <a:xfrm>
            <a:off x="371565" y="5860401"/>
            <a:ext cx="2680900" cy="320400"/>
          </a:xfrm>
          <a:prstGeom prst="rect">
            <a:avLst/>
          </a:prstGeom>
        </p:spPr>
        <p:txBody>
          <a:bodyPr lIns="0" tIns="0" rIns="0" bIns="0"/>
          <a:lstStyle>
            <a:lvl1pPr algn="ctr">
              <a:buNone/>
              <a:defRPr lang="en-GB" sz="1000" b="0" i="0" kern="1200" dirty="0">
                <a:solidFill>
                  <a:srgbClr val="FFFFFF"/>
                </a:solidFill>
                <a:latin typeface="+mn-lt"/>
                <a:ea typeface="+mn-ea"/>
                <a:cs typeface="+mn-cs"/>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marL="0" lvl="0" indent="0" algn="ctr" defTabSz="914400" rtl="0" eaLnBrk="1" latinLnBrk="0" hangingPunct="1">
              <a:lnSpc>
                <a:spcPct val="90000"/>
              </a:lnSpc>
              <a:spcBef>
                <a:spcPts val="1800"/>
              </a:spcBef>
              <a:buFontTx/>
              <a:buNone/>
            </a:pPr>
            <a:r>
              <a:rPr lang="es-ES" dirty="0"/>
              <a:t>Text </a:t>
            </a:r>
            <a:r>
              <a:rPr lang="es-ES" dirty="0" err="1"/>
              <a:t>for</a:t>
            </a:r>
            <a:r>
              <a:rPr lang="es-ES" dirty="0"/>
              <a:t> </a:t>
            </a:r>
            <a:r>
              <a:rPr lang="es-ES" dirty="0" err="1"/>
              <a:t>relevant</a:t>
            </a:r>
            <a:r>
              <a:rPr lang="es-ES" dirty="0"/>
              <a:t> figure</a:t>
            </a:r>
            <a:endParaRPr lang="en-GB" dirty="0"/>
          </a:p>
        </p:txBody>
      </p:sp>
    </p:spTree>
    <p:extLst>
      <p:ext uri="{BB962C8B-B14F-4D97-AF65-F5344CB8AC3E}">
        <p14:creationId xmlns:p14="http://schemas.microsoft.com/office/powerpoint/2010/main" val="98313918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4_Text + relevant figures+images+straigh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18526C9-16E3-4A1D-828A-4692734F055E}"/>
              </a:ext>
            </a:extLst>
          </p:cNvPr>
          <p:cNvGraphicFramePr>
            <a:graphicFrameLocks noChangeAspect="1"/>
          </p:cNvGraphicFramePr>
          <p:nvPr userDrawn="1">
            <p:custDataLst>
              <p:tags r:id="rId2"/>
            </p:custDataLst>
            <p:extLst>
              <p:ext uri="{D42A27DB-BD31-4B8C-83A1-F6EECF244321}">
                <p14:modId xmlns:p14="http://schemas.microsoft.com/office/powerpoint/2010/main" val="40988847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76" name="think-cell Slide" r:id="rId5" imgW="473" imgH="474" progId="TCLayout.ActiveDocument.1">
                  <p:embed/>
                </p:oleObj>
              </mc:Choice>
              <mc:Fallback>
                <p:oleObj name="think-cell Slide" r:id="rId5" imgW="473" imgH="474" progId="TCLayout.ActiveDocument.1">
                  <p:embed/>
                  <p:pic>
                    <p:nvPicPr>
                      <p:cNvPr id="3" name="Object 2" hidden="1">
                        <a:extLst>
                          <a:ext uri="{FF2B5EF4-FFF2-40B4-BE49-F238E27FC236}">
                            <a16:creationId xmlns:a16="http://schemas.microsoft.com/office/drawing/2014/main" id="{C18526C9-16E3-4A1D-828A-4692734F055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B2B384D-A05A-4439-838E-B66DA57DCB38}"/>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Verdana" panose="020B0604030504040204" pitchFamily="34" charset="0"/>
              <a:ea typeface="+mj-ea"/>
              <a:cs typeface="+mj-cs"/>
              <a:sym typeface="Verdana" panose="020B0604030504040204" pitchFamily="34" charset="0"/>
            </a:endParaRPr>
          </a:p>
        </p:txBody>
      </p:sp>
      <p:sp>
        <p:nvSpPr>
          <p:cNvPr id="2" name="Rectángulo 1">
            <a:extLst>
              <a:ext uri="{FF2B5EF4-FFF2-40B4-BE49-F238E27FC236}">
                <a16:creationId xmlns:a16="http://schemas.microsoft.com/office/drawing/2014/main" id="{BF29E734-210D-BC45-815B-FC427C40A195}"/>
              </a:ext>
            </a:extLst>
          </p:cNvPr>
          <p:cNvSpPr/>
          <p:nvPr userDrawn="1"/>
        </p:nvSpPr>
        <p:spPr>
          <a:xfrm>
            <a:off x="-22480" y="0"/>
            <a:ext cx="3267919" cy="6858000"/>
          </a:xfrm>
          <a:prstGeom prst="rect">
            <a:avLst/>
          </a:prstGeom>
          <a:gradFill>
            <a:gsLst>
              <a:gs pos="0">
                <a:schemeClr val="accent1"/>
              </a:gs>
              <a:gs pos="100000">
                <a:schemeClr val="accent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accent4"/>
              </a:solidFill>
            </a:endParaRPr>
          </a:p>
        </p:txBody>
      </p:sp>
      <p:sp>
        <p:nvSpPr>
          <p:cNvPr id="15" name="Marcador de texto 2">
            <a:extLst>
              <a:ext uri="{FF2B5EF4-FFF2-40B4-BE49-F238E27FC236}">
                <a16:creationId xmlns:a16="http://schemas.microsoft.com/office/drawing/2014/main" id="{B0631F3F-D69C-4938-9C2D-8DBA1DF60BB1}"/>
              </a:ext>
            </a:extLst>
          </p:cNvPr>
          <p:cNvSpPr>
            <a:spLocks noGrp="1"/>
          </p:cNvSpPr>
          <p:nvPr>
            <p:ph type="body" idx="10" hasCustomPrompt="1"/>
          </p:nvPr>
        </p:nvSpPr>
        <p:spPr>
          <a:xfrm>
            <a:off x="6476705" y="722639"/>
            <a:ext cx="5339118" cy="324000"/>
          </a:xfrm>
          <a:prstGeom prst="rect">
            <a:avLst/>
          </a:prstGeom>
        </p:spPr>
        <p:txBody>
          <a:bodyPr lIns="0" tIns="0" rIns="0" bIns="0" anchor="t"/>
          <a:lstStyle>
            <a:lvl1pPr marL="0" indent="0">
              <a:lnSpc>
                <a:spcPct val="100000"/>
              </a:lnSpc>
              <a:spcBef>
                <a:spcPts val="0"/>
              </a:spcBef>
              <a:buNone/>
              <a:defRPr sz="2000" b="0">
                <a:solidFill>
                  <a:srgbClr val="000000"/>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err="1"/>
              <a:t>Subtitle</a:t>
            </a:r>
            <a:endParaRPr lang="es-ES" dirty="0"/>
          </a:p>
        </p:txBody>
      </p:sp>
      <p:sp>
        <p:nvSpPr>
          <p:cNvPr id="8" name="Text Placeholder 7">
            <a:extLst>
              <a:ext uri="{FF2B5EF4-FFF2-40B4-BE49-F238E27FC236}">
                <a16:creationId xmlns:a16="http://schemas.microsoft.com/office/drawing/2014/main" id="{3A15B74D-3758-47B9-82C3-FFA884FCE23F}"/>
              </a:ext>
            </a:extLst>
          </p:cNvPr>
          <p:cNvSpPr>
            <a:spLocks noGrp="1"/>
          </p:cNvSpPr>
          <p:nvPr>
            <p:ph type="body" sz="quarter" idx="18"/>
          </p:nvPr>
        </p:nvSpPr>
        <p:spPr>
          <a:xfrm>
            <a:off x="6476705" y="1396800"/>
            <a:ext cx="5343820" cy="4752000"/>
          </a:xfrm>
        </p:spPr>
        <p:txBody>
          <a:bodyPr/>
          <a:lstStyle>
            <a:lvl1pPr>
              <a:defRPr sz="14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uadroTexto 64">
            <a:extLst>
              <a:ext uri="{FF2B5EF4-FFF2-40B4-BE49-F238E27FC236}">
                <a16:creationId xmlns:a16="http://schemas.microsoft.com/office/drawing/2014/main" id="{7EEFB272-44BD-4440-81FD-B5BE8200048F}"/>
              </a:ext>
            </a:extLst>
          </p:cNvPr>
          <p:cNvSpPr txBox="1"/>
          <p:nvPr userDrawn="1"/>
        </p:nvSpPr>
        <p:spPr>
          <a:xfrm>
            <a:off x="10882303" y="6449284"/>
            <a:ext cx="936214" cy="138499"/>
          </a:xfrm>
          <a:prstGeom prst="rect">
            <a:avLst/>
          </a:prstGeom>
          <a:noFill/>
        </p:spPr>
        <p:txBody>
          <a:bodyPr wrap="square" lIns="0" tIns="0" rIns="0" bIns="0" rtlCol="0">
            <a:spAutoFit/>
          </a:bodyPr>
          <a:lstStyle/>
          <a:p>
            <a:pPr algn="r"/>
            <a:fld id="{A4EEDD72-1D6A-6B46-BCFA-C211F73E9379}" type="slidenum">
              <a:rPr lang="es-ES" sz="900" b="1" smtClean="0">
                <a:solidFill>
                  <a:schemeClr val="accent1"/>
                </a:solidFill>
                <a:latin typeface="+mj-lt"/>
                <a:ea typeface="Verdana" panose="020B0604030504040204" pitchFamily="34" charset="0"/>
                <a:cs typeface="Verdana" panose="020B0604030504040204" pitchFamily="34" charset="0"/>
              </a:rPr>
              <a:pPr algn="r"/>
              <a:t>‹N›</a:t>
            </a:fld>
            <a:endParaRPr lang="es-ES" sz="900" b="1" dirty="0">
              <a:solidFill>
                <a:schemeClr val="accent1"/>
              </a:solidFill>
              <a:latin typeface="+mj-lt"/>
              <a:ea typeface="Verdana" panose="020B0604030504040204" pitchFamily="34" charset="0"/>
              <a:cs typeface="Verdana" panose="020B0604030504040204" pitchFamily="34" charset="0"/>
            </a:endParaRPr>
          </a:p>
        </p:txBody>
      </p:sp>
      <p:sp>
        <p:nvSpPr>
          <p:cNvPr id="9" name="Title 8">
            <a:extLst>
              <a:ext uri="{FF2B5EF4-FFF2-40B4-BE49-F238E27FC236}">
                <a16:creationId xmlns:a16="http://schemas.microsoft.com/office/drawing/2014/main" id="{965B48A6-C16F-42F8-ABA4-E292AD3ADAB5}"/>
              </a:ext>
            </a:extLst>
          </p:cNvPr>
          <p:cNvSpPr>
            <a:spLocks noGrp="1"/>
          </p:cNvSpPr>
          <p:nvPr>
            <p:ph type="title"/>
          </p:nvPr>
        </p:nvSpPr>
        <p:spPr>
          <a:xfrm>
            <a:off x="6475115" y="252000"/>
            <a:ext cx="5339118" cy="432000"/>
          </a:xfrm>
        </p:spPr>
        <p:txBody>
          <a:bodyPr/>
          <a:lstStyle/>
          <a:p>
            <a:r>
              <a:rPr lang="en-US" dirty="0"/>
              <a:t>Click to edit Master title style</a:t>
            </a:r>
          </a:p>
        </p:txBody>
      </p:sp>
      <p:pic>
        <p:nvPicPr>
          <p:cNvPr id="21" name="Graphic 10">
            <a:extLst>
              <a:ext uri="{FF2B5EF4-FFF2-40B4-BE49-F238E27FC236}">
                <a16:creationId xmlns:a16="http://schemas.microsoft.com/office/drawing/2014/main" id="{B6011187-AA8E-452B-973C-511891D6AD7A}"/>
              </a:ext>
            </a:extLst>
          </p:cNvPr>
          <p:cNvPicPr>
            <a:picLocks noChangeAspect="1"/>
          </p:cNvPicPr>
          <p:nvPr userDrawn="1"/>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70517" y="6420188"/>
            <a:ext cx="675863" cy="162467"/>
          </a:xfrm>
          <a:prstGeom prst="rect">
            <a:avLst/>
          </a:prstGeom>
        </p:spPr>
      </p:pic>
      <p:sp>
        <p:nvSpPr>
          <p:cNvPr id="10" name="Picture Placeholder 9">
            <a:extLst>
              <a:ext uri="{FF2B5EF4-FFF2-40B4-BE49-F238E27FC236}">
                <a16:creationId xmlns:a16="http://schemas.microsoft.com/office/drawing/2014/main" id="{4E88ABC6-3508-45D7-B3BD-99157607BE6B}"/>
              </a:ext>
            </a:extLst>
          </p:cNvPr>
          <p:cNvSpPr>
            <a:spLocks noGrp="1"/>
          </p:cNvSpPr>
          <p:nvPr>
            <p:ph type="pic" sz="quarter" idx="19"/>
          </p:nvPr>
        </p:nvSpPr>
        <p:spPr>
          <a:xfrm>
            <a:off x="3245440" y="0"/>
            <a:ext cx="2844774" cy="6858000"/>
          </a:xfrm>
        </p:spPr>
        <p:txBody>
          <a:bodyPr/>
          <a:lstStyle/>
          <a:p>
            <a:endParaRPr lang="en-US"/>
          </a:p>
        </p:txBody>
      </p:sp>
      <p:sp>
        <p:nvSpPr>
          <p:cNvPr id="17" name="Rectangle 16">
            <a:extLst>
              <a:ext uri="{FF2B5EF4-FFF2-40B4-BE49-F238E27FC236}">
                <a16:creationId xmlns:a16="http://schemas.microsoft.com/office/drawing/2014/main" id="{16425007-C1F1-4272-8C24-16DD4BA56766}"/>
              </a:ext>
            </a:extLst>
          </p:cNvPr>
          <p:cNvSpPr/>
          <p:nvPr userDrawn="1"/>
        </p:nvSpPr>
        <p:spPr>
          <a:xfrm>
            <a:off x="3051745"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9" name="Rectangle 18">
            <a:extLst>
              <a:ext uri="{FF2B5EF4-FFF2-40B4-BE49-F238E27FC236}">
                <a16:creationId xmlns:a16="http://schemas.microsoft.com/office/drawing/2014/main" id="{2C45CEBC-DFC8-49A3-8924-D39DB2FF6672}"/>
              </a:ext>
            </a:extLst>
          </p:cNvPr>
          <p:cNvSpPr/>
          <p:nvPr userDrawn="1"/>
        </p:nvSpPr>
        <p:spPr>
          <a:xfrm>
            <a:off x="7490"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3" name="Rectangle 22">
            <a:extLst>
              <a:ext uri="{FF2B5EF4-FFF2-40B4-BE49-F238E27FC236}">
                <a16:creationId xmlns:a16="http://schemas.microsoft.com/office/drawing/2014/main" id="{0CF537F3-A857-4F40-8783-C1766F4BEDA7}"/>
              </a:ext>
            </a:extLst>
          </p:cNvPr>
          <p:cNvSpPr/>
          <p:nvPr userDrawn="1"/>
        </p:nvSpPr>
        <p:spPr>
          <a:xfrm>
            <a:off x="9149414"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4" name="Rectangle 23">
            <a:extLst>
              <a:ext uri="{FF2B5EF4-FFF2-40B4-BE49-F238E27FC236}">
                <a16:creationId xmlns:a16="http://schemas.microsoft.com/office/drawing/2014/main" id="{7B7B81D6-AA20-4DD5-B00E-170164D09F40}"/>
              </a:ext>
            </a:extLst>
          </p:cNvPr>
          <p:cNvSpPr/>
          <p:nvPr userDrawn="1"/>
        </p:nvSpPr>
        <p:spPr>
          <a:xfrm>
            <a:off x="6105159"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1" name="Marcador de texto 5">
            <a:extLst>
              <a:ext uri="{FF2B5EF4-FFF2-40B4-BE49-F238E27FC236}">
                <a16:creationId xmlns:a16="http://schemas.microsoft.com/office/drawing/2014/main" id="{16005AAB-4505-4EF7-ADC8-ED2F22586456}"/>
              </a:ext>
            </a:extLst>
          </p:cNvPr>
          <p:cNvSpPr>
            <a:spLocks noGrp="1"/>
          </p:cNvSpPr>
          <p:nvPr>
            <p:ph type="body" sz="quarter" idx="12" hasCustomPrompt="1"/>
          </p:nvPr>
        </p:nvSpPr>
        <p:spPr>
          <a:xfrm>
            <a:off x="371475" y="1396800"/>
            <a:ext cx="2680270" cy="787206"/>
          </a:xfrm>
          <a:prstGeom prst="rect">
            <a:avLst/>
          </a:prstGeom>
        </p:spPr>
        <p:txBody>
          <a:bodyPr lIns="0" tIns="0" rIns="0" bIns="0"/>
          <a:lstStyle>
            <a:lvl1pPr algn="ctr">
              <a:buNone/>
              <a:defRPr sz="6000" b="1">
                <a:solidFill>
                  <a:srgbClr val="FFFFFF"/>
                </a:solidFill>
              </a:defRPr>
            </a:lvl1pPr>
            <a:lvl2pPr>
              <a:buNone/>
              <a:defRPr/>
            </a:lvl2pPr>
            <a:lvl3pPr>
              <a:buNone/>
              <a:defRPr/>
            </a:lvl3pPr>
            <a:lvl4pPr>
              <a:buNone/>
              <a:defRPr/>
            </a:lvl4pPr>
            <a:lvl5pPr>
              <a:buNone/>
              <a:defRPr/>
            </a:lvl5pPr>
          </a:lstStyle>
          <a:p>
            <a:pPr lvl="0"/>
            <a:r>
              <a:rPr lang="es-ES" dirty="0"/>
              <a:t>##%</a:t>
            </a:r>
            <a:endParaRPr lang="en-GB" dirty="0"/>
          </a:p>
        </p:txBody>
      </p:sp>
      <p:sp>
        <p:nvSpPr>
          <p:cNvPr id="32" name="Marcador de texto 5">
            <a:extLst>
              <a:ext uri="{FF2B5EF4-FFF2-40B4-BE49-F238E27FC236}">
                <a16:creationId xmlns:a16="http://schemas.microsoft.com/office/drawing/2014/main" id="{5F9F0803-E894-4ADF-BD10-E9C51EED75C4}"/>
              </a:ext>
            </a:extLst>
          </p:cNvPr>
          <p:cNvSpPr>
            <a:spLocks noGrp="1"/>
          </p:cNvSpPr>
          <p:nvPr>
            <p:ph type="body" sz="quarter" idx="13" hasCustomPrompt="1"/>
          </p:nvPr>
        </p:nvSpPr>
        <p:spPr>
          <a:xfrm>
            <a:off x="371475" y="3106608"/>
            <a:ext cx="2680270" cy="787207"/>
          </a:xfrm>
          <a:prstGeom prst="rect">
            <a:avLst/>
          </a:prstGeom>
        </p:spPr>
        <p:txBody>
          <a:bodyPr lIns="0" tIns="0" rIns="0" bIns="0"/>
          <a:lstStyle>
            <a:lvl1pPr algn="ctr">
              <a:buNone/>
              <a:defRPr sz="6000" b="1">
                <a:solidFill>
                  <a:srgbClr val="FFFFFF"/>
                </a:solidFill>
              </a:defRPr>
            </a:lvl1pPr>
            <a:lvl2pPr>
              <a:buNone/>
              <a:defRPr/>
            </a:lvl2pPr>
            <a:lvl3pPr>
              <a:buNone/>
              <a:defRPr/>
            </a:lvl3pPr>
            <a:lvl4pPr>
              <a:buNone/>
              <a:defRPr/>
            </a:lvl4pPr>
            <a:lvl5pPr>
              <a:buNone/>
              <a:defRPr/>
            </a:lvl5pPr>
          </a:lstStyle>
          <a:p>
            <a:pPr lvl="0"/>
            <a:r>
              <a:rPr lang="es-ES" dirty="0"/>
              <a:t>##%</a:t>
            </a:r>
            <a:endParaRPr lang="en-GB" dirty="0"/>
          </a:p>
        </p:txBody>
      </p:sp>
      <p:sp>
        <p:nvSpPr>
          <p:cNvPr id="33" name="Marcador de texto 5">
            <a:extLst>
              <a:ext uri="{FF2B5EF4-FFF2-40B4-BE49-F238E27FC236}">
                <a16:creationId xmlns:a16="http://schemas.microsoft.com/office/drawing/2014/main" id="{61D25BB2-14EC-49BD-B2A7-84E7280410F2}"/>
              </a:ext>
            </a:extLst>
          </p:cNvPr>
          <p:cNvSpPr>
            <a:spLocks noGrp="1"/>
          </p:cNvSpPr>
          <p:nvPr>
            <p:ph type="body" sz="quarter" idx="14" hasCustomPrompt="1"/>
          </p:nvPr>
        </p:nvSpPr>
        <p:spPr>
          <a:xfrm>
            <a:off x="371475" y="4821943"/>
            <a:ext cx="2680270" cy="787207"/>
          </a:xfrm>
          <a:prstGeom prst="rect">
            <a:avLst/>
          </a:prstGeom>
        </p:spPr>
        <p:txBody>
          <a:bodyPr lIns="0" tIns="0" rIns="0" bIns="0"/>
          <a:lstStyle>
            <a:lvl1pPr algn="ctr">
              <a:buNone/>
              <a:defRPr sz="6000" b="1">
                <a:solidFill>
                  <a:srgbClr val="FFFFFF"/>
                </a:solidFill>
              </a:defRPr>
            </a:lvl1pPr>
            <a:lvl2pPr>
              <a:buNone/>
              <a:defRPr/>
            </a:lvl2pPr>
            <a:lvl3pPr>
              <a:buNone/>
              <a:defRPr/>
            </a:lvl3pPr>
            <a:lvl4pPr>
              <a:buNone/>
              <a:defRPr/>
            </a:lvl4pPr>
            <a:lvl5pPr>
              <a:buNone/>
              <a:defRPr/>
            </a:lvl5pPr>
          </a:lstStyle>
          <a:p>
            <a:pPr lvl="0"/>
            <a:r>
              <a:rPr lang="es-ES" dirty="0"/>
              <a:t>##%</a:t>
            </a:r>
            <a:endParaRPr lang="en-GB" dirty="0"/>
          </a:p>
        </p:txBody>
      </p:sp>
      <p:sp>
        <p:nvSpPr>
          <p:cNvPr id="34" name="Marcador de texto 3">
            <a:extLst>
              <a:ext uri="{FF2B5EF4-FFF2-40B4-BE49-F238E27FC236}">
                <a16:creationId xmlns:a16="http://schemas.microsoft.com/office/drawing/2014/main" id="{18C2E845-DE97-46E9-AA4B-E4A3F2729719}"/>
              </a:ext>
            </a:extLst>
          </p:cNvPr>
          <p:cNvSpPr>
            <a:spLocks noGrp="1"/>
          </p:cNvSpPr>
          <p:nvPr>
            <p:ph type="body" sz="quarter" idx="15" hasCustomPrompt="1"/>
          </p:nvPr>
        </p:nvSpPr>
        <p:spPr>
          <a:xfrm>
            <a:off x="371565" y="2222453"/>
            <a:ext cx="2680900" cy="320400"/>
          </a:xfrm>
          <a:prstGeom prst="rect">
            <a:avLst/>
          </a:prstGeom>
        </p:spPr>
        <p:txBody>
          <a:bodyPr lIns="0" tIns="0" rIns="0" bIns="0"/>
          <a:lstStyle>
            <a:lvl1pPr algn="ctr">
              <a:buNone/>
              <a:defRPr sz="1200" b="1">
                <a:solidFill>
                  <a:srgbClr val="FFFFFF"/>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s-ES" dirty="0"/>
              <a:t>Text </a:t>
            </a:r>
            <a:r>
              <a:rPr lang="es-ES" dirty="0" err="1"/>
              <a:t>for</a:t>
            </a:r>
            <a:r>
              <a:rPr lang="es-ES" dirty="0"/>
              <a:t> </a:t>
            </a:r>
            <a:r>
              <a:rPr lang="es-ES" dirty="0" err="1"/>
              <a:t>relevant</a:t>
            </a:r>
            <a:r>
              <a:rPr lang="es-ES" dirty="0"/>
              <a:t> figure</a:t>
            </a:r>
            <a:endParaRPr lang="en-GB" dirty="0"/>
          </a:p>
        </p:txBody>
      </p:sp>
      <p:sp>
        <p:nvSpPr>
          <p:cNvPr id="35" name="Marcador de texto 3">
            <a:extLst>
              <a:ext uri="{FF2B5EF4-FFF2-40B4-BE49-F238E27FC236}">
                <a16:creationId xmlns:a16="http://schemas.microsoft.com/office/drawing/2014/main" id="{08C63D87-C63D-4845-BC0D-174774631648}"/>
              </a:ext>
            </a:extLst>
          </p:cNvPr>
          <p:cNvSpPr>
            <a:spLocks noGrp="1"/>
          </p:cNvSpPr>
          <p:nvPr>
            <p:ph type="body" sz="quarter" idx="20" hasCustomPrompt="1"/>
          </p:nvPr>
        </p:nvSpPr>
        <p:spPr>
          <a:xfrm>
            <a:off x="371565" y="2432899"/>
            <a:ext cx="2680900" cy="320400"/>
          </a:xfrm>
          <a:prstGeom prst="rect">
            <a:avLst/>
          </a:prstGeom>
        </p:spPr>
        <p:txBody>
          <a:bodyPr lIns="0" tIns="0" rIns="0" bIns="0"/>
          <a:lstStyle>
            <a:lvl1pPr algn="ctr">
              <a:buNone/>
              <a:defRPr sz="1000" b="0">
                <a:solidFill>
                  <a:srgbClr val="FFFFFF"/>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s-ES" dirty="0"/>
              <a:t>Text </a:t>
            </a:r>
            <a:r>
              <a:rPr lang="es-ES" dirty="0" err="1"/>
              <a:t>for</a:t>
            </a:r>
            <a:r>
              <a:rPr lang="es-ES" dirty="0"/>
              <a:t> </a:t>
            </a:r>
            <a:r>
              <a:rPr lang="es-ES" dirty="0" err="1"/>
              <a:t>relevant</a:t>
            </a:r>
            <a:r>
              <a:rPr lang="es-ES" dirty="0"/>
              <a:t> figure</a:t>
            </a:r>
            <a:endParaRPr lang="en-GB" dirty="0"/>
          </a:p>
        </p:txBody>
      </p:sp>
      <p:sp>
        <p:nvSpPr>
          <p:cNvPr id="36" name="Marcador de texto 3">
            <a:extLst>
              <a:ext uri="{FF2B5EF4-FFF2-40B4-BE49-F238E27FC236}">
                <a16:creationId xmlns:a16="http://schemas.microsoft.com/office/drawing/2014/main" id="{AFF0D77A-D381-49A9-9C7D-EE18D61BB9EA}"/>
              </a:ext>
            </a:extLst>
          </p:cNvPr>
          <p:cNvSpPr>
            <a:spLocks noGrp="1"/>
          </p:cNvSpPr>
          <p:nvPr>
            <p:ph type="body" sz="quarter" idx="21" hasCustomPrompt="1"/>
          </p:nvPr>
        </p:nvSpPr>
        <p:spPr>
          <a:xfrm>
            <a:off x="377970" y="3950669"/>
            <a:ext cx="2680900" cy="320400"/>
          </a:xfrm>
          <a:prstGeom prst="rect">
            <a:avLst/>
          </a:prstGeom>
        </p:spPr>
        <p:txBody>
          <a:bodyPr lIns="0" tIns="0" rIns="0" bIns="0"/>
          <a:lstStyle>
            <a:lvl1pPr algn="ctr">
              <a:buNone/>
              <a:defRPr sz="1200" b="1">
                <a:solidFill>
                  <a:srgbClr val="FFFFFF"/>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s-ES" dirty="0"/>
              <a:t>Text </a:t>
            </a:r>
            <a:r>
              <a:rPr lang="es-ES" dirty="0" err="1"/>
              <a:t>for</a:t>
            </a:r>
            <a:r>
              <a:rPr lang="es-ES" dirty="0"/>
              <a:t> </a:t>
            </a:r>
            <a:r>
              <a:rPr lang="es-ES" dirty="0" err="1"/>
              <a:t>relevant</a:t>
            </a:r>
            <a:r>
              <a:rPr lang="es-ES" dirty="0"/>
              <a:t> figure</a:t>
            </a:r>
            <a:endParaRPr lang="en-GB" dirty="0"/>
          </a:p>
        </p:txBody>
      </p:sp>
      <p:sp>
        <p:nvSpPr>
          <p:cNvPr id="37" name="Marcador de texto 3">
            <a:extLst>
              <a:ext uri="{FF2B5EF4-FFF2-40B4-BE49-F238E27FC236}">
                <a16:creationId xmlns:a16="http://schemas.microsoft.com/office/drawing/2014/main" id="{DAE5EB56-9454-4A61-A1BA-1E2F008005C2}"/>
              </a:ext>
            </a:extLst>
          </p:cNvPr>
          <p:cNvSpPr>
            <a:spLocks noGrp="1"/>
          </p:cNvSpPr>
          <p:nvPr>
            <p:ph type="body" sz="quarter" idx="22" hasCustomPrompt="1"/>
          </p:nvPr>
        </p:nvSpPr>
        <p:spPr>
          <a:xfrm>
            <a:off x="377970" y="4161115"/>
            <a:ext cx="2680900" cy="320400"/>
          </a:xfrm>
          <a:prstGeom prst="rect">
            <a:avLst/>
          </a:prstGeom>
        </p:spPr>
        <p:txBody>
          <a:bodyPr lIns="0" tIns="0" rIns="0" bIns="0"/>
          <a:lstStyle>
            <a:lvl1pPr algn="ctr">
              <a:buNone/>
              <a:defRPr lang="en-GB" sz="1000" b="0" i="0" kern="1200" dirty="0">
                <a:solidFill>
                  <a:srgbClr val="FFFFFF"/>
                </a:solidFill>
                <a:latin typeface="+mn-lt"/>
                <a:ea typeface="+mn-ea"/>
                <a:cs typeface="+mn-cs"/>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marL="0" lvl="0" indent="0" algn="ctr" defTabSz="914400" rtl="0" eaLnBrk="1" latinLnBrk="0" hangingPunct="1">
              <a:lnSpc>
                <a:spcPct val="90000"/>
              </a:lnSpc>
              <a:spcBef>
                <a:spcPts val="1800"/>
              </a:spcBef>
              <a:buFontTx/>
              <a:buNone/>
            </a:pPr>
            <a:r>
              <a:rPr lang="es-ES" dirty="0"/>
              <a:t>Text </a:t>
            </a:r>
            <a:r>
              <a:rPr lang="es-ES" dirty="0" err="1"/>
              <a:t>for</a:t>
            </a:r>
            <a:r>
              <a:rPr lang="es-ES" dirty="0"/>
              <a:t> </a:t>
            </a:r>
            <a:r>
              <a:rPr lang="es-ES" dirty="0" err="1"/>
              <a:t>relevant</a:t>
            </a:r>
            <a:r>
              <a:rPr lang="es-ES" dirty="0"/>
              <a:t> figure</a:t>
            </a:r>
            <a:endParaRPr lang="en-GB" dirty="0"/>
          </a:p>
        </p:txBody>
      </p:sp>
      <p:sp>
        <p:nvSpPr>
          <p:cNvPr id="38" name="Marcador de texto 3">
            <a:extLst>
              <a:ext uri="{FF2B5EF4-FFF2-40B4-BE49-F238E27FC236}">
                <a16:creationId xmlns:a16="http://schemas.microsoft.com/office/drawing/2014/main" id="{8A839285-DE71-421B-8ACE-66F452621104}"/>
              </a:ext>
            </a:extLst>
          </p:cNvPr>
          <p:cNvSpPr>
            <a:spLocks noGrp="1"/>
          </p:cNvSpPr>
          <p:nvPr>
            <p:ph type="body" sz="quarter" idx="23" hasCustomPrompt="1"/>
          </p:nvPr>
        </p:nvSpPr>
        <p:spPr>
          <a:xfrm>
            <a:off x="371565" y="5649955"/>
            <a:ext cx="2680900" cy="320400"/>
          </a:xfrm>
          <a:prstGeom prst="rect">
            <a:avLst/>
          </a:prstGeom>
        </p:spPr>
        <p:txBody>
          <a:bodyPr lIns="0" tIns="0" rIns="0" bIns="0"/>
          <a:lstStyle>
            <a:lvl1pPr algn="ctr">
              <a:buNone/>
              <a:defRPr sz="1200" b="1">
                <a:solidFill>
                  <a:srgbClr val="FFFFFF"/>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s-ES" dirty="0"/>
              <a:t>Text </a:t>
            </a:r>
            <a:r>
              <a:rPr lang="es-ES" dirty="0" err="1"/>
              <a:t>for</a:t>
            </a:r>
            <a:r>
              <a:rPr lang="es-ES" dirty="0"/>
              <a:t> </a:t>
            </a:r>
            <a:r>
              <a:rPr lang="es-ES" dirty="0" err="1"/>
              <a:t>relevant</a:t>
            </a:r>
            <a:r>
              <a:rPr lang="es-ES" dirty="0"/>
              <a:t> figure</a:t>
            </a:r>
            <a:endParaRPr lang="en-GB" dirty="0"/>
          </a:p>
        </p:txBody>
      </p:sp>
      <p:sp>
        <p:nvSpPr>
          <p:cNvPr id="39" name="Marcador de texto 3">
            <a:extLst>
              <a:ext uri="{FF2B5EF4-FFF2-40B4-BE49-F238E27FC236}">
                <a16:creationId xmlns:a16="http://schemas.microsoft.com/office/drawing/2014/main" id="{965D9AF4-C6D2-427C-B3C3-3C37E34C9654}"/>
              </a:ext>
            </a:extLst>
          </p:cNvPr>
          <p:cNvSpPr>
            <a:spLocks noGrp="1"/>
          </p:cNvSpPr>
          <p:nvPr>
            <p:ph type="body" sz="quarter" idx="24" hasCustomPrompt="1"/>
          </p:nvPr>
        </p:nvSpPr>
        <p:spPr>
          <a:xfrm>
            <a:off x="371565" y="5860401"/>
            <a:ext cx="2680900" cy="320400"/>
          </a:xfrm>
          <a:prstGeom prst="rect">
            <a:avLst/>
          </a:prstGeom>
        </p:spPr>
        <p:txBody>
          <a:bodyPr lIns="0" tIns="0" rIns="0" bIns="0"/>
          <a:lstStyle>
            <a:lvl1pPr algn="ctr">
              <a:buNone/>
              <a:defRPr lang="en-GB" sz="1000" b="0" i="0" kern="1200" dirty="0">
                <a:solidFill>
                  <a:srgbClr val="FFFFFF"/>
                </a:solidFill>
                <a:latin typeface="+mn-lt"/>
                <a:ea typeface="+mn-ea"/>
                <a:cs typeface="+mn-cs"/>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marL="0" lvl="0" indent="0" algn="ctr" defTabSz="914400" rtl="0" eaLnBrk="1" latinLnBrk="0" hangingPunct="1">
              <a:lnSpc>
                <a:spcPct val="90000"/>
              </a:lnSpc>
              <a:spcBef>
                <a:spcPts val="1800"/>
              </a:spcBef>
              <a:buFontTx/>
              <a:buNone/>
            </a:pPr>
            <a:r>
              <a:rPr lang="es-ES" dirty="0"/>
              <a:t>Text </a:t>
            </a:r>
            <a:r>
              <a:rPr lang="es-ES" dirty="0" err="1"/>
              <a:t>for</a:t>
            </a:r>
            <a:r>
              <a:rPr lang="es-ES" dirty="0"/>
              <a:t> </a:t>
            </a:r>
            <a:r>
              <a:rPr lang="es-ES" dirty="0" err="1"/>
              <a:t>relevant</a:t>
            </a:r>
            <a:r>
              <a:rPr lang="es-ES" dirty="0"/>
              <a:t> figure</a:t>
            </a:r>
            <a:endParaRPr lang="en-GB" dirty="0"/>
          </a:p>
        </p:txBody>
      </p:sp>
    </p:spTree>
    <p:extLst>
      <p:ext uri="{BB962C8B-B14F-4D97-AF65-F5344CB8AC3E}">
        <p14:creationId xmlns:p14="http://schemas.microsoft.com/office/powerpoint/2010/main" val="319455818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Image+text+mission">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4E88ABC6-3508-45D7-B3BD-99157607BE6B}"/>
              </a:ext>
            </a:extLst>
          </p:cNvPr>
          <p:cNvSpPr>
            <a:spLocks noGrp="1"/>
          </p:cNvSpPr>
          <p:nvPr>
            <p:ph type="pic" sz="quarter" idx="19"/>
          </p:nvPr>
        </p:nvSpPr>
        <p:spPr>
          <a:xfrm>
            <a:off x="0" y="0"/>
            <a:ext cx="3245440" cy="6858000"/>
          </a:xfrm>
        </p:spPr>
        <p:txBody>
          <a:bodyPr/>
          <a:lstStyle/>
          <a:p>
            <a:endParaRPr lang="en-US"/>
          </a:p>
        </p:txBody>
      </p:sp>
      <p:graphicFrame>
        <p:nvGraphicFramePr>
          <p:cNvPr id="3" name="Object 2" hidden="1">
            <a:extLst>
              <a:ext uri="{FF2B5EF4-FFF2-40B4-BE49-F238E27FC236}">
                <a16:creationId xmlns:a16="http://schemas.microsoft.com/office/drawing/2014/main" id="{C18526C9-16E3-4A1D-828A-4692734F055E}"/>
              </a:ext>
            </a:extLst>
          </p:cNvPr>
          <p:cNvGraphicFramePr>
            <a:graphicFrameLocks noChangeAspect="1"/>
          </p:cNvGraphicFramePr>
          <p:nvPr userDrawn="1">
            <p:custDataLst>
              <p:tags r:id="rId2"/>
            </p:custDataLst>
            <p:extLst>
              <p:ext uri="{D42A27DB-BD31-4B8C-83A1-F6EECF244321}">
                <p14:modId xmlns:p14="http://schemas.microsoft.com/office/powerpoint/2010/main" val="28112765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300" name="think-cell Slide" r:id="rId5" imgW="473" imgH="474" progId="TCLayout.ActiveDocument.1">
                  <p:embed/>
                </p:oleObj>
              </mc:Choice>
              <mc:Fallback>
                <p:oleObj name="think-cell Slide" r:id="rId5" imgW="473" imgH="474" progId="TCLayout.ActiveDocument.1">
                  <p:embed/>
                  <p:pic>
                    <p:nvPicPr>
                      <p:cNvPr id="3" name="Object 2" hidden="1">
                        <a:extLst>
                          <a:ext uri="{FF2B5EF4-FFF2-40B4-BE49-F238E27FC236}">
                            <a16:creationId xmlns:a16="http://schemas.microsoft.com/office/drawing/2014/main" id="{C18526C9-16E3-4A1D-828A-4692734F055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B2B384D-A05A-4439-838E-B66DA57DCB38}"/>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Verdana" panose="020B0604030504040204" pitchFamily="34" charset="0"/>
              <a:ea typeface="+mj-ea"/>
              <a:cs typeface="+mj-cs"/>
              <a:sym typeface="Verdana" panose="020B0604030504040204" pitchFamily="34" charset="0"/>
            </a:endParaRPr>
          </a:p>
        </p:txBody>
      </p:sp>
      <p:sp>
        <p:nvSpPr>
          <p:cNvPr id="2" name="Rectángulo 1">
            <a:extLst>
              <a:ext uri="{FF2B5EF4-FFF2-40B4-BE49-F238E27FC236}">
                <a16:creationId xmlns:a16="http://schemas.microsoft.com/office/drawing/2014/main" id="{BF29E734-210D-BC45-815B-FC427C40A195}"/>
              </a:ext>
            </a:extLst>
          </p:cNvPr>
          <p:cNvSpPr/>
          <p:nvPr userDrawn="1"/>
        </p:nvSpPr>
        <p:spPr>
          <a:xfrm>
            <a:off x="3245440" y="0"/>
            <a:ext cx="2850560" cy="6858000"/>
          </a:xfrm>
          <a:prstGeom prst="rect">
            <a:avLst/>
          </a:prstGeom>
          <a:gradFill>
            <a:gsLst>
              <a:gs pos="0">
                <a:schemeClr val="accent1"/>
              </a:gs>
              <a:gs pos="100000">
                <a:schemeClr val="accent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accent4"/>
              </a:solidFill>
            </a:endParaRPr>
          </a:p>
        </p:txBody>
      </p:sp>
      <p:sp>
        <p:nvSpPr>
          <p:cNvPr id="6" name="Marcador de texto 5">
            <a:extLst>
              <a:ext uri="{FF2B5EF4-FFF2-40B4-BE49-F238E27FC236}">
                <a16:creationId xmlns:a16="http://schemas.microsoft.com/office/drawing/2014/main" id="{9EBCB333-58BB-B544-BBAA-8ED40584EC60}"/>
              </a:ext>
            </a:extLst>
          </p:cNvPr>
          <p:cNvSpPr>
            <a:spLocks noGrp="1"/>
          </p:cNvSpPr>
          <p:nvPr>
            <p:ph type="body" sz="quarter" idx="12" hasCustomPrompt="1"/>
          </p:nvPr>
        </p:nvSpPr>
        <p:spPr>
          <a:xfrm>
            <a:off x="6788552" y="1396800"/>
            <a:ext cx="837678" cy="797081"/>
          </a:xfrm>
          <a:prstGeom prst="rect">
            <a:avLst/>
          </a:prstGeom>
        </p:spPr>
        <p:txBody>
          <a:bodyPr lIns="0" tIns="0" rIns="0" bIns="0"/>
          <a:lstStyle>
            <a:lvl1pPr algn="l">
              <a:buNone/>
              <a:defRPr sz="6000" b="1">
                <a:solidFill>
                  <a:schemeClr val="accent1"/>
                </a:solidFill>
              </a:defRPr>
            </a:lvl1pPr>
            <a:lvl2pPr>
              <a:buNone/>
              <a:defRPr/>
            </a:lvl2pPr>
            <a:lvl3pPr>
              <a:buNone/>
              <a:defRPr/>
            </a:lvl3pPr>
            <a:lvl4pPr>
              <a:buNone/>
              <a:defRPr/>
            </a:lvl4pPr>
            <a:lvl5pPr>
              <a:buNone/>
              <a:defRPr/>
            </a:lvl5pPr>
          </a:lstStyle>
          <a:p>
            <a:pPr lvl="0"/>
            <a:r>
              <a:rPr lang="es-ES" dirty="0"/>
              <a:t>#</a:t>
            </a:r>
            <a:endParaRPr lang="en-GB" dirty="0"/>
          </a:p>
        </p:txBody>
      </p:sp>
      <p:sp>
        <p:nvSpPr>
          <p:cNvPr id="4" name="Marcador de texto 3">
            <a:extLst>
              <a:ext uri="{FF2B5EF4-FFF2-40B4-BE49-F238E27FC236}">
                <a16:creationId xmlns:a16="http://schemas.microsoft.com/office/drawing/2014/main" id="{E8D5A004-570A-094C-B900-71EF2C9421F9}"/>
              </a:ext>
            </a:extLst>
          </p:cNvPr>
          <p:cNvSpPr>
            <a:spLocks noGrp="1"/>
          </p:cNvSpPr>
          <p:nvPr>
            <p:ph type="body" sz="quarter" idx="15" hasCustomPrompt="1"/>
          </p:nvPr>
        </p:nvSpPr>
        <p:spPr>
          <a:xfrm>
            <a:off x="7799817" y="1393825"/>
            <a:ext cx="4020707" cy="320400"/>
          </a:xfrm>
          <a:prstGeom prst="rect">
            <a:avLst/>
          </a:prstGeom>
        </p:spPr>
        <p:txBody>
          <a:bodyPr lIns="0" tIns="0" rIns="0" bIns="0"/>
          <a:lstStyle>
            <a:lvl1pPr algn="l">
              <a:buNone/>
              <a:defRPr sz="1600" b="1">
                <a:solidFill>
                  <a:schemeClr val="tx1"/>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s-ES" dirty="0"/>
              <a:t>Text </a:t>
            </a:r>
            <a:r>
              <a:rPr lang="es-ES" dirty="0" err="1"/>
              <a:t>for</a:t>
            </a:r>
            <a:r>
              <a:rPr lang="es-ES" dirty="0"/>
              <a:t> </a:t>
            </a:r>
            <a:r>
              <a:rPr lang="es-ES" dirty="0" err="1"/>
              <a:t>relevant</a:t>
            </a:r>
            <a:r>
              <a:rPr lang="es-ES" dirty="0"/>
              <a:t> figure</a:t>
            </a:r>
            <a:endParaRPr lang="en-GB" dirty="0"/>
          </a:p>
        </p:txBody>
      </p:sp>
      <p:sp>
        <p:nvSpPr>
          <p:cNvPr id="15" name="Marcador de texto 2">
            <a:extLst>
              <a:ext uri="{FF2B5EF4-FFF2-40B4-BE49-F238E27FC236}">
                <a16:creationId xmlns:a16="http://schemas.microsoft.com/office/drawing/2014/main" id="{B0631F3F-D69C-4938-9C2D-8DBA1DF60BB1}"/>
              </a:ext>
            </a:extLst>
          </p:cNvPr>
          <p:cNvSpPr>
            <a:spLocks noGrp="1"/>
          </p:cNvSpPr>
          <p:nvPr>
            <p:ph type="body" idx="10" hasCustomPrompt="1"/>
          </p:nvPr>
        </p:nvSpPr>
        <p:spPr>
          <a:xfrm>
            <a:off x="3447258" y="2782607"/>
            <a:ext cx="2424562" cy="1274319"/>
          </a:xfrm>
          <a:prstGeom prst="rect">
            <a:avLst/>
          </a:prstGeom>
        </p:spPr>
        <p:txBody>
          <a:bodyPr lIns="0" tIns="0" rIns="0" bIns="0" anchor="t"/>
          <a:lstStyle>
            <a:lvl1pPr marL="0" indent="0">
              <a:lnSpc>
                <a:spcPct val="100000"/>
              </a:lnSpc>
              <a:spcBef>
                <a:spcPts val="0"/>
              </a:spcBef>
              <a:buNone/>
              <a:defRPr sz="1600" b="0">
                <a:solidFill>
                  <a:schemeClr val="bg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err="1"/>
              <a:t>Subtitle</a:t>
            </a:r>
            <a:endParaRPr lang="es-ES" dirty="0"/>
          </a:p>
        </p:txBody>
      </p:sp>
      <p:sp>
        <p:nvSpPr>
          <p:cNvPr id="8" name="Text Placeholder 7">
            <a:extLst>
              <a:ext uri="{FF2B5EF4-FFF2-40B4-BE49-F238E27FC236}">
                <a16:creationId xmlns:a16="http://schemas.microsoft.com/office/drawing/2014/main" id="{3A15B74D-3758-47B9-82C3-FFA884FCE23F}"/>
              </a:ext>
            </a:extLst>
          </p:cNvPr>
          <p:cNvSpPr>
            <a:spLocks noGrp="1"/>
          </p:cNvSpPr>
          <p:nvPr>
            <p:ph type="body" sz="quarter" idx="18"/>
          </p:nvPr>
        </p:nvSpPr>
        <p:spPr>
          <a:xfrm>
            <a:off x="7788275" y="1744519"/>
            <a:ext cx="4032250" cy="449362"/>
          </a:xfrm>
        </p:spPr>
        <p:txBody>
          <a:bodyPr/>
          <a:lstStyle/>
          <a:p>
            <a:pPr lvl="0"/>
            <a:r>
              <a:rPr lang="en-US" dirty="0"/>
              <a:t>Click to edit Master text styles</a:t>
            </a:r>
          </a:p>
        </p:txBody>
      </p:sp>
      <p:sp>
        <p:nvSpPr>
          <p:cNvPr id="18" name="CuadroTexto 64">
            <a:extLst>
              <a:ext uri="{FF2B5EF4-FFF2-40B4-BE49-F238E27FC236}">
                <a16:creationId xmlns:a16="http://schemas.microsoft.com/office/drawing/2014/main" id="{7EEFB272-44BD-4440-81FD-B5BE8200048F}"/>
              </a:ext>
            </a:extLst>
          </p:cNvPr>
          <p:cNvSpPr txBox="1"/>
          <p:nvPr userDrawn="1"/>
        </p:nvSpPr>
        <p:spPr>
          <a:xfrm>
            <a:off x="10882303" y="6449284"/>
            <a:ext cx="936214" cy="138499"/>
          </a:xfrm>
          <a:prstGeom prst="rect">
            <a:avLst/>
          </a:prstGeom>
          <a:noFill/>
        </p:spPr>
        <p:txBody>
          <a:bodyPr wrap="square" lIns="0" tIns="0" rIns="0" bIns="0" rtlCol="0">
            <a:spAutoFit/>
          </a:bodyPr>
          <a:lstStyle/>
          <a:p>
            <a:pPr algn="r"/>
            <a:fld id="{A4EEDD72-1D6A-6B46-BCFA-C211F73E9379}" type="slidenum">
              <a:rPr lang="es-ES" sz="900" b="1" smtClean="0">
                <a:solidFill>
                  <a:schemeClr val="accent1"/>
                </a:solidFill>
                <a:latin typeface="+mj-lt"/>
                <a:ea typeface="Verdana" panose="020B0604030504040204" pitchFamily="34" charset="0"/>
                <a:cs typeface="Verdana" panose="020B0604030504040204" pitchFamily="34" charset="0"/>
              </a:rPr>
              <a:pPr algn="r"/>
              <a:t>‹N›</a:t>
            </a:fld>
            <a:endParaRPr lang="es-ES" sz="900" b="1" dirty="0">
              <a:solidFill>
                <a:schemeClr val="accent1"/>
              </a:solidFill>
              <a:latin typeface="+mj-lt"/>
              <a:ea typeface="Verdana" panose="020B0604030504040204" pitchFamily="34" charset="0"/>
              <a:cs typeface="Verdana" panose="020B0604030504040204" pitchFamily="34" charset="0"/>
            </a:endParaRPr>
          </a:p>
        </p:txBody>
      </p:sp>
      <p:sp>
        <p:nvSpPr>
          <p:cNvPr id="9" name="Title 8">
            <a:extLst>
              <a:ext uri="{FF2B5EF4-FFF2-40B4-BE49-F238E27FC236}">
                <a16:creationId xmlns:a16="http://schemas.microsoft.com/office/drawing/2014/main" id="{965B48A6-C16F-42F8-ABA4-E292AD3ADAB5}"/>
              </a:ext>
            </a:extLst>
          </p:cNvPr>
          <p:cNvSpPr>
            <a:spLocks noGrp="1"/>
          </p:cNvSpPr>
          <p:nvPr>
            <p:ph type="title"/>
          </p:nvPr>
        </p:nvSpPr>
        <p:spPr>
          <a:xfrm>
            <a:off x="3426441" y="1396800"/>
            <a:ext cx="2424562" cy="1144800"/>
          </a:xfrm>
        </p:spPr>
        <p:txBody>
          <a:bodyPr/>
          <a:lstStyle>
            <a:lvl1pPr>
              <a:defRPr>
                <a:solidFill>
                  <a:schemeClr val="bg1"/>
                </a:solidFill>
              </a:defRPr>
            </a:lvl1pPr>
          </a:lstStyle>
          <a:p>
            <a:r>
              <a:rPr lang="en-US" dirty="0"/>
              <a:t>Click to edit Master title style</a:t>
            </a:r>
          </a:p>
        </p:txBody>
      </p:sp>
      <p:pic>
        <p:nvPicPr>
          <p:cNvPr id="21" name="Graphic 10">
            <a:extLst>
              <a:ext uri="{FF2B5EF4-FFF2-40B4-BE49-F238E27FC236}">
                <a16:creationId xmlns:a16="http://schemas.microsoft.com/office/drawing/2014/main" id="{B6011187-AA8E-452B-973C-511891D6AD7A}"/>
              </a:ext>
            </a:extLst>
          </p:cNvPr>
          <p:cNvPicPr>
            <a:picLocks noChangeAspect="1"/>
          </p:cNvPicPr>
          <p:nvPr userDrawn="1"/>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70517" y="6420188"/>
            <a:ext cx="675863" cy="162467"/>
          </a:xfrm>
          <a:prstGeom prst="rect">
            <a:avLst/>
          </a:prstGeom>
        </p:spPr>
      </p:pic>
      <p:sp>
        <p:nvSpPr>
          <p:cNvPr id="24" name="Marcador de texto 5">
            <a:extLst>
              <a:ext uri="{FF2B5EF4-FFF2-40B4-BE49-F238E27FC236}">
                <a16:creationId xmlns:a16="http://schemas.microsoft.com/office/drawing/2014/main" id="{75F0A164-C6D2-41BE-B3C2-D78BEAB2F61B}"/>
              </a:ext>
            </a:extLst>
          </p:cNvPr>
          <p:cNvSpPr>
            <a:spLocks noGrp="1"/>
          </p:cNvSpPr>
          <p:nvPr>
            <p:ph type="body" sz="quarter" idx="20" hasCustomPrompt="1"/>
          </p:nvPr>
        </p:nvSpPr>
        <p:spPr>
          <a:xfrm>
            <a:off x="6778907" y="3091977"/>
            <a:ext cx="837678" cy="797081"/>
          </a:xfrm>
          <a:prstGeom prst="rect">
            <a:avLst/>
          </a:prstGeom>
        </p:spPr>
        <p:txBody>
          <a:bodyPr lIns="0" tIns="0" rIns="0" bIns="0"/>
          <a:lstStyle>
            <a:lvl1pPr algn="l">
              <a:buNone/>
              <a:defRPr sz="6000" b="1">
                <a:solidFill>
                  <a:schemeClr val="accent1"/>
                </a:solidFill>
              </a:defRPr>
            </a:lvl1pPr>
            <a:lvl2pPr>
              <a:buNone/>
              <a:defRPr/>
            </a:lvl2pPr>
            <a:lvl3pPr>
              <a:buNone/>
              <a:defRPr/>
            </a:lvl3pPr>
            <a:lvl4pPr>
              <a:buNone/>
              <a:defRPr/>
            </a:lvl4pPr>
            <a:lvl5pPr>
              <a:buNone/>
              <a:defRPr/>
            </a:lvl5pPr>
          </a:lstStyle>
          <a:p>
            <a:pPr lvl="0"/>
            <a:r>
              <a:rPr lang="es-ES" dirty="0"/>
              <a:t>#</a:t>
            </a:r>
            <a:endParaRPr lang="en-GB" dirty="0"/>
          </a:p>
        </p:txBody>
      </p:sp>
      <p:sp>
        <p:nvSpPr>
          <p:cNvPr id="25" name="Marcador de texto 3">
            <a:extLst>
              <a:ext uri="{FF2B5EF4-FFF2-40B4-BE49-F238E27FC236}">
                <a16:creationId xmlns:a16="http://schemas.microsoft.com/office/drawing/2014/main" id="{591C145B-826B-4028-BD58-E397E527303F}"/>
              </a:ext>
            </a:extLst>
          </p:cNvPr>
          <p:cNvSpPr>
            <a:spLocks noGrp="1"/>
          </p:cNvSpPr>
          <p:nvPr>
            <p:ph type="body" sz="quarter" idx="21" hasCustomPrompt="1"/>
          </p:nvPr>
        </p:nvSpPr>
        <p:spPr>
          <a:xfrm>
            <a:off x="7790172" y="3089002"/>
            <a:ext cx="4020707" cy="320400"/>
          </a:xfrm>
          <a:prstGeom prst="rect">
            <a:avLst/>
          </a:prstGeom>
        </p:spPr>
        <p:txBody>
          <a:bodyPr lIns="0" tIns="0" rIns="0" bIns="0"/>
          <a:lstStyle>
            <a:lvl1pPr algn="l">
              <a:buNone/>
              <a:defRPr sz="1600" b="1">
                <a:solidFill>
                  <a:schemeClr val="tx1"/>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s-ES" dirty="0"/>
              <a:t>Text </a:t>
            </a:r>
            <a:r>
              <a:rPr lang="es-ES" dirty="0" err="1"/>
              <a:t>for</a:t>
            </a:r>
            <a:r>
              <a:rPr lang="es-ES" dirty="0"/>
              <a:t> </a:t>
            </a:r>
            <a:r>
              <a:rPr lang="es-ES" dirty="0" err="1"/>
              <a:t>relevant</a:t>
            </a:r>
            <a:r>
              <a:rPr lang="es-ES" dirty="0"/>
              <a:t> figure</a:t>
            </a:r>
            <a:endParaRPr lang="en-GB" dirty="0"/>
          </a:p>
        </p:txBody>
      </p:sp>
      <p:sp>
        <p:nvSpPr>
          <p:cNvPr id="26" name="Text Placeholder 7">
            <a:extLst>
              <a:ext uri="{FF2B5EF4-FFF2-40B4-BE49-F238E27FC236}">
                <a16:creationId xmlns:a16="http://schemas.microsoft.com/office/drawing/2014/main" id="{D00F373C-0EBD-4504-8D67-E35870BFF00A}"/>
              </a:ext>
            </a:extLst>
          </p:cNvPr>
          <p:cNvSpPr>
            <a:spLocks noGrp="1"/>
          </p:cNvSpPr>
          <p:nvPr>
            <p:ph type="body" sz="quarter" idx="22"/>
          </p:nvPr>
        </p:nvSpPr>
        <p:spPr>
          <a:xfrm>
            <a:off x="7778630" y="3439696"/>
            <a:ext cx="4032250" cy="449362"/>
          </a:xfrm>
        </p:spPr>
        <p:txBody>
          <a:bodyPr/>
          <a:lstStyle/>
          <a:p>
            <a:pPr lvl="0"/>
            <a:r>
              <a:rPr lang="en-US" dirty="0"/>
              <a:t>Click to edit Master text styles</a:t>
            </a:r>
          </a:p>
        </p:txBody>
      </p:sp>
      <p:sp>
        <p:nvSpPr>
          <p:cNvPr id="27" name="Marcador de texto 5">
            <a:extLst>
              <a:ext uri="{FF2B5EF4-FFF2-40B4-BE49-F238E27FC236}">
                <a16:creationId xmlns:a16="http://schemas.microsoft.com/office/drawing/2014/main" id="{47F80355-B7BD-4E65-AA3A-B1B0B7BB01DF}"/>
              </a:ext>
            </a:extLst>
          </p:cNvPr>
          <p:cNvSpPr>
            <a:spLocks noGrp="1"/>
          </p:cNvSpPr>
          <p:nvPr>
            <p:ph type="body" sz="quarter" idx="23" hasCustomPrompt="1"/>
          </p:nvPr>
        </p:nvSpPr>
        <p:spPr>
          <a:xfrm>
            <a:off x="6786544" y="4670936"/>
            <a:ext cx="837678" cy="797081"/>
          </a:xfrm>
          <a:prstGeom prst="rect">
            <a:avLst/>
          </a:prstGeom>
        </p:spPr>
        <p:txBody>
          <a:bodyPr lIns="0" tIns="0" rIns="0" bIns="0"/>
          <a:lstStyle>
            <a:lvl1pPr algn="l">
              <a:buNone/>
              <a:defRPr sz="6000" b="1">
                <a:solidFill>
                  <a:schemeClr val="accent1"/>
                </a:solidFill>
              </a:defRPr>
            </a:lvl1pPr>
            <a:lvl2pPr>
              <a:buNone/>
              <a:defRPr/>
            </a:lvl2pPr>
            <a:lvl3pPr>
              <a:buNone/>
              <a:defRPr/>
            </a:lvl3pPr>
            <a:lvl4pPr>
              <a:buNone/>
              <a:defRPr/>
            </a:lvl4pPr>
            <a:lvl5pPr>
              <a:buNone/>
              <a:defRPr/>
            </a:lvl5pPr>
          </a:lstStyle>
          <a:p>
            <a:pPr lvl="0"/>
            <a:r>
              <a:rPr lang="es-ES" dirty="0"/>
              <a:t>#</a:t>
            </a:r>
            <a:endParaRPr lang="en-GB" dirty="0"/>
          </a:p>
        </p:txBody>
      </p:sp>
      <p:sp>
        <p:nvSpPr>
          <p:cNvPr id="28" name="Marcador de texto 3">
            <a:extLst>
              <a:ext uri="{FF2B5EF4-FFF2-40B4-BE49-F238E27FC236}">
                <a16:creationId xmlns:a16="http://schemas.microsoft.com/office/drawing/2014/main" id="{34C6A042-7DB8-41DF-A005-B281DBDFBD50}"/>
              </a:ext>
            </a:extLst>
          </p:cNvPr>
          <p:cNvSpPr>
            <a:spLocks noGrp="1"/>
          </p:cNvSpPr>
          <p:nvPr>
            <p:ph type="body" sz="quarter" idx="24" hasCustomPrompt="1"/>
          </p:nvPr>
        </p:nvSpPr>
        <p:spPr>
          <a:xfrm>
            <a:off x="7797809" y="4667961"/>
            <a:ext cx="4020707" cy="320400"/>
          </a:xfrm>
          <a:prstGeom prst="rect">
            <a:avLst/>
          </a:prstGeom>
        </p:spPr>
        <p:txBody>
          <a:bodyPr lIns="0" tIns="0" rIns="0" bIns="0"/>
          <a:lstStyle>
            <a:lvl1pPr algn="l">
              <a:buNone/>
              <a:defRPr sz="1600" b="1">
                <a:solidFill>
                  <a:schemeClr val="tx1"/>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s-ES" dirty="0"/>
              <a:t>Text </a:t>
            </a:r>
            <a:r>
              <a:rPr lang="es-ES" dirty="0" err="1"/>
              <a:t>for</a:t>
            </a:r>
            <a:r>
              <a:rPr lang="es-ES" dirty="0"/>
              <a:t> </a:t>
            </a:r>
            <a:r>
              <a:rPr lang="es-ES" dirty="0" err="1"/>
              <a:t>relevant</a:t>
            </a:r>
            <a:r>
              <a:rPr lang="es-ES" dirty="0"/>
              <a:t> figure</a:t>
            </a:r>
            <a:endParaRPr lang="en-GB" dirty="0"/>
          </a:p>
        </p:txBody>
      </p:sp>
      <p:sp>
        <p:nvSpPr>
          <p:cNvPr id="29" name="Text Placeholder 7">
            <a:extLst>
              <a:ext uri="{FF2B5EF4-FFF2-40B4-BE49-F238E27FC236}">
                <a16:creationId xmlns:a16="http://schemas.microsoft.com/office/drawing/2014/main" id="{5261A193-C1E8-4FB8-A24F-E6790AFE91D3}"/>
              </a:ext>
            </a:extLst>
          </p:cNvPr>
          <p:cNvSpPr>
            <a:spLocks noGrp="1"/>
          </p:cNvSpPr>
          <p:nvPr>
            <p:ph type="body" sz="quarter" idx="25"/>
          </p:nvPr>
        </p:nvSpPr>
        <p:spPr>
          <a:xfrm>
            <a:off x="7786267" y="5018655"/>
            <a:ext cx="4032250" cy="449362"/>
          </a:xfrm>
        </p:spPr>
        <p:txBody>
          <a:bodyPr/>
          <a:lstStyle/>
          <a:p>
            <a:pPr lvl="0"/>
            <a:r>
              <a:rPr lang="en-US" dirty="0"/>
              <a:t>Click to edit Master text styles</a:t>
            </a:r>
          </a:p>
        </p:txBody>
      </p:sp>
      <p:sp>
        <p:nvSpPr>
          <p:cNvPr id="19" name="Rectangle 18">
            <a:extLst>
              <a:ext uri="{FF2B5EF4-FFF2-40B4-BE49-F238E27FC236}">
                <a16:creationId xmlns:a16="http://schemas.microsoft.com/office/drawing/2014/main" id="{35178992-0D25-4414-A546-FAE8D2D2E3E1}"/>
              </a:ext>
            </a:extLst>
          </p:cNvPr>
          <p:cNvSpPr/>
          <p:nvPr userDrawn="1"/>
        </p:nvSpPr>
        <p:spPr>
          <a:xfrm>
            <a:off x="3051745"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0" name="Rectangle 19">
            <a:extLst>
              <a:ext uri="{FF2B5EF4-FFF2-40B4-BE49-F238E27FC236}">
                <a16:creationId xmlns:a16="http://schemas.microsoft.com/office/drawing/2014/main" id="{81FDF39F-08FA-4D8B-A52E-3C5C27F8500B}"/>
              </a:ext>
            </a:extLst>
          </p:cNvPr>
          <p:cNvSpPr/>
          <p:nvPr userDrawn="1"/>
        </p:nvSpPr>
        <p:spPr>
          <a:xfrm>
            <a:off x="7490"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2" name="Rectangle 21">
            <a:extLst>
              <a:ext uri="{FF2B5EF4-FFF2-40B4-BE49-F238E27FC236}">
                <a16:creationId xmlns:a16="http://schemas.microsoft.com/office/drawing/2014/main" id="{525BFED6-6BBF-4AA4-8268-D8D790C8448A}"/>
              </a:ext>
            </a:extLst>
          </p:cNvPr>
          <p:cNvSpPr/>
          <p:nvPr userDrawn="1"/>
        </p:nvSpPr>
        <p:spPr>
          <a:xfrm>
            <a:off x="9149414"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3" name="Rectangle 22">
            <a:extLst>
              <a:ext uri="{FF2B5EF4-FFF2-40B4-BE49-F238E27FC236}">
                <a16:creationId xmlns:a16="http://schemas.microsoft.com/office/drawing/2014/main" id="{C6F10321-F126-4292-8A54-B9181C2F401E}"/>
              </a:ext>
            </a:extLst>
          </p:cNvPr>
          <p:cNvSpPr/>
          <p:nvPr userDrawn="1"/>
        </p:nvSpPr>
        <p:spPr>
          <a:xfrm>
            <a:off x="6105159"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Tree>
    <p:extLst>
      <p:ext uri="{BB962C8B-B14F-4D97-AF65-F5344CB8AC3E}">
        <p14:creationId xmlns:p14="http://schemas.microsoft.com/office/powerpoint/2010/main" val="348400099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1_Image+text+mission">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4E88ABC6-3508-45D7-B3BD-99157607BE6B}"/>
              </a:ext>
            </a:extLst>
          </p:cNvPr>
          <p:cNvSpPr>
            <a:spLocks noGrp="1"/>
          </p:cNvSpPr>
          <p:nvPr>
            <p:ph type="pic" sz="quarter" idx="19"/>
          </p:nvPr>
        </p:nvSpPr>
        <p:spPr>
          <a:xfrm>
            <a:off x="8946560" y="0"/>
            <a:ext cx="3245440" cy="6878726"/>
          </a:xfrm>
        </p:spPr>
        <p:txBody>
          <a:bodyPr/>
          <a:lstStyle/>
          <a:p>
            <a:endParaRPr lang="en-US"/>
          </a:p>
        </p:txBody>
      </p:sp>
      <p:graphicFrame>
        <p:nvGraphicFramePr>
          <p:cNvPr id="3" name="Object 2" hidden="1">
            <a:extLst>
              <a:ext uri="{FF2B5EF4-FFF2-40B4-BE49-F238E27FC236}">
                <a16:creationId xmlns:a16="http://schemas.microsoft.com/office/drawing/2014/main" id="{C18526C9-16E3-4A1D-828A-4692734F055E}"/>
              </a:ext>
            </a:extLst>
          </p:cNvPr>
          <p:cNvGraphicFramePr>
            <a:graphicFrameLocks noChangeAspect="1"/>
          </p:cNvGraphicFramePr>
          <p:nvPr userDrawn="1">
            <p:custDataLst>
              <p:tags r:id="rId2"/>
            </p:custDataLst>
            <p:extLst>
              <p:ext uri="{D42A27DB-BD31-4B8C-83A1-F6EECF244321}">
                <p14:modId xmlns:p14="http://schemas.microsoft.com/office/powerpoint/2010/main" val="8964129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24" name="think-cell Slide" r:id="rId5" imgW="473" imgH="474" progId="TCLayout.ActiveDocument.1">
                  <p:embed/>
                </p:oleObj>
              </mc:Choice>
              <mc:Fallback>
                <p:oleObj name="think-cell Slide" r:id="rId5" imgW="473" imgH="474" progId="TCLayout.ActiveDocument.1">
                  <p:embed/>
                  <p:pic>
                    <p:nvPicPr>
                      <p:cNvPr id="3" name="Object 2" hidden="1">
                        <a:extLst>
                          <a:ext uri="{FF2B5EF4-FFF2-40B4-BE49-F238E27FC236}">
                            <a16:creationId xmlns:a16="http://schemas.microsoft.com/office/drawing/2014/main" id="{C18526C9-16E3-4A1D-828A-4692734F055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B2B384D-A05A-4439-838E-B66DA57DCB38}"/>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Verdana" panose="020B0604030504040204" pitchFamily="34" charset="0"/>
              <a:ea typeface="+mj-ea"/>
              <a:cs typeface="+mj-cs"/>
              <a:sym typeface="Verdana" panose="020B0604030504040204" pitchFamily="34" charset="0"/>
            </a:endParaRPr>
          </a:p>
        </p:txBody>
      </p:sp>
      <p:sp>
        <p:nvSpPr>
          <p:cNvPr id="2" name="Rectángulo 1">
            <a:extLst>
              <a:ext uri="{FF2B5EF4-FFF2-40B4-BE49-F238E27FC236}">
                <a16:creationId xmlns:a16="http://schemas.microsoft.com/office/drawing/2014/main" id="{BF29E734-210D-BC45-815B-FC427C40A195}"/>
              </a:ext>
            </a:extLst>
          </p:cNvPr>
          <p:cNvSpPr/>
          <p:nvPr userDrawn="1"/>
        </p:nvSpPr>
        <p:spPr>
          <a:xfrm>
            <a:off x="6086354" y="0"/>
            <a:ext cx="2850560" cy="6858000"/>
          </a:xfrm>
          <a:prstGeom prst="rect">
            <a:avLst/>
          </a:prstGeom>
          <a:gradFill>
            <a:gsLst>
              <a:gs pos="0">
                <a:schemeClr val="accent1"/>
              </a:gs>
              <a:gs pos="100000">
                <a:schemeClr val="accent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accent4"/>
              </a:solidFill>
            </a:endParaRPr>
          </a:p>
        </p:txBody>
      </p:sp>
      <p:sp>
        <p:nvSpPr>
          <p:cNvPr id="6" name="Marcador de texto 5">
            <a:extLst>
              <a:ext uri="{FF2B5EF4-FFF2-40B4-BE49-F238E27FC236}">
                <a16:creationId xmlns:a16="http://schemas.microsoft.com/office/drawing/2014/main" id="{9EBCB333-58BB-B544-BBAA-8ED40584EC60}"/>
              </a:ext>
            </a:extLst>
          </p:cNvPr>
          <p:cNvSpPr>
            <a:spLocks noGrp="1"/>
          </p:cNvSpPr>
          <p:nvPr>
            <p:ph type="body" sz="quarter" idx="12" hasCustomPrompt="1"/>
          </p:nvPr>
        </p:nvSpPr>
        <p:spPr>
          <a:xfrm>
            <a:off x="380162" y="1396800"/>
            <a:ext cx="837678" cy="797081"/>
          </a:xfrm>
          <a:prstGeom prst="rect">
            <a:avLst/>
          </a:prstGeom>
        </p:spPr>
        <p:txBody>
          <a:bodyPr lIns="0" tIns="0" rIns="0" bIns="0"/>
          <a:lstStyle>
            <a:lvl1pPr algn="l">
              <a:buNone/>
              <a:defRPr sz="6000" b="1">
                <a:solidFill>
                  <a:schemeClr val="accent1"/>
                </a:solidFill>
              </a:defRPr>
            </a:lvl1pPr>
            <a:lvl2pPr>
              <a:buNone/>
              <a:defRPr/>
            </a:lvl2pPr>
            <a:lvl3pPr>
              <a:buNone/>
              <a:defRPr/>
            </a:lvl3pPr>
            <a:lvl4pPr>
              <a:buNone/>
              <a:defRPr/>
            </a:lvl4pPr>
            <a:lvl5pPr>
              <a:buNone/>
              <a:defRPr/>
            </a:lvl5pPr>
          </a:lstStyle>
          <a:p>
            <a:pPr lvl="0"/>
            <a:r>
              <a:rPr lang="es-ES" dirty="0"/>
              <a:t>#</a:t>
            </a:r>
            <a:endParaRPr lang="en-GB" dirty="0"/>
          </a:p>
        </p:txBody>
      </p:sp>
      <p:sp>
        <p:nvSpPr>
          <p:cNvPr id="4" name="Marcador de texto 3">
            <a:extLst>
              <a:ext uri="{FF2B5EF4-FFF2-40B4-BE49-F238E27FC236}">
                <a16:creationId xmlns:a16="http://schemas.microsoft.com/office/drawing/2014/main" id="{E8D5A004-570A-094C-B900-71EF2C9421F9}"/>
              </a:ext>
            </a:extLst>
          </p:cNvPr>
          <p:cNvSpPr>
            <a:spLocks noGrp="1"/>
          </p:cNvSpPr>
          <p:nvPr>
            <p:ph type="body" sz="quarter" idx="15" hasCustomPrompt="1"/>
          </p:nvPr>
        </p:nvSpPr>
        <p:spPr>
          <a:xfrm>
            <a:off x="1391427" y="1393825"/>
            <a:ext cx="4020707" cy="320400"/>
          </a:xfrm>
          <a:prstGeom prst="rect">
            <a:avLst/>
          </a:prstGeom>
        </p:spPr>
        <p:txBody>
          <a:bodyPr lIns="0" tIns="0" rIns="0" bIns="0"/>
          <a:lstStyle>
            <a:lvl1pPr algn="l">
              <a:buNone/>
              <a:defRPr sz="1600" b="1">
                <a:solidFill>
                  <a:schemeClr val="tx1"/>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s-ES" dirty="0"/>
              <a:t>Text </a:t>
            </a:r>
            <a:r>
              <a:rPr lang="es-ES" dirty="0" err="1"/>
              <a:t>for</a:t>
            </a:r>
            <a:r>
              <a:rPr lang="es-ES" dirty="0"/>
              <a:t> </a:t>
            </a:r>
            <a:r>
              <a:rPr lang="es-ES" dirty="0" err="1"/>
              <a:t>relevant</a:t>
            </a:r>
            <a:r>
              <a:rPr lang="es-ES" dirty="0"/>
              <a:t> figure</a:t>
            </a:r>
            <a:endParaRPr lang="en-GB" dirty="0"/>
          </a:p>
        </p:txBody>
      </p:sp>
      <p:sp>
        <p:nvSpPr>
          <p:cNvPr id="15" name="Marcador de texto 2">
            <a:extLst>
              <a:ext uri="{FF2B5EF4-FFF2-40B4-BE49-F238E27FC236}">
                <a16:creationId xmlns:a16="http://schemas.microsoft.com/office/drawing/2014/main" id="{B0631F3F-D69C-4938-9C2D-8DBA1DF60BB1}"/>
              </a:ext>
            </a:extLst>
          </p:cNvPr>
          <p:cNvSpPr>
            <a:spLocks noGrp="1"/>
          </p:cNvSpPr>
          <p:nvPr>
            <p:ph type="body" idx="10" hasCustomPrompt="1"/>
          </p:nvPr>
        </p:nvSpPr>
        <p:spPr>
          <a:xfrm>
            <a:off x="6288172" y="2782607"/>
            <a:ext cx="2424562" cy="1274319"/>
          </a:xfrm>
          <a:prstGeom prst="rect">
            <a:avLst/>
          </a:prstGeom>
        </p:spPr>
        <p:txBody>
          <a:bodyPr lIns="0" tIns="0" rIns="0" bIns="0" anchor="t"/>
          <a:lstStyle>
            <a:lvl1pPr marL="0" indent="0">
              <a:lnSpc>
                <a:spcPct val="100000"/>
              </a:lnSpc>
              <a:spcBef>
                <a:spcPts val="0"/>
              </a:spcBef>
              <a:buNone/>
              <a:defRPr sz="1600" b="0">
                <a:solidFill>
                  <a:schemeClr val="bg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err="1"/>
              <a:t>Subtitle</a:t>
            </a:r>
            <a:endParaRPr lang="es-ES" dirty="0"/>
          </a:p>
        </p:txBody>
      </p:sp>
      <p:sp>
        <p:nvSpPr>
          <p:cNvPr id="8" name="Text Placeholder 7">
            <a:extLst>
              <a:ext uri="{FF2B5EF4-FFF2-40B4-BE49-F238E27FC236}">
                <a16:creationId xmlns:a16="http://schemas.microsoft.com/office/drawing/2014/main" id="{3A15B74D-3758-47B9-82C3-FFA884FCE23F}"/>
              </a:ext>
            </a:extLst>
          </p:cNvPr>
          <p:cNvSpPr>
            <a:spLocks noGrp="1"/>
          </p:cNvSpPr>
          <p:nvPr>
            <p:ph type="body" sz="quarter" idx="18"/>
          </p:nvPr>
        </p:nvSpPr>
        <p:spPr>
          <a:xfrm>
            <a:off x="1379885" y="1744519"/>
            <a:ext cx="4032250" cy="449362"/>
          </a:xfrm>
        </p:spPr>
        <p:txBody>
          <a:bodyPr/>
          <a:lstStyle>
            <a:lvl1pPr>
              <a:defRPr sz="1400"/>
            </a:lvl1pPr>
          </a:lstStyle>
          <a:p>
            <a:pPr lvl="0"/>
            <a:r>
              <a:rPr lang="en-US" dirty="0"/>
              <a:t>Click to edit Master text styles</a:t>
            </a:r>
          </a:p>
        </p:txBody>
      </p:sp>
      <p:sp>
        <p:nvSpPr>
          <p:cNvPr id="18" name="CuadroTexto 64">
            <a:extLst>
              <a:ext uri="{FF2B5EF4-FFF2-40B4-BE49-F238E27FC236}">
                <a16:creationId xmlns:a16="http://schemas.microsoft.com/office/drawing/2014/main" id="{7EEFB272-44BD-4440-81FD-B5BE8200048F}"/>
              </a:ext>
            </a:extLst>
          </p:cNvPr>
          <p:cNvSpPr txBox="1"/>
          <p:nvPr userDrawn="1"/>
        </p:nvSpPr>
        <p:spPr>
          <a:xfrm>
            <a:off x="10882303" y="6449284"/>
            <a:ext cx="936214" cy="138499"/>
          </a:xfrm>
          <a:prstGeom prst="rect">
            <a:avLst/>
          </a:prstGeom>
          <a:noFill/>
        </p:spPr>
        <p:txBody>
          <a:bodyPr wrap="square" lIns="0" tIns="0" rIns="0" bIns="0" rtlCol="0">
            <a:spAutoFit/>
          </a:bodyPr>
          <a:lstStyle/>
          <a:p>
            <a:pPr algn="r"/>
            <a:fld id="{A4EEDD72-1D6A-6B46-BCFA-C211F73E9379}" type="slidenum">
              <a:rPr lang="es-ES" sz="900" b="1" smtClean="0">
                <a:solidFill>
                  <a:schemeClr val="accent1"/>
                </a:solidFill>
                <a:latin typeface="+mj-lt"/>
                <a:ea typeface="Verdana" panose="020B0604030504040204" pitchFamily="34" charset="0"/>
                <a:cs typeface="Verdana" panose="020B0604030504040204" pitchFamily="34" charset="0"/>
              </a:rPr>
              <a:pPr algn="r"/>
              <a:t>‹N›</a:t>
            </a:fld>
            <a:endParaRPr lang="es-ES" sz="900" b="1" dirty="0">
              <a:solidFill>
                <a:schemeClr val="accent1"/>
              </a:solidFill>
              <a:latin typeface="+mj-lt"/>
              <a:ea typeface="Verdana" panose="020B0604030504040204" pitchFamily="34" charset="0"/>
              <a:cs typeface="Verdana" panose="020B0604030504040204" pitchFamily="34" charset="0"/>
            </a:endParaRPr>
          </a:p>
        </p:txBody>
      </p:sp>
      <p:sp>
        <p:nvSpPr>
          <p:cNvPr id="9" name="Title 8">
            <a:extLst>
              <a:ext uri="{FF2B5EF4-FFF2-40B4-BE49-F238E27FC236}">
                <a16:creationId xmlns:a16="http://schemas.microsoft.com/office/drawing/2014/main" id="{965B48A6-C16F-42F8-ABA4-E292AD3ADAB5}"/>
              </a:ext>
            </a:extLst>
          </p:cNvPr>
          <p:cNvSpPr>
            <a:spLocks noGrp="1"/>
          </p:cNvSpPr>
          <p:nvPr>
            <p:ph type="title"/>
          </p:nvPr>
        </p:nvSpPr>
        <p:spPr>
          <a:xfrm>
            <a:off x="6267355" y="1396800"/>
            <a:ext cx="2424562" cy="1144800"/>
          </a:xfrm>
        </p:spPr>
        <p:txBody>
          <a:bodyPr/>
          <a:lstStyle>
            <a:lvl1pPr>
              <a:defRPr>
                <a:solidFill>
                  <a:schemeClr val="bg1"/>
                </a:solidFill>
              </a:defRPr>
            </a:lvl1pPr>
          </a:lstStyle>
          <a:p>
            <a:r>
              <a:rPr lang="en-US" dirty="0"/>
              <a:t>Click to edit Master title style</a:t>
            </a:r>
          </a:p>
        </p:txBody>
      </p:sp>
      <p:pic>
        <p:nvPicPr>
          <p:cNvPr id="21" name="Graphic 10">
            <a:extLst>
              <a:ext uri="{FF2B5EF4-FFF2-40B4-BE49-F238E27FC236}">
                <a16:creationId xmlns:a16="http://schemas.microsoft.com/office/drawing/2014/main" id="{B6011187-AA8E-452B-973C-511891D6AD7A}"/>
              </a:ext>
            </a:extLst>
          </p:cNvPr>
          <p:cNvPicPr>
            <a:picLocks noChangeAspect="1"/>
          </p:cNvPicPr>
          <p:nvPr userDrawn="1"/>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70517" y="6420188"/>
            <a:ext cx="675863" cy="162467"/>
          </a:xfrm>
          <a:prstGeom prst="rect">
            <a:avLst/>
          </a:prstGeom>
        </p:spPr>
      </p:pic>
      <p:sp>
        <p:nvSpPr>
          <p:cNvPr id="24" name="Marcador de texto 5">
            <a:extLst>
              <a:ext uri="{FF2B5EF4-FFF2-40B4-BE49-F238E27FC236}">
                <a16:creationId xmlns:a16="http://schemas.microsoft.com/office/drawing/2014/main" id="{75F0A164-C6D2-41BE-B3C2-D78BEAB2F61B}"/>
              </a:ext>
            </a:extLst>
          </p:cNvPr>
          <p:cNvSpPr>
            <a:spLocks noGrp="1"/>
          </p:cNvSpPr>
          <p:nvPr>
            <p:ph type="body" sz="quarter" idx="20" hasCustomPrompt="1"/>
          </p:nvPr>
        </p:nvSpPr>
        <p:spPr>
          <a:xfrm>
            <a:off x="370517" y="3091977"/>
            <a:ext cx="837678" cy="797081"/>
          </a:xfrm>
          <a:prstGeom prst="rect">
            <a:avLst/>
          </a:prstGeom>
        </p:spPr>
        <p:txBody>
          <a:bodyPr lIns="0" tIns="0" rIns="0" bIns="0"/>
          <a:lstStyle>
            <a:lvl1pPr algn="l">
              <a:buNone/>
              <a:defRPr sz="6000" b="1">
                <a:solidFill>
                  <a:schemeClr val="accent1"/>
                </a:solidFill>
              </a:defRPr>
            </a:lvl1pPr>
            <a:lvl2pPr>
              <a:buNone/>
              <a:defRPr/>
            </a:lvl2pPr>
            <a:lvl3pPr>
              <a:buNone/>
              <a:defRPr/>
            </a:lvl3pPr>
            <a:lvl4pPr>
              <a:buNone/>
              <a:defRPr/>
            </a:lvl4pPr>
            <a:lvl5pPr>
              <a:buNone/>
              <a:defRPr/>
            </a:lvl5pPr>
          </a:lstStyle>
          <a:p>
            <a:pPr lvl="0"/>
            <a:r>
              <a:rPr lang="es-ES" dirty="0"/>
              <a:t>#</a:t>
            </a:r>
            <a:endParaRPr lang="en-GB" dirty="0"/>
          </a:p>
        </p:txBody>
      </p:sp>
      <p:sp>
        <p:nvSpPr>
          <p:cNvPr id="25" name="Marcador de texto 3">
            <a:extLst>
              <a:ext uri="{FF2B5EF4-FFF2-40B4-BE49-F238E27FC236}">
                <a16:creationId xmlns:a16="http://schemas.microsoft.com/office/drawing/2014/main" id="{591C145B-826B-4028-BD58-E397E527303F}"/>
              </a:ext>
            </a:extLst>
          </p:cNvPr>
          <p:cNvSpPr>
            <a:spLocks noGrp="1"/>
          </p:cNvSpPr>
          <p:nvPr>
            <p:ph type="body" sz="quarter" idx="21" hasCustomPrompt="1"/>
          </p:nvPr>
        </p:nvSpPr>
        <p:spPr>
          <a:xfrm>
            <a:off x="1381782" y="3089002"/>
            <a:ext cx="4020707" cy="320400"/>
          </a:xfrm>
          <a:prstGeom prst="rect">
            <a:avLst/>
          </a:prstGeom>
        </p:spPr>
        <p:txBody>
          <a:bodyPr lIns="0" tIns="0" rIns="0" bIns="0"/>
          <a:lstStyle>
            <a:lvl1pPr algn="l">
              <a:buNone/>
              <a:defRPr sz="1600" b="1">
                <a:solidFill>
                  <a:schemeClr val="tx1"/>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s-ES" dirty="0"/>
              <a:t>Text </a:t>
            </a:r>
            <a:r>
              <a:rPr lang="es-ES" dirty="0" err="1"/>
              <a:t>for</a:t>
            </a:r>
            <a:r>
              <a:rPr lang="es-ES" dirty="0"/>
              <a:t> </a:t>
            </a:r>
            <a:r>
              <a:rPr lang="es-ES" dirty="0" err="1"/>
              <a:t>relevant</a:t>
            </a:r>
            <a:r>
              <a:rPr lang="es-ES" dirty="0"/>
              <a:t> figure</a:t>
            </a:r>
            <a:endParaRPr lang="en-GB" dirty="0"/>
          </a:p>
        </p:txBody>
      </p:sp>
      <p:sp>
        <p:nvSpPr>
          <p:cNvPr id="26" name="Text Placeholder 7">
            <a:extLst>
              <a:ext uri="{FF2B5EF4-FFF2-40B4-BE49-F238E27FC236}">
                <a16:creationId xmlns:a16="http://schemas.microsoft.com/office/drawing/2014/main" id="{D00F373C-0EBD-4504-8D67-E35870BFF00A}"/>
              </a:ext>
            </a:extLst>
          </p:cNvPr>
          <p:cNvSpPr>
            <a:spLocks noGrp="1"/>
          </p:cNvSpPr>
          <p:nvPr>
            <p:ph type="body" sz="quarter" idx="22"/>
          </p:nvPr>
        </p:nvSpPr>
        <p:spPr>
          <a:xfrm>
            <a:off x="1370240" y="3439696"/>
            <a:ext cx="4032250" cy="449362"/>
          </a:xfrm>
        </p:spPr>
        <p:txBody>
          <a:bodyPr/>
          <a:lstStyle>
            <a:lvl1pPr>
              <a:defRPr sz="1400"/>
            </a:lvl1pPr>
          </a:lstStyle>
          <a:p>
            <a:pPr lvl="0"/>
            <a:r>
              <a:rPr lang="en-US" dirty="0"/>
              <a:t>Click to edit Master text styles</a:t>
            </a:r>
          </a:p>
        </p:txBody>
      </p:sp>
      <p:sp>
        <p:nvSpPr>
          <p:cNvPr id="27" name="Marcador de texto 5">
            <a:extLst>
              <a:ext uri="{FF2B5EF4-FFF2-40B4-BE49-F238E27FC236}">
                <a16:creationId xmlns:a16="http://schemas.microsoft.com/office/drawing/2014/main" id="{47F80355-B7BD-4E65-AA3A-B1B0B7BB01DF}"/>
              </a:ext>
            </a:extLst>
          </p:cNvPr>
          <p:cNvSpPr>
            <a:spLocks noGrp="1"/>
          </p:cNvSpPr>
          <p:nvPr>
            <p:ph type="body" sz="quarter" idx="23" hasCustomPrompt="1"/>
          </p:nvPr>
        </p:nvSpPr>
        <p:spPr>
          <a:xfrm>
            <a:off x="378154" y="4670936"/>
            <a:ext cx="837678" cy="797081"/>
          </a:xfrm>
          <a:prstGeom prst="rect">
            <a:avLst/>
          </a:prstGeom>
        </p:spPr>
        <p:txBody>
          <a:bodyPr lIns="0" tIns="0" rIns="0" bIns="0"/>
          <a:lstStyle>
            <a:lvl1pPr algn="l">
              <a:buNone/>
              <a:defRPr sz="6000" b="1">
                <a:solidFill>
                  <a:schemeClr val="accent1"/>
                </a:solidFill>
              </a:defRPr>
            </a:lvl1pPr>
            <a:lvl2pPr>
              <a:buNone/>
              <a:defRPr/>
            </a:lvl2pPr>
            <a:lvl3pPr>
              <a:buNone/>
              <a:defRPr/>
            </a:lvl3pPr>
            <a:lvl4pPr>
              <a:buNone/>
              <a:defRPr/>
            </a:lvl4pPr>
            <a:lvl5pPr>
              <a:buNone/>
              <a:defRPr/>
            </a:lvl5pPr>
          </a:lstStyle>
          <a:p>
            <a:pPr lvl="0"/>
            <a:r>
              <a:rPr lang="es-ES" dirty="0"/>
              <a:t>#</a:t>
            </a:r>
            <a:endParaRPr lang="en-GB" dirty="0"/>
          </a:p>
        </p:txBody>
      </p:sp>
      <p:sp>
        <p:nvSpPr>
          <p:cNvPr id="28" name="Marcador de texto 3">
            <a:extLst>
              <a:ext uri="{FF2B5EF4-FFF2-40B4-BE49-F238E27FC236}">
                <a16:creationId xmlns:a16="http://schemas.microsoft.com/office/drawing/2014/main" id="{34C6A042-7DB8-41DF-A005-B281DBDFBD50}"/>
              </a:ext>
            </a:extLst>
          </p:cNvPr>
          <p:cNvSpPr>
            <a:spLocks noGrp="1"/>
          </p:cNvSpPr>
          <p:nvPr>
            <p:ph type="body" sz="quarter" idx="24" hasCustomPrompt="1"/>
          </p:nvPr>
        </p:nvSpPr>
        <p:spPr>
          <a:xfrm>
            <a:off x="1389419" y="4667961"/>
            <a:ext cx="4020707" cy="320400"/>
          </a:xfrm>
          <a:prstGeom prst="rect">
            <a:avLst/>
          </a:prstGeom>
        </p:spPr>
        <p:txBody>
          <a:bodyPr lIns="0" tIns="0" rIns="0" bIns="0"/>
          <a:lstStyle>
            <a:lvl1pPr algn="l">
              <a:buNone/>
              <a:defRPr sz="1600" b="1">
                <a:solidFill>
                  <a:schemeClr val="tx1"/>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s-ES" dirty="0"/>
              <a:t>Text </a:t>
            </a:r>
            <a:r>
              <a:rPr lang="es-ES" dirty="0" err="1"/>
              <a:t>for</a:t>
            </a:r>
            <a:r>
              <a:rPr lang="es-ES" dirty="0"/>
              <a:t> </a:t>
            </a:r>
            <a:r>
              <a:rPr lang="es-ES" dirty="0" err="1"/>
              <a:t>relevant</a:t>
            </a:r>
            <a:r>
              <a:rPr lang="es-ES" dirty="0"/>
              <a:t> figure</a:t>
            </a:r>
            <a:endParaRPr lang="en-GB" dirty="0"/>
          </a:p>
        </p:txBody>
      </p:sp>
      <p:sp>
        <p:nvSpPr>
          <p:cNvPr id="29" name="Text Placeholder 7">
            <a:extLst>
              <a:ext uri="{FF2B5EF4-FFF2-40B4-BE49-F238E27FC236}">
                <a16:creationId xmlns:a16="http://schemas.microsoft.com/office/drawing/2014/main" id="{5261A193-C1E8-4FB8-A24F-E6790AFE91D3}"/>
              </a:ext>
            </a:extLst>
          </p:cNvPr>
          <p:cNvSpPr>
            <a:spLocks noGrp="1"/>
          </p:cNvSpPr>
          <p:nvPr>
            <p:ph type="body" sz="quarter" idx="25"/>
          </p:nvPr>
        </p:nvSpPr>
        <p:spPr>
          <a:xfrm>
            <a:off x="1377877" y="5018655"/>
            <a:ext cx="4032250" cy="449362"/>
          </a:xfrm>
        </p:spPr>
        <p:txBody>
          <a:bodyPr/>
          <a:lstStyle>
            <a:lvl1pPr>
              <a:defRPr sz="1400"/>
            </a:lvl1pPr>
          </a:lstStyle>
          <a:p>
            <a:pPr lvl="0"/>
            <a:r>
              <a:rPr lang="en-US" dirty="0"/>
              <a:t>Click to edit Master text styles</a:t>
            </a:r>
          </a:p>
        </p:txBody>
      </p:sp>
      <p:sp>
        <p:nvSpPr>
          <p:cNvPr id="19" name="Rectangle 18">
            <a:extLst>
              <a:ext uri="{FF2B5EF4-FFF2-40B4-BE49-F238E27FC236}">
                <a16:creationId xmlns:a16="http://schemas.microsoft.com/office/drawing/2014/main" id="{15A907A0-3C38-4D4C-B63E-B6D1A80355FD}"/>
              </a:ext>
            </a:extLst>
          </p:cNvPr>
          <p:cNvSpPr/>
          <p:nvPr userDrawn="1"/>
        </p:nvSpPr>
        <p:spPr>
          <a:xfrm>
            <a:off x="3051745"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0" name="Rectangle 19">
            <a:extLst>
              <a:ext uri="{FF2B5EF4-FFF2-40B4-BE49-F238E27FC236}">
                <a16:creationId xmlns:a16="http://schemas.microsoft.com/office/drawing/2014/main" id="{07DF807A-14D7-4689-AFE5-DBEADA29FABD}"/>
              </a:ext>
            </a:extLst>
          </p:cNvPr>
          <p:cNvSpPr/>
          <p:nvPr userDrawn="1"/>
        </p:nvSpPr>
        <p:spPr>
          <a:xfrm>
            <a:off x="7490"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2" name="Rectangle 21">
            <a:extLst>
              <a:ext uri="{FF2B5EF4-FFF2-40B4-BE49-F238E27FC236}">
                <a16:creationId xmlns:a16="http://schemas.microsoft.com/office/drawing/2014/main" id="{DC618635-424F-4818-ADC8-74E5C3F58F48}"/>
              </a:ext>
            </a:extLst>
          </p:cNvPr>
          <p:cNvSpPr/>
          <p:nvPr userDrawn="1"/>
        </p:nvSpPr>
        <p:spPr>
          <a:xfrm>
            <a:off x="9149414"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3" name="Rectangle 22">
            <a:extLst>
              <a:ext uri="{FF2B5EF4-FFF2-40B4-BE49-F238E27FC236}">
                <a16:creationId xmlns:a16="http://schemas.microsoft.com/office/drawing/2014/main" id="{7563B7B5-42DA-4284-A1CC-EF12A13191E1}"/>
              </a:ext>
            </a:extLst>
          </p:cNvPr>
          <p:cNvSpPr/>
          <p:nvPr userDrawn="1"/>
        </p:nvSpPr>
        <p:spPr>
          <a:xfrm>
            <a:off x="6105159"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Tree>
    <p:extLst>
      <p:ext uri="{BB962C8B-B14F-4D97-AF65-F5344CB8AC3E}">
        <p14:creationId xmlns:p14="http://schemas.microsoft.com/office/powerpoint/2010/main" val="176999088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5_Text + relevant figures+fullimages+straigh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C6E4ADC8-0B09-456C-98F3-35E3A84B8262}"/>
              </a:ext>
            </a:extLst>
          </p:cNvPr>
          <p:cNvSpPr>
            <a:spLocks noGrp="1"/>
          </p:cNvSpPr>
          <p:nvPr>
            <p:ph type="pic" sz="quarter" idx="19"/>
          </p:nvPr>
        </p:nvSpPr>
        <p:spPr>
          <a:xfrm>
            <a:off x="0" y="0"/>
            <a:ext cx="12192000" cy="6858000"/>
          </a:xfrm>
        </p:spPr>
        <p:txBody>
          <a:bodyPr/>
          <a:lstStyle/>
          <a:p>
            <a:endParaRPr lang="en-US" dirty="0"/>
          </a:p>
        </p:txBody>
      </p:sp>
      <p:graphicFrame>
        <p:nvGraphicFramePr>
          <p:cNvPr id="3" name="Object 2" hidden="1">
            <a:extLst>
              <a:ext uri="{FF2B5EF4-FFF2-40B4-BE49-F238E27FC236}">
                <a16:creationId xmlns:a16="http://schemas.microsoft.com/office/drawing/2014/main" id="{C18526C9-16E3-4A1D-828A-4692734F055E}"/>
              </a:ext>
            </a:extLst>
          </p:cNvPr>
          <p:cNvGraphicFramePr>
            <a:graphicFrameLocks noChangeAspect="1"/>
          </p:cNvGraphicFramePr>
          <p:nvPr userDrawn="1">
            <p:custDataLst>
              <p:tags r:id="rId2"/>
            </p:custDataLst>
            <p:extLst>
              <p:ext uri="{D42A27DB-BD31-4B8C-83A1-F6EECF244321}">
                <p14:modId xmlns:p14="http://schemas.microsoft.com/office/powerpoint/2010/main" val="28222372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48" name="think-cell Slide" r:id="rId5" imgW="473" imgH="474" progId="TCLayout.ActiveDocument.1">
                  <p:embed/>
                </p:oleObj>
              </mc:Choice>
              <mc:Fallback>
                <p:oleObj name="think-cell Slide" r:id="rId5" imgW="473" imgH="474" progId="TCLayout.ActiveDocument.1">
                  <p:embed/>
                  <p:pic>
                    <p:nvPicPr>
                      <p:cNvPr id="3" name="Object 2" hidden="1">
                        <a:extLst>
                          <a:ext uri="{FF2B5EF4-FFF2-40B4-BE49-F238E27FC236}">
                            <a16:creationId xmlns:a16="http://schemas.microsoft.com/office/drawing/2014/main" id="{C18526C9-16E3-4A1D-828A-4692734F055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B2B384D-A05A-4439-838E-B66DA57DCB38}"/>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Verdana" panose="020B0604030504040204" pitchFamily="34" charset="0"/>
              <a:ea typeface="+mj-ea"/>
              <a:cs typeface="+mj-cs"/>
              <a:sym typeface="Verdana" panose="020B0604030504040204" pitchFamily="34" charset="0"/>
            </a:endParaRPr>
          </a:p>
        </p:txBody>
      </p:sp>
      <p:sp>
        <p:nvSpPr>
          <p:cNvPr id="6" name="Marcador de texto 5">
            <a:extLst>
              <a:ext uri="{FF2B5EF4-FFF2-40B4-BE49-F238E27FC236}">
                <a16:creationId xmlns:a16="http://schemas.microsoft.com/office/drawing/2014/main" id="{9EBCB333-58BB-B544-BBAA-8ED40584EC60}"/>
              </a:ext>
            </a:extLst>
          </p:cNvPr>
          <p:cNvSpPr>
            <a:spLocks noGrp="1"/>
          </p:cNvSpPr>
          <p:nvPr>
            <p:ph type="body" sz="quarter" idx="12" hasCustomPrompt="1"/>
          </p:nvPr>
        </p:nvSpPr>
        <p:spPr>
          <a:xfrm>
            <a:off x="370517" y="1396800"/>
            <a:ext cx="2463133" cy="787206"/>
          </a:xfrm>
          <a:prstGeom prst="rect">
            <a:avLst/>
          </a:prstGeom>
        </p:spPr>
        <p:txBody>
          <a:bodyPr lIns="0" tIns="0" rIns="0" bIns="0"/>
          <a:lstStyle>
            <a:lvl1pPr algn="ctr">
              <a:buNone/>
              <a:defRPr sz="6000" b="1">
                <a:solidFill>
                  <a:srgbClr val="FFFFFF"/>
                </a:solidFill>
              </a:defRPr>
            </a:lvl1pPr>
            <a:lvl2pPr>
              <a:buNone/>
              <a:defRPr/>
            </a:lvl2pPr>
            <a:lvl3pPr>
              <a:buNone/>
              <a:defRPr/>
            </a:lvl3pPr>
            <a:lvl4pPr>
              <a:buNone/>
              <a:defRPr/>
            </a:lvl4pPr>
            <a:lvl5pPr>
              <a:buNone/>
              <a:defRPr/>
            </a:lvl5pPr>
          </a:lstStyle>
          <a:p>
            <a:pPr lvl="0"/>
            <a:r>
              <a:rPr lang="es-ES" dirty="0"/>
              <a:t>##%</a:t>
            </a:r>
            <a:endParaRPr lang="en-GB" dirty="0"/>
          </a:p>
        </p:txBody>
      </p:sp>
      <p:sp>
        <p:nvSpPr>
          <p:cNvPr id="20" name="Marcador de texto 5">
            <a:extLst>
              <a:ext uri="{FF2B5EF4-FFF2-40B4-BE49-F238E27FC236}">
                <a16:creationId xmlns:a16="http://schemas.microsoft.com/office/drawing/2014/main" id="{2C06ACCB-354C-3D41-AB30-002D49D29C60}"/>
              </a:ext>
            </a:extLst>
          </p:cNvPr>
          <p:cNvSpPr>
            <a:spLocks noGrp="1"/>
          </p:cNvSpPr>
          <p:nvPr>
            <p:ph type="body" sz="quarter" idx="13" hasCustomPrompt="1"/>
          </p:nvPr>
        </p:nvSpPr>
        <p:spPr>
          <a:xfrm>
            <a:off x="370517" y="3106608"/>
            <a:ext cx="2463133" cy="787207"/>
          </a:xfrm>
          <a:prstGeom prst="rect">
            <a:avLst/>
          </a:prstGeom>
        </p:spPr>
        <p:txBody>
          <a:bodyPr lIns="0" tIns="0" rIns="0" bIns="0"/>
          <a:lstStyle>
            <a:lvl1pPr algn="ctr">
              <a:buNone/>
              <a:defRPr sz="6000" b="1">
                <a:solidFill>
                  <a:srgbClr val="FFFFFF"/>
                </a:solidFill>
              </a:defRPr>
            </a:lvl1pPr>
            <a:lvl2pPr>
              <a:buNone/>
              <a:defRPr/>
            </a:lvl2pPr>
            <a:lvl3pPr>
              <a:buNone/>
              <a:defRPr/>
            </a:lvl3pPr>
            <a:lvl4pPr>
              <a:buNone/>
              <a:defRPr/>
            </a:lvl4pPr>
            <a:lvl5pPr>
              <a:buNone/>
              <a:defRPr/>
            </a:lvl5pPr>
          </a:lstStyle>
          <a:p>
            <a:pPr lvl="0"/>
            <a:r>
              <a:rPr lang="es-ES" dirty="0"/>
              <a:t>##%</a:t>
            </a:r>
            <a:endParaRPr lang="en-GB" dirty="0"/>
          </a:p>
        </p:txBody>
      </p:sp>
      <p:sp>
        <p:nvSpPr>
          <p:cNvPr id="22" name="Marcador de texto 5">
            <a:extLst>
              <a:ext uri="{FF2B5EF4-FFF2-40B4-BE49-F238E27FC236}">
                <a16:creationId xmlns:a16="http://schemas.microsoft.com/office/drawing/2014/main" id="{55898699-B5C9-1042-AB4E-4107C11BB498}"/>
              </a:ext>
            </a:extLst>
          </p:cNvPr>
          <p:cNvSpPr>
            <a:spLocks noGrp="1"/>
          </p:cNvSpPr>
          <p:nvPr>
            <p:ph type="body" sz="quarter" idx="14" hasCustomPrompt="1"/>
          </p:nvPr>
        </p:nvSpPr>
        <p:spPr>
          <a:xfrm>
            <a:off x="370517" y="4821943"/>
            <a:ext cx="2463133" cy="787207"/>
          </a:xfrm>
          <a:prstGeom prst="rect">
            <a:avLst/>
          </a:prstGeom>
        </p:spPr>
        <p:txBody>
          <a:bodyPr lIns="0" tIns="0" rIns="0" bIns="0"/>
          <a:lstStyle>
            <a:lvl1pPr algn="ctr">
              <a:buNone/>
              <a:defRPr sz="6000" b="1">
                <a:solidFill>
                  <a:srgbClr val="FFFFFF"/>
                </a:solidFill>
              </a:defRPr>
            </a:lvl1pPr>
            <a:lvl2pPr>
              <a:buNone/>
              <a:defRPr/>
            </a:lvl2pPr>
            <a:lvl3pPr>
              <a:buNone/>
              <a:defRPr/>
            </a:lvl3pPr>
            <a:lvl4pPr>
              <a:buNone/>
              <a:defRPr/>
            </a:lvl4pPr>
            <a:lvl5pPr>
              <a:buNone/>
              <a:defRPr/>
            </a:lvl5pPr>
          </a:lstStyle>
          <a:p>
            <a:pPr lvl="0"/>
            <a:r>
              <a:rPr lang="es-ES" dirty="0"/>
              <a:t>##%</a:t>
            </a:r>
            <a:endParaRPr lang="en-GB" dirty="0"/>
          </a:p>
        </p:txBody>
      </p:sp>
      <p:sp>
        <p:nvSpPr>
          <p:cNvPr id="4" name="Marcador de texto 3">
            <a:extLst>
              <a:ext uri="{FF2B5EF4-FFF2-40B4-BE49-F238E27FC236}">
                <a16:creationId xmlns:a16="http://schemas.microsoft.com/office/drawing/2014/main" id="{E8D5A004-570A-094C-B900-71EF2C9421F9}"/>
              </a:ext>
            </a:extLst>
          </p:cNvPr>
          <p:cNvSpPr>
            <a:spLocks noGrp="1"/>
          </p:cNvSpPr>
          <p:nvPr>
            <p:ph type="body" sz="quarter" idx="15" hasCustomPrompt="1"/>
          </p:nvPr>
        </p:nvSpPr>
        <p:spPr>
          <a:xfrm>
            <a:off x="370517" y="2181942"/>
            <a:ext cx="2463712" cy="320400"/>
          </a:xfrm>
          <a:prstGeom prst="rect">
            <a:avLst/>
          </a:prstGeom>
        </p:spPr>
        <p:txBody>
          <a:bodyPr lIns="0" tIns="0" rIns="0" bIns="0"/>
          <a:lstStyle>
            <a:lvl1pPr algn="ctr">
              <a:buNone/>
              <a:defRPr sz="1000" b="0">
                <a:solidFill>
                  <a:srgbClr val="FFFFFF"/>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s-ES" dirty="0"/>
              <a:t>Text </a:t>
            </a:r>
            <a:r>
              <a:rPr lang="es-ES" dirty="0" err="1"/>
              <a:t>for</a:t>
            </a:r>
            <a:r>
              <a:rPr lang="es-ES" dirty="0"/>
              <a:t> </a:t>
            </a:r>
            <a:r>
              <a:rPr lang="es-ES" dirty="0" err="1"/>
              <a:t>relevevant</a:t>
            </a:r>
            <a:r>
              <a:rPr lang="es-ES" dirty="0"/>
              <a:t> figure</a:t>
            </a:r>
            <a:endParaRPr lang="en-GB" dirty="0"/>
          </a:p>
        </p:txBody>
      </p:sp>
      <p:sp>
        <p:nvSpPr>
          <p:cNvPr id="13" name="Marcador de texto 3">
            <a:extLst>
              <a:ext uri="{FF2B5EF4-FFF2-40B4-BE49-F238E27FC236}">
                <a16:creationId xmlns:a16="http://schemas.microsoft.com/office/drawing/2014/main" id="{875879A7-B32B-1A41-AC83-2784AED7BE4A}"/>
              </a:ext>
            </a:extLst>
          </p:cNvPr>
          <p:cNvSpPr>
            <a:spLocks noGrp="1"/>
          </p:cNvSpPr>
          <p:nvPr>
            <p:ph type="body" sz="quarter" idx="16" hasCustomPrompt="1"/>
          </p:nvPr>
        </p:nvSpPr>
        <p:spPr>
          <a:xfrm>
            <a:off x="370517" y="3889058"/>
            <a:ext cx="2463712" cy="320400"/>
          </a:xfrm>
          <a:prstGeom prst="rect">
            <a:avLst/>
          </a:prstGeom>
        </p:spPr>
        <p:txBody>
          <a:bodyPr lIns="0" tIns="0" rIns="0" bIns="0"/>
          <a:lstStyle>
            <a:lvl1pPr algn="ctr">
              <a:buNone/>
              <a:defRPr sz="1000" b="0">
                <a:solidFill>
                  <a:srgbClr val="FFFFFF"/>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s-ES" dirty="0"/>
              <a:t>Text </a:t>
            </a:r>
            <a:r>
              <a:rPr lang="es-ES" dirty="0" err="1"/>
              <a:t>for</a:t>
            </a:r>
            <a:r>
              <a:rPr lang="es-ES" dirty="0"/>
              <a:t> </a:t>
            </a:r>
            <a:r>
              <a:rPr lang="es-ES" dirty="0" err="1"/>
              <a:t>relevevant</a:t>
            </a:r>
            <a:r>
              <a:rPr lang="es-ES" dirty="0"/>
              <a:t> figure</a:t>
            </a:r>
            <a:endParaRPr lang="en-GB" dirty="0"/>
          </a:p>
        </p:txBody>
      </p:sp>
      <p:sp>
        <p:nvSpPr>
          <p:cNvPr id="14" name="Marcador de texto 3">
            <a:extLst>
              <a:ext uri="{FF2B5EF4-FFF2-40B4-BE49-F238E27FC236}">
                <a16:creationId xmlns:a16="http://schemas.microsoft.com/office/drawing/2014/main" id="{E61C715B-7BD4-534A-8056-30CB1B8EDD3C}"/>
              </a:ext>
            </a:extLst>
          </p:cNvPr>
          <p:cNvSpPr>
            <a:spLocks noGrp="1"/>
          </p:cNvSpPr>
          <p:nvPr>
            <p:ph type="body" sz="quarter" idx="17" hasCustomPrompt="1"/>
          </p:nvPr>
        </p:nvSpPr>
        <p:spPr>
          <a:xfrm>
            <a:off x="370517" y="5590858"/>
            <a:ext cx="2463712" cy="320400"/>
          </a:xfrm>
          <a:prstGeom prst="rect">
            <a:avLst/>
          </a:prstGeom>
        </p:spPr>
        <p:txBody>
          <a:bodyPr lIns="0" tIns="0" rIns="0" bIns="0"/>
          <a:lstStyle>
            <a:lvl1pPr algn="ctr">
              <a:buNone/>
              <a:defRPr sz="1000" b="0">
                <a:solidFill>
                  <a:srgbClr val="FFFFFF"/>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s-ES" dirty="0"/>
              <a:t>Text </a:t>
            </a:r>
            <a:r>
              <a:rPr lang="es-ES" dirty="0" err="1"/>
              <a:t>for</a:t>
            </a:r>
            <a:r>
              <a:rPr lang="es-ES" dirty="0"/>
              <a:t> </a:t>
            </a:r>
            <a:r>
              <a:rPr lang="es-ES" dirty="0" err="1"/>
              <a:t>relevevant</a:t>
            </a:r>
            <a:r>
              <a:rPr lang="es-ES" dirty="0"/>
              <a:t> figure</a:t>
            </a:r>
            <a:endParaRPr lang="en-GB" dirty="0"/>
          </a:p>
        </p:txBody>
      </p:sp>
      <p:sp>
        <p:nvSpPr>
          <p:cNvPr id="15" name="Marcador de texto 2">
            <a:extLst>
              <a:ext uri="{FF2B5EF4-FFF2-40B4-BE49-F238E27FC236}">
                <a16:creationId xmlns:a16="http://schemas.microsoft.com/office/drawing/2014/main" id="{B0631F3F-D69C-4938-9C2D-8DBA1DF60BB1}"/>
              </a:ext>
            </a:extLst>
          </p:cNvPr>
          <p:cNvSpPr>
            <a:spLocks noGrp="1"/>
          </p:cNvSpPr>
          <p:nvPr>
            <p:ph type="body" idx="10" hasCustomPrompt="1"/>
          </p:nvPr>
        </p:nvSpPr>
        <p:spPr>
          <a:xfrm>
            <a:off x="6482168" y="722639"/>
            <a:ext cx="5339118" cy="324000"/>
          </a:xfrm>
          <a:prstGeom prst="rect">
            <a:avLst/>
          </a:prstGeom>
        </p:spPr>
        <p:txBody>
          <a:bodyPr lIns="0" tIns="0" rIns="0" bIns="0" anchor="t"/>
          <a:lstStyle>
            <a:lvl1pPr marL="0" indent="0">
              <a:lnSpc>
                <a:spcPct val="100000"/>
              </a:lnSpc>
              <a:spcBef>
                <a:spcPts val="0"/>
              </a:spcBef>
              <a:buNone/>
              <a:defRPr sz="2000" b="0">
                <a:solidFill>
                  <a:srgbClr val="000000"/>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err="1"/>
              <a:t>Subtitle</a:t>
            </a:r>
            <a:endParaRPr lang="es-ES" dirty="0"/>
          </a:p>
        </p:txBody>
      </p:sp>
      <p:sp>
        <p:nvSpPr>
          <p:cNvPr id="8" name="Text Placeholder 7">
            <a:extLst>
              <a:ext uri="{FF2B5EF4-FFF2-40B4-BE49-F238E27FC236}">
                <a16:creationId xmlns:a16="http://schemas.microsoft.com/office/drawing/2014/main" id="{3A15B74D-3758-47B9-82C3-FFA884FCE23F}"/>
              </a:ext>
            </a:extLst>
          </p:cNvPr>
          <p:cNvSpPr>
            <a:spLocks noGrp="1"/>
          </p:cNvSpPr>
          <p:nvPr>
            <p:ph type="body" sz="quarter" idx="18"/>
          </p:nvPr>
        </p:nvSpPr>
        <p:spPr>
          <a:xfrm>
            <a:off x="6482168" y="1396800"/>
            <a:ext cx="5335770" cy="4752000"/>
          </a:xfrm>
        </p:spPr>
        <p:txBody>
          <a:bodyPr/>
          <a:lstStyle>
            <a:lvl1pPr>
              <a:defRPr sz="14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uadroTexto 64">
            <a:extLst>
              <a:ext uri="{FF2B5EF4-FFF2-40B4-BE49-F238E27FC236}">
                <a16:creationId xmlns:a16="http://schemas.microsoft.com/office/drawing/2014/main" id="{7EEFB272-44BD-4440-81FD-B5BE8200048F}"/>
              </a:ext>
            </a:extLst>
          </p:cNvPr>
          <p:cNvSpPr txBox="1"/>
          <p:nvPr userDrawn="1"/>
        </p:nvSpPr>
        <p:spPr>
          <a:xfrm>
            <a:off x="10882303" y="6449284"/>
            <a:ext cx="936214" cy="138499"/>
          </a:xfrm>
          <a:prstGeom prst="rect">
            <a:avLst/>
          </a:prstGeom>
          <a:noFill/>
        </p:spPr>
        <p:txBody>
          <a:bodyPr wrap="square" lIns="0" tIns="0" rIns="0" bIns="0" rtlCol="0">
            <a:spAutoFit/>
          </a:bodyPr>
          <a:lstStyle/>
          <a:p>
            <a:pPr algn="r"/>
            <a:fld id="{A4EEDD72-1D6A-6B46-BCFA-C211F73E9379}" type="slidenum">
              <a:rPr lang="es-ES" sz="900" b="1" smtClean="0">
                <a:solidFill>
                  <a:srgbClr val="FFFFFF"/>
                </a:solidFill>
                <a:latin typeface="Verdana" panose="020B0604030504040204" pitchFamily="34" charset="0"/>
                <a:ea typeface="Verdana" panose="020B0604030504040204" pitchFamily="34" charset="0"/>
                <a:cs typeface="Verdana" panose="020B0604030504040204" pitchFamily="34" charset="0"/>
              </a:rPr>
              <a:pPr algn="r"/>
              <a:t>‹N›</a:t>
            </a:fld>
            <a:endParaRPr lang="es-ES" sz="900" b="1" dirty="0">
              <a:solidFill>
                <a:srgbClr val="FFFFFF"/>
              </a:solidFill>
              <a:latin typeface="Verdana" panose="020B0604030504040204" pitchFamily="34" charset="0"/>
              <a:ea typeface="Verdana" panose="020B0604030504040204" pitchFamily="34" charset="0"/>
              <a:cs typeface="Verdana" panose="020B0604030504040204" pitchFamily="34" charset="0"/>
            </a:endParaRPr>
          </a:p>
        </p:txBody>
      </p:sp>
      <p:sp>
        <p:nvSpPr>
          <p:cNvPr id="9" name="Title 8">
            <a:extLst>
              <a:ext uri="{FF2B5EF4-FFF2-40B4-BE49-F238E27FC236}">
                <a16:creationId xmlns:a16="http://schemas.microsoft.com/office/drawing/2014/main" id="{965B48A6-C16F-42F8-ABA4-E292AD3ADAB5}"/>
              </a:ext>
            </a:extLst>
          </p:cNvPr>
          <p:cNvSpPr>
            <a:spLocks noGrp="1"/>
          </p:cNvSpPr>
          <p:nvPr>
            <p:ph type="title"/>
          </p:nvPr>
        </p:nvSpPr>
        <p:spPr>
          <a:xfrm>
            <a:off x="6480578" y="252000"/>
            <a:ext cx="5339118" cy="432000"/>
          </a:xfrm>
        </p:spPr>
        <p:txBody>
          <a:bodyPr/>
          <a:lstStyle/>
          <a:p>
            <a:r>
              <a:rPr lang="en-US" dirty="0"/>
              <a:t>Click to edit Master title style</a:t>
            </a:r>
          </a:p>
        </p:txBody>
      </p:sp>
      <p:pic>
        <p:nvPicPr>
          <p:cNvPr id="21" name="Graphic 10">
            <a:extLst>
              <a:ext uri="{FF2B5EF4-FFF2-40B4-BE49-F238E27FC236}">
                <a16:creationId xmlns:a16="http://schemas.microsoft.com/office/drawing/2014/main" id="{B6011187-AA8E-452B-973C-511891D6AD7A}"/>
              </a:ext>
            </a:extLst>
          </p:cNvPr>
          <p:cNvPicPr>
            <a:picLocks noChangeAspect="1"/>
          </p:cNvPicPr>
          <p:nvPr userDrawn="1"/>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70517" y="6420188"/>
            <a:ext cx="675863" cy="162467"/>
          </a:xfrm>
          <a:prstGeom prst="rect">
            <a:avLst/>
          </a:prstGeom>
        </p:spPr>
      </p:pic>
      <p:sp>
        <p:nvSpPr>
          <p:cNvPr id="16" name="Rectangle 15">
            <a:extLst>
              <a:ext uri="{FF2B5EF4-FFF2-40B4-BE49-F238E27FC236}">
                <a16:creationId xmlns:a16="http://schemas.microsoft.com/office/drawing/2014/main" id="{FFD205B9-FAA3-4A0C-90C7-45BD6AA18BF0}"/>
              </a:ext>
            </a:extLst>
          </p:cNvPr>
          <p:cNvSpPr/>
          <p:nvPr userDrawn="1"/>
        </p:nvSpPr>
        <p:spPr>
          <a:xfrm>
            <a:off x="3051745"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7" name="Rectangle 16">
            <a:extLst>
              <a:ext uri="{FF2B5EF4-FFF2-40B4-BE49-F238E27FC236}">
                <a16:creationId xmlns:a16="http://schemas.microsoft.com/office/drawing/2014/main" id="{1F8C6DB5-D9AC-4D73-A780-B87A5D62902F}"/>
              </a:ext>
            </a:extLst>
          </p:cNvPr>
          <p:cNvSpPr/>
          <p:nvPr userDrawn="1"/>
        </p:nvSpPr>
        <p:spPr>
          <a:xfrm>
            <a:off x="7490"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9" name="Rectangle 18">
            <a:extLst>
              <a:ext uri="{FF2B5EF4-FFF2-40B4-BE49-F238E27FC236}">
                <a16:creationId xmlns:a16="http://schemas.microsoft.com/office/drawing/2014/main" id="{5B65A4C5-6E4F-4D4E-B81B-1B7190DE0A81}"/>
              </a:ext>
            </a:extLst>
          </p:cNvPr>
          <p:cNvSpPr/>
          <p:nvPr userDrawn="1"/>
        </p:nvSpPr>
        <p:spPr>
          <a:xfrm>
            <a:off x="9149414"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3" name="Rectangle 22">
            <a:extLst>
              <a:ext uri="{FF2B5EF4-FFF2-40B4-BE49-F238E27FC236}">
                <a16:creationId xmlns:a16="http://schemas.microsoft.com/office/drawing/2014/main" id="{EDB8562E-6E9A-4BB4-A54F-5AE6EA4F85DC}"/>
              </a:ext>
            </a:extLst>
          </p:cNvPr>
          <p:cNvSpPr/>
          <p:nvPr userDrawn="1"/>
        </p:nvSpPr>
        <p:spPr>
          <a:xfrm>
            <a:off x="6105159"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Tree>
    <p:extLst>
      <p:ext uri="{BB962C8B-B14F-4D97-AF65-F5344CB8AC3E}">
        <p14:creationId xmlns:p14="http://schemas.microsoft.com/office/powerpoint/2010/main" val="233743865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Gallery + tex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18526C9-16E3-4A1D-828A-4692734F055E}"/>
              </a:ext>
            </a:extLst>
          </p:cNvPr>
          <p:cNvGraphicFramePr>
            <a:graphicFrameLocks noChangeAspect="1"/>
          </p:cNvGraphicFramePr>
          <p:nvPr userDrawn="1">
            <p:custDataLst>
              <p:tags r:id="rId2"/>
            </p:custDataLst>
            <p:extLst>
              <p:ext uri="{D42A27DB-BD31-4B8C-83A1-F6EECF244321}">
                <p14:modId xmlns:p14="http://schemas.microsoft.com/office/powerpoint/2010/main" val="24808826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372" name="think-cell Slide" r:id="rId5" imgW="473" imgH="474" progId="TCLayout.ActiveDocument.1">
                  <p:embed/>
                </p:oleObj>
              </mc:Choice>
              <mc:Fallback>
                <p:oleObj name="think-cell Slide" r:id="rId5" imgW="473" imgH="474" progId="TCLayout.ActiveDocument.1">
                  <p:embed/>
                  <p:pic>
                    <p:nvPicPr>
                      <p:cNvPr id="3" name="Object 2" hidden="1">
                        <a:extLst>
                          <a:ext uri="{FF2B5EF4-FFF2-40B4-BE49-F238E27FC236}">
                            <a16:creationId xmlns:a16="http://schemas.microsoft.com/office/drawing/2014/main" id="{C18526C9-16E3-4A1D-828A-4692734F055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B2B384D-A05A-4439-838E-B66DA57DCB38}"/>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Verdana" panose="020B0604030504040204" pitchFamily="34" charset="0"/>
              <a:ea typeface="+mj-ea"/>
              <a:cs typeface="+mj-cs"/>
              <a:sym typeface="Verdana" panose="020B0604030504040204" pitchFamily="34" charset="0"/>
            </a:endParaRPr>
          </a:p>
        </p:txBody>
      </p:sp>
      <p:sp>
        <p:nvSpPr>
          <p:cNvPr id="15" name="Marcador de texto 2">
            <a:extLst>
              <a:ext uri="{FF2B5EF4-FFF2-40B4-BE49-F238E27FC236}">
                <a16:creationId xmlns:a16="http://schemas.microsoft.com/office/drawing/2014/main" id="{B0631F3F-D69C-4938-9C2D-8DBA1DF60BB1}"/>
              </a:ext>
            </a:extLst>
          </p:cNvPr>
          <p:cNvSpPr>
            <a:spLocks noGrp="1"/>
          </p:cNvSpPr>
          <p:nvPr>
            <p:ph type="body" idx="10" hasCustomPrompt="1"/>
          </p:nvPr>
        </p:nvSpPr>
        <p:spPr>
          <a:xfrm>
            <a:off x="368791" y="722639"/>
            <a:ext cx="5339118" cy="324000"/>
          </a:xfrm>
          <a:prstGeom prst="rect">
            <a:avLst/>
          </a:prstGeom>
        </p:spPr>
        <p:txBody>
          <a:bodyPr lIns="0" tIns="0" rIns="0" bIns="0" anchor="t"/>
          <a:lstStyle>
            <a:lvl1pPr marL="0" indent="0">
              <a:lnSpc>
                <a:spcPct val="100000"/>
              </a:lnSpc>
              <a:spcBef>
                <a:spcPts val="0"/>
              </a:spcBef>
              <a:buNone/>
              <a:defRPr sz="2000" b="0">
                <a:solidFill>
                  <a:srgbClr val="000000"/>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err="1"/>
              <a:t>Subtitle</a:t>
            </a:r>
            <a:endParaRPr lang="es-ES" dirty="0"/>
          </a:p>
        </p:txBody>
      </p:sp>
      <p:sp>
        <p:nvSpPr>
          <p:cNvPr id="8" name="Text Placeholder 7">
            <a:extLst>
              <a:ext uri="{FF2B5EF4-FFF2-40B4-BE49-F238E27FC236}">
                <a16:creationId xmlns:a16="http://schemas.microsoft.com/office/drawing/2014/main" id="{3A15B74D-3758-47B9-82C3-FFA884FCE23F}"/>
              </a:ext>
            </a:extLst>
          </p:cNvPr>
          <p:cNvSpPr>
            <a:spLocks noGrp="1"/>
          </p:cNvSpPr>
          <p:nvPr>
            <p:ph type="body" sz="quarter" idx="18"/>
          </p:nvPr>
        </p:nvSpPr>
        <p:spPr>
          <a:xfrm>
            <a:off x="368791" y="1396800"/>
            <a:ext cx="5337528" cy="4752000"/>
          </a:xfrm>
        </p:spPr>
        <p:txBody>
          <a:bodyPr/>
          <a:lstStyle>
            <a:lvl1pPr>
              <a:defRPr sz="14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uadroTexto 64">
            <a:extLst>
              <a:ext uri="{FF2B5EF4-FFF2-40B4-BE49-F238E27FC236}">
                <a16:creationId xmlns:a16="http://schemas.microsoft.com/office/drawing/2014/main" id="{7EEFB272-44BD-4440-81FD-B5BE8200048F}"/>
              </a:ext>
            </a:extLst>
          </p:cNvPr>
          <p:cNvSpPr txBox="1"/>
          <p:nvPr userDrawn="1"/>
        </p:nvSpPr>
        <p:spPr>
          <a:xfrm>
            <a:off x="10882303" y="6449284"/>
            <a:ext cx="936214" cy="138499"/>
          </a:xfrm>
          <a:prstGeom prst="rect">
            <a:avLst/>
          </a:prstGeom>
          <a:noFill/>
        </p:spPr>
        <p:txBody>
          <a:bodyPr wrap="square" lIns="0" tIns="0" rIns="0" bIns="0" rtlCol="0">
            <a:spAutoFit/>
          </a:bodyPr>
          <a:lstStyle/>
          <a:p>
            <a:pPr algn="r"/>
            <a:fld id="{A4EEDD72-1D6A-6B46-BCFA-C211F73E9379}" type="slidenum">
              <a:rPr lang="es-ES" sz="900" b="1" smtClean="0">
                <a:solidFill>
                  <a:schemeClr val="accent1"/>
                </a:solidFill>
                <a:latin typeface="+mj-lt"/>
                <a:ea typeface="Verdana" panose="020B0604030504040204" pitchFamily="34" charset="0"/>
                <a:cs typeface="Verdana" panose="020B0604030504040204" pitchFamily="34" charset="0"/>
              </a:rPr>
              <a:pPr algn="r"/>
              <a:t>‹N›</a:t>
            </a:fld>
            <a:endParaRPr lang="es-ES" sz="900" b="1" dirty="0">
              <a:solidFill>
                <a:schemeClr val="accent1"/>
              </a:solidFill>
              <a:latin typeface="+mj-lt"/>
              <a:ea typeface="Verdana" panose="020B0604030504040204" pitchFamily="34" charset="0"/>
              <a:cs typeface="Verdana" panose="020B0604030504040204" pitchFamily="34" charset="0"/>
            </a:endParaRPr>
          </a:p>
        </p:txBody>
      </p:sp>
      <p:sp>
        <p:nvSpPr>
          <p:cNvPr id="9" name="Title 8">
            <a:extLst>
              <a:ext uri="{FF2B5EF4-FFF2-40B4-BE49-F238E27FC236}">
                <a16:creationId xmlns:a16="http://schemas.microsoft.com/office/drawing/2014/main" id="{965B48A6-C16F-42F8-ABA4-E292AD3ADAB5}"/>
              </a:ext>
            </a:extLst>
          </p:cNvPr>
          <p:cNvSpPr>
            <a:spLocks noGrp="1"/>
          </p:cNvSpPr>
          <p:nvPr>
            <p:ph type="title"/>
          </p:nvPr>
        </p:nvSpPr>
        <p:spPr>
          <a:xfrm>
            <a:off x="367201" y="252000"/>
            <a:ext cx="5339118" cy="432000"/>
          </a:xfrm>
        </p:spPr>
        <p:txBody>
          <a:bodyPr/>
          <a:lstStyle/>
          <a:p>
            <a:r>
              <a:rPr lang="en-US" dirty="0"/>
              <a:t>Click to edit Master title style</a:t>
            </a:r>
          </a:p>
        </p:txBody>
      </p:sp>
      <p:pic>
        <p:nvPicPr>
          <p:cNvPr id="21" name="Graphic 10">
            <a:extLst>
              <a:ext uri="{FF2B5EF4-FFF2-40B4-BE49-F238E27FC236}">
                <a16:creationId xmlns:a16="http://schemas.microsoft.com/office/drawing/2014/main" id="{B6011187-AA8E-452B-973C-511891D6AD7A}"/>
              </a:ext>
            </a:extLst>
          </p:cNvPr>
          <p:cNvPicPr>
            <a:picLocks noChangeAspect="1"/>
          </p:cNvPicPr>
          <p:nvPr userDrawn="1"/>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70517" y="6420188"/>
            <a:ext cx="675863" cy="162467"/>
          </a:xfrm>
          <a:prstGeom prst="rect">
            <a:avLst/>
          </a:prstGeom>
        </p:spPr>
      </p:pic>
      <p:sp>
        <p:nvSpPr>
          <p:cNvPr id="10" name="Picture Placeholder 9">
            <a:extLst>
              <a:ext uri="{FF2B5EF4-FFF2-40B4-BE49-F238E27FC236}">
                <a16:creationId xmlns:a16="http://schemas.microsoft.com/office/drawing/2014/main" id="{4E88ABC6-3508-45D7-B3BD-99157607BE6B}"/>
              </a:ext>
            </a:extLst>
          </p:cNvPr>
          <p:cNvSpPr>
            <a:spLocks noGrp="1"/>
          </p:cNvSpPr>
          <p:nvPr>
            <p:ph type="pic" sz="quarter" idx="19"/>
          </p:nvPr>
        </p:nvSpPr>
        <p:spPr>
          <a:xfrm>
            <a:off x="6096001" y="1393825"/>
            <a:ext cx="2631310" cy="2035176"/>
          </a:xfrm>
        </p:spPr>
        <p:txBody>
          <a:bodyPr/>
          <a:lstStyle/>
          <a:p>
            <a:endParaRPr lang="en-US" dirty="0"/>
          </a:p>
        </p:txBody>
      </p:sp>
      <p:sp>
        <p:nvSpPr>
          <p:cNvPr id="19" name="Picture Placeholder 9">
            <a:extLst>
              <a:ext uri="{FF2B5EF4-FFF2-40B4-BE49-F238E27FC236}">
                <a16:creationId xmlns:a16="http://schemas.microsoft.com/office/drawing/2014/main" id="{439147A0-D8ED-48AE-A0B9-BF2EC8001FA9}"/>
              </a:ext>
            </a:extLst>
          </p:cNvPr>
          <p:cNvSpPr>
            <a:spLocks noGrp="1"/>
          </p:cNvSpPr>
          <p:nvPr>
            <p:ph type="pic" sz="quarter" idx="20"/>
          </p:nvPr>
        </p:nvSpPr>
        <p:spPr>
          <a:xfrm>
            <a:off x="9187207" y="1393823"/>
            <a:ext cx="2631310" cy="4754975"/>
          </a:xfrm>
        </p:spPr>
        <p:txBody>
          <a:bodyPr/>
          <a:lstStyle/>
          <a:p>
            <a:endParaRPr lang="en-US" dirty="0"/>
          </a:p>
        </p:txBody>
      </p:sp>
      <p:sp>
        <p:nvSpPr>
          <p:cNvPr id="23" name="Picture Placeholder 9">
            <a:extLst>
              <a:ext uri="{FF2B5EF4-FFF2-40B4-BE49-F238E27FC236}">
                <a16:creationId xmlns:a16="http://schemas.microsoft.com/office/drawing/2014/main" id="{E5615A31-C9B5-440B-9CF1-C0CB53E6AC99}"/>
              </a:ext>
            </a:extLst>
          </p:cNvPr>
          <p:cNvSpPr>
            <a:spLocks noGrp="1"/>
          </p:cNvSpPr>
          <p:nvPr>
            <p:ph type="pic" sz="quarter" idx="21"/>
          </p:nvPr>
        </p:nvSpPr>
        <p:spPr>
          <a:xfrm>
            <a:off x="6096000" y="3771309"/>
            <a:ext cx="2631310" cy="2380253"/>
          </a:xfrm>
        </p:spPr>
        <p:txBody>
          <a:bodyPr/>
          <a:lstStyle/>
          <a:p>
            <a:endParaRPr lang="en-US" dirty="0"/>
          </a:p>
        </p:txBody>
      </p:sp>
      <p:sp>
        <p:nvSpPr>
          <p:cNvPr id="24" name="Footer Placeholder 4">
            <a:extLst>
              <a:ext uri="{FF2B5EF4-FFF2-40B4-BE49-F238E27FC236}">
                <a16:creationId xmlns:a16="http://schemas.microsoft.com/office/drawing/2014/main" id="{08E995EF-CD4B-44D3-8287-87982ACEC439}"/>
              </a:ext>
            </a:extLst>
          </p:cNvPr>
          <p:cNvSpPr txBox="1"/>
          <p:nvPr userDrawn="1"/>
        </p:nvSpPr>
        <p:spPr>
          <a:xfrm>
            <a:off x="5361433" y="6449284"/>
            <a:ext cx="1475068" cy="133372"/>
          </a:xfrm>
          <a:prstGeom prst="rect">
            <a:avLst/>
          </a:prstGeom>
        </p:spPr>
        <p:txBody>
          <a:bodyPr vert="horz" lIns="0" tIns="0" rIns="0" bIns="0" rtlCol="0" anchor="t" anchorCtr="0">
            <a:noAutofit/>
          </a:bodyPr>
          <a:lstStyle>
            <a:defPPr>
              <a:defRPr lang="es-ES"/>
            </a:defPPr>
            <a:lvl1pPr marL="0" algn="l" defTabSz="914400" rtl="0" eaLnBrk="1" latinLnBrk="0" hangingPunct="1">
              <a:defRPr sz="9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dirty="0">
                <a:solidFill>
                  <a:schemeClr val="tx2"/>
                </a:solidFill>
                <a:ea typeface="Arial" charset="0"/>
                <a:cs typeface="Arial" charset="0"/>
              </a:rPr>
              <a:t>Adecco.com</a:t>
            </a:r>
          </a:p>
        </p:txBody>
      </p:sp>
      <p:sp>
        <p:nvSpPr>
          <p:cNvPr id="13" name="Rectangle 12">
            <a:extLst>
              <a:ext uri="{FF2B5EF4-FFF2-40B4-BE49-F238E27FC236}">
                <a16:creationId xmlns:a16="http://schemas.microsoft.com/office/drawing/2014/main" id="{E6F38B64-FDBA-4B83-946A-1B443D99D4E7}"/>
              </a:ext>
            </a:extLst>
          </p:cNvPr>
          <p:cNvSpPr/>
          <p:nvPr userDrawn="1"/>
        </p:nvSpPr>
        <p:spPr>
          <a:xfrm>
            <a:off x="3051745"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4" name="Rectangle 13">
            <a:extLst>
              <a:ext uri="{FF2B5EF4-FFF2-40B4-BE49-F238E27FC236}">
                <a16:creationId xmlns:a16="http://schemas.microsoft.com/office/drawing/2014/main" id="{6CCB7A68-2158-45F6-BC6B-87E3662CBAC3}"/>
              </a:ext>
            </a:extLst>
          </p:cNvPr>
          <p:cNvSpPr/>
          <p:nvPr userDrawn="1"/>
        </p:nvSpPr>
        <p:spPr>
          <a:xfrm>
            <a:off x="7490"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6" name="Rectangle 15">
            <a:extLst>
              <a:ext uri="{FF2B5EF4-FFF2-40B4-BE49-F238E27FC236}">
                <a16:creationId xmlns:a16="http://schemas.microsoft.com/office/drawing/2014/main" id="{1E4285C1-08CA-4246-98A8-827B2F7587A4}"/>
              </a:ext>
            </a:extLst>
          </p:cNvPr>
          <p:cNvSpPr/>
          <p:nvPr userDrawn="1"/>
        </p:nvSpPr>
        <p:spPr>
          <a:xfrm>
            <a:off x="9149414"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7" name="Rectangle 16">
            <a:extLst>
              <a:ext uri="{FF2B5EF4-FFF2-40B4-BE49-F238E27FC236}">
                <a16:creationId xmlns:a16="http://schemas.microsoft.com/office/drawing/2014/main" id="{B079840B-A106-4733-AA82-A76189D14FD6}"/>
              </a:ext>
            </a:extLst>
          </p:cNvPr>
          <p:cNvSpPr/>
          <p:nvPr userDrawn="1"/>
        </p:nvSpPr>
        <p:spPr>
          <a:xfrm>
            <a:off x="6105159"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Tree>
    <p:extLst>
      <p:ext uri="{BB962C8B-B14F-4D97-AF65-F5344CB8AC3E}">
        <p14:creationId xmlns:p14="http://schemas.microsoft.com/office/powerpoint/2010/main" val="370876382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Gallery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18526C9-16E3-4A1D-828A-4692734F055E}"/>
              </a:ext>
            </a:extLst>
          </p:cNvPr>
          <p:cNvGraphicFramePr>
            <a:graphicFrameLocks noChangeAspect="1"/>
          </p:cNvGraphicFramePr>
          <p:nvPr userDrawn="1">
            <p:custDataLst>
              <p:tags r:id="rId2"/>
            </p:custDataLst>
            <p:extLst>
              <p:ext uri="{D42A27DB-BD31-4B8C-83A1-F6EECF244321}">
                <p14:modId xmlns:p14="http://schemas.microsoft.com/office/powerpoint/2010/main" val="12911856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396" name="think-cell Slide" r:id="rId5" imgW="473" imgH="474" progId="TCLayout.ActiveDocument.1">
                  <p:embed/>
                </p:oleObj>
              </mc:Choice>
              <mc:Fallback>
                <p:oleObj name="think-cell Slide" r:id="rId5" imgW="473" imgH="474" progId="TCLayout.ActiveDocument.1">
                  <p:embed/>
                  <p:pic>
                    <p:nvPicPr>
                      <p:cNvPr id="3" name="Object 2" hidden="1">
                        <a:extLst>
                          <a:ext uri="{FF2B5EF4-FFF2-40B4-BE49-F238E27FC236}">
                            <a16:creationId xmlns:a16="http://schemas.microsoft.com/office/drawing/2014/main" id="{C18526C9-16E3-4A1D-828A-4692734F055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B2B384D-A05A-4439-838E-B66DA57DCB38}"/>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Verdana" panose="020B0604030504040204" pitchFamily="34" charset="0"/>
              <a:ea typeface="+mj-ea"/>
              <a:cs typeface="+mj-cs"/>
              <a:sym typeface="Verdana" panose="020B0604030504040204" pitchFamily="34" charset="0"/>
            </a:endParaRPr>
          </a:p>
        </p:txBody>
      </p:sp>
      <p:sp>
        <p:nvSpPr>
          <p:cNvPr id="15" name="Marcador de texto 2">
            <a:extLst>
              <a:ext uri="{FF2B5EF4-FFF2-40B4-BE49-F238E27FC236}">
                <a16:creationId xmlns:a16="http://schemas.microsoft.com/office/drawing/2014/main" id="{B0631F3F-D69C-4938-9C2D-8DBA1DF60BB1}"/>
              </a:ext>
            </a:extLst>
          </p:cNvPr>
          <p:cNvSpPr>
            <a:spLocks noGrp="1"/>
          </p:cNvSpPr>
          <p:nvPr>
            <p:ph type="body" idx="10" hasCustomPrompt="1"/>
          </p:nvPr>
        </p:nvSpPr>
        <p:spPr>
          <a:xfrm>
            <a:off x="373065" y="722639"/>
            <a:ext cx="11449050" cy="324000"/>
          </a:xfrm>
          <a:prstGeom prst="rect">
            <a:avLst/>
          </a:prstGeom>
        </p:spPr>
        <p:txBody>
          <a:bodyPr lIns="0" tIns="0" rIns="0" bIns="0" anchor="t"/>
          <a:lstStyle>
            <a:lvl1pPr marL="0" indent="0">
              <a:lnSpc>
                <a:spcPct val="100000"/>
              </a:lnSpc>
              <a:spcBef>
                <a:spcPts val="0"/>
              </a:spcBef>
              <a:buNone/>
              <a:defRPr sz="2000" b="0">
                <a:solidFill>
                  <a:srgbClr val="000000"/>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err="1"/>
              <a:t>Subtitle</a:t>
            </a:r>
            <a:endParaRPr lang="es-ES" dirty="0"/>
          </a:p>
        </p:txBody>
      </p:sp>
      <p:sp>
        <p:nvSpPr>
          <p:cNvPr id="8" name="Text Placeholder 7">
            <a:extLst>
              <a:ext uri="{FF2B5EF4-FFF2-40B4-BE49-F238E27FC236}">
                <a16:creationId xmlns:a16="http://schemas.microsoft.com/office/drawing/2014/main" id="{3A15B74D-3758-47B9-82C3-FFA884FCE23F}"/>
              </a:ext>
            </a:extLst>
          </p:cNvPr>
          <p:cNvSpPr>
            <a:spLocks noGrp="1"/>
          </p:cNvSpPr>
          <p:nvPr>
            <p:ph type="body" sz="quarter" idx="18"/>
          </p:nvPr>
        </p:nvSpPr>
        <p:spPr>
          <a:xfrm>
            <a:off x="371475" y="1396800"/>
            <a:ext cx="3348038" cy="4752000"/>
          </a:xfrm>
        </p:spPr>
        <p:txBody>
          <a:bodyPr/>
          <a:lstStyle>
            <a:lvl1pPr>
              <a:defRPr sz="14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uadroTexto 64">
            <a:extLst>
              <a:ext uri="{FF2B5EF4-FFF2-40B4-BE49-F238E27FC236}">
                <a16:creationId xmlns:a16="http://schemas.microsoft.com/office/drawing/2014/main" id="{7EEFB272-44BD-4440-81FD-B5BE8200048F}"/>
              </a:ext>
            </a:extLst>
          </p:cNvPr>
          <p:cNvSpPr txBox="1"/>
          <p:nvPr userDrawn="1"/>
        </p:nvSpPr>
        <p:spPr>
          <a:xfrm>
            <a:off x="10882303" y="6449284"/>
            <a:ext cx="936214" cy="138499"/>
          </a:xfrm>
          <a:prstGeom prst="rect">
            <a:avLst/>
          </a:prstGeom>
          <a:noFill/>
        </p:spPr>
        <p:txBody>
          <a:bodyPr wrap="square" lIns="0" tIns="0" rIns="0" bIns="0" rtlCol="0">
            <a:spAutoFit/>
          </a:bodyPr>
          <a:lstStyle/>
          <a:p>
            <a:pPr algn="r"/>
            <a:fld id="{A4EEDD72-1D6A-6B46-BCFA-C211F73E9379}" type="slidenum">
              <a:rPr lang="es-ES" sz="900" b="1" smtClean="0">
                <a:solidFill>
                  <a:schemeClr val="accent1"/>
                </a:solidFill>
                <a:latin typeface="Verdana" panose="020B0604030504040204" pitchFamily="34" charset="0"/>
                <a:ea typeface="Verdana" panose="020B0604030504040204" pitchFamily="34" charset="0"/>
                <a:cs typeface="Verdana" panose="020B0604030504040204" pitchFamily="34" charset="0"/>
              </a:rPr>
              <a:pPr algn="r"/>
              <a:t>‹N›</a:t>
            </a:fld>
            <a:endParaRPr lang="es-ES" sz="900" b="1" dirty="0">
              <a:solidFill>
                <a:schemeClr val="accent1"/>
              </a:solidFill>
              <a:latin typeface="Verdana" panose="020B0604030504040204" pitchFamily="34" charset="0"/>
              <a:ea typeface="Verdana" panose="020B0604030504040204" pitchFamily="34" charset="0"/>
              <a:cs typeface="Verdana" panose="020B0604030504040204" pitchFamily="34" charset="0"/>
            </a:endParaRPr>
          </a:p>
        </p:txBody>
      </p:sp>
      <p:sp>
        <p:nvSpPr>
          <p:cNvPr id="9" name="Title 8">
            <a:extLst>
              <a:ext uri="{FF2B5EF4-FFF2-40B4-BE49-F238E27FC236}">
                <a16:creationId xmlns:a16="http://schemas.microsoft.com/office/drawing/2014/main" id="{965B48A6-C16F-42F8-ABA4-E292AD3ADAB5}"/>
              </a:ext>
            </a:extLst>
          </p:cNvPr>
          <p:cNvSpPr>
            <a:spLocks noGrp="1"/>
          </p:cNvSpPr>
          <p:nvPr>
            <p:ph type="title"/>
          </p:nvPr>
        </p:nvSpPr>
        <p:spPr>
          <a:xfrm>
            <a:off x="371475" y="252000"/>
            <a:ext cx="11449050" cy="432000"/>
          </a:xfrm>
        </p:spPr>
        <p:txBody>
          <a:bodyPr/>
          <a:lstStyle/>
          <a:p>
            <a:r>
              <a:rPr lang="en-US" dirty="0"/>
              <a:t>Click to edit Master title style</a:t>
            </a:r>
          </a:p>
        </p:txBody>
      </p:sp>
      <p:sp>
        <p:nvSpPr>
          <p:cNvPr id="10" name="Picture Placeholder 9">
            <a:extLst>
              <a:ext uri="{FF2B5EF4-FFF2-40B4-BE49-F238E27FC236}">
                <a16:creationId xmlns:a16="http://schemas.microsoft.com/office/drawing/2014/main" id="{4E88ABC6-3508-45D7-B3BD-99157607BE6B}"/>
              </a:ext>
            </a:extLst>
          </p:cNvPr>
          <p:cNvSpPr>
            <a:spLocks noGrp="1"/>
          </p:cNvSpPr>
          <p:nvPr>
            <p:ph type="pic" sz="quarter" idx="19"/>
          </p:nvPr>
        </p:nvSpPr>
        <p:spPr>
          <a:xfrm>
            <a:off x="4403725" y="1396800"/>
            <a:ext cx="7414792" cy="2032200"/>
          </a:xfrm>
        </p:spPr>
        <p:txBody>
          <a:bodyPr/>
          <a:lstStyle/>
          <a:p>
            <a:endParaRPr lang="en-US"/>
          </a:p>
        </p:txBody>
      </p:sp>
      <p:sp>
        <p:nvSpPr>
          <p:cNvPr id="17" name="Text Placeholder 7">
            <a:extLst>
              <a:ext uri="{FF2B5EF4-FFF2-40B4-BE49-F238E27FC236}">
                <a16:creationId xmlns:a16="http://schemas.microsoft.com/office/drawing/2014/main" id="{A1704240-0B41-41FF-A04D-29C1203B79B7}"/>
              </a:ext>
            </a:extLst>
          </p:cNvPr>
          <p:cNvSpPr>
            <a:spLocks noGrp="1"/>
          </p:cNvSpPr>
          <p:nvPr>
            <p:ph type="body" sz="quarter" idx="20"/>
          </p:nvPr>
        </p:nvSpPr>
        <p:spPr>
          <a:xfrm>
            <a:off x="4403725" y="3534259"/>
            <a:ext cx="3384550" cy="2617304"/>
          </a:xfrm>
        </p:spPr>
        <p:txBody>
          <a:bodyPr/>
          <a:lstStyle>
            <a:lvl1pPr>
              <a:defRPr sz="14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7">
            <a:extLst>
              <a:ext uri="{FF2B5EF4-FFF2-40B4-BE49-F238E27FC236}">
                <a16:creationId xmlns:a16="http://schemas.microsoft.com/office/drawing/2014/main" id="{DEC3E18B-2014-4B10-9B4A-54E41D160C0A}"/>
              </a:ext>
            </a:extLst>
          </p:cNvPr>
          <p:cNvSpPr>
            <a:spLocks noGrp="1"/>
          </p:cNvSpPr>
          <p:nvPr>
            <p:ph type="body" sz="quarter" idx="21"/>
          </p:nvPr>
        </p:nvSpPr>
        <p:spPr>
          <a:xfrm>
            <a:off x="8445541" y="3534259"/>
            <a:ext cx="3372976" cy="2617304"/>
          </a:xfrm>
        </p:spPr>
        <p:txBody>
          <a:bodyPr/>
          <a:lstStyle>
            <a:lvl1pPr>
              <a:defRPr sz="14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23" name="Graphic 10">
            <a:extLst>
              <a:ext uri="{FF2B5EF4-FFF2-40B4-BE49-F238E27FC236}">
                <a16:creationId xmlns:a16="http://schemas.microsoft.com/office/drawing/2014/main" id="{F45A5C7C-6B1F-4A6C-BCB3-63E9EE96ECFC}"/>
              </a:ext>
            </a:extLst>
          </p:cNvPr>
          <p:cNvPicPr>
            <a:picLocks noChangeAspect="1"/>
          </p:cNvPicPr>
          <p:nvPr userDrawn="1"/>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70517" y="6420188"/>
            <a:ext cx="675863" cy="162467"/>
          </a:xfrm>
          <a:prstGeom prst="rect">
            <a:avLst/>
          </a:prstGeom>
        </p:spPr>
      </p:pic>
      <p:sp>
        <p:nvSpPr>
          <p:cNvPr id="24" name="Footer Placeholder 4">
            <a:extLst>
              <a:ext uri="{FF2B5EF4-FFF2-40B4-BE49-F238E27FC236}">
                <a16:creationId xmlns:a16="http://schemas.microsoft.com/office/drawing/2014/main" id="{349703B4-A07C-4490-A719-680F8CF49444}"/>
              </a:ext>
            </a:extLst>
          </p:cNvPr>
          <p:cNvSpPr txBox="1"/>
          <p:nvPr userDrawn="1"/>
        </p:nvSpPr>
        <p:spPr>
          <a:xfrm>
            <a:off x="5361433" y="6449284"/>
            <a:ext cx="1475068" cy="133372"/>
          </a:xfrm>
          <a:prstGeom prst="rect">
            <a:avLst/>
          </a:prstGeom>
        </p:spPr>
        <p:txBody>
          <a:bodyPr vert="horz" lIns="0" tIns="0" rIns="0" bIns="0" rtlCol="0" anchor="t" anchorCtr="0">
            <a:noAutofit/>
          </a:bodyPr>
          <a:lstStyle>
            <a:defPPr>
              <a:defRPr lang="es-ES"/>
            </a:defPPr>
            <a:lvl1pPr marL="0" algn="l" defTabSz="914400" rtl="0" eaLnBrk="1" latinLnBrk="0" hangingPunct="1">
              <a:defRPr sz="9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dirty="0">
                <a:solidFill>
                  <a:schemeClr val="tx2"/>
                </a:solidFill>
                <a:ea typeface="Arial" charset="0"/>
                <a:cs typeface="Arial" charset="0"/>
              </a:rPr>
              <a:t>Adecco.com</a:t>
            </a:r>
          </a:p>
        </p:txBody>
      </p:sp>
      <p:sp>
        <p:nvSpPr>
          <p:cNvPr id="13" name="Rectangle 12">
            <a:extLst>
              <a:ext uri="{FF2B5EF4-FFF2-40B4-BE49-F238E27FC236}">
                <a16:creationId xmlns:a16="http://schemas.microsoft.com/office/drawing/2014/main" id="{7843A16A-C90C-48C0-ACB5-4FA810C5B094}"/>
              </a:ext>
            </a:extLst>
          </p:cNvPr>
          <p:cNvSpPr/>
          <p:nvPr userDrawn="1"/>
        </p:nvSpPr>
        <p:spPr>
          <a:xfrm>
            <a:off x="3051745"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4" name="Rectangle 13">
            <a:extLst>
              <a:ext uri="{FF2B5EF4-FFF2-40B4-BE49-F238E27FC236}">
                <a16:creationId xmlns:a16="http://schemas.microsoft.com/office/drawing/2014/main" id="{EFD5FB48-94D8-45F3-BF6A-9A862C57CCCF}"/>
              </a:ext>
            </a:extLst>
          </p:cNvPr>
          <p:cNvSpPr/>
          <p:nvPr userDrawn="1"/>
        </p:nvSpPr>
        <p:spPr>
          <a:xfrm>
            <a:off x="7490"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6" name="Rectangle 15">
            <a:extLst>
              <a:ext uri="{FF2B5EF4-FFF2-40B4-BE49-F238E27FC236}">
                <a16:creationId xmlns:a16="http://schemas.microsoft.com/office/drawing/2014/main" id="{913DE83E-DC2A-4444-8D88-72F110CD2BCA}"/>
              </a:ext>
            </a:extLst>
          </p:cNvPr>
          <p:cNvSpPr/>
          <p:nvPr userDrawn="1"/>
        </p:nvSpPr>
        <p:spPr>
          <a:xfrm>
            <a:off x="9149414"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0" name="Rectangle 19">
            <a:extLst>
              <a:ext uri="{FF2B5EF4-FFF2-40B4-BE49-F238E27FC236}">
                <a16:creationId xmlns:a16="http://schemas.microsoft.com/office/drawing/2014/main" id="{DE89B657-3391-4E16-8850-21B714215D8A}"/>
              </a:ext>
            </a:extLst>
          </p:cNvPr>
          <p:cNvSpPr/>
          <p:nvPr userDrawn="1"/>
        </p:nvSpPr>
        <p:spPr>
          <a:xfrm>
            <a:off x="6105159"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Tree>
    <p:extLst>
      <p:ext uri="{BB962C8B-B14F-4D97-AF65-F5344CB8AC3E}">
        <p14:creationId xmlns:p14="http://schemas.microsoft.com/office/powerpoint/2010/main" val="247167261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B232AB-6DE5-4E25-B6EB-5F718ECFBF50}"/>
              </a:ext>
            </a:extLst>
          </p:cNvPr>
          <p:cNvGraphicFramePr>
            <a:graphicFrameLocks noChangeAspect="1"/>
          </p:cNvGraphicFramePr>
          <p:nvPr userDrawn="1">
            <p:custDataLst>
              <p:tags r:id="rId2"/>
            </p:custDataLst>
            <p:extLst>
              <p:ext uri="{D42A27DB-BD31-4B8C-83A1-F6EECF244321}">
                <p14:modId xmlns:p14="http://schemas.microsoft.com/office/powerpoint/2010/main" val="9821215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2" name="think-cell Slide" r:id="rId5" imgW="473" imgH="474" progId="TCLayout.ActiveDocument.1">
                  <p:embed/>
                </p:oleObj>
              </mc:Choice>
              <mc:Fallback>
                <p:oleObj name="think-cell Slide" r:id="rId5" imgW="473" imgH="474" progId="TCLayout.ActiveDocument.1">
                  <p:embed/>
                  <p:pic>
                    <p:nvPicPr>
                      <p:cNvPr id="4" name="Object 3" hidden="1">
                        <a:extLst>
                          <a:ext uri="{FF2B5EF4-FFF2-40B4-BE49-F238E27FC236}">
                            <a16:creationId xmlns:a16="http://schemas.microsoft.com/office/drawing/2014/main" id="{EFB232AB-6DE5-4E25-B6EB-5F718ECFBF5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8146453-8E47-4D97-A280-F4B6A30B5A3C}"/>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Verdana" panose="020B0604030504040204" pitchFamily="34" charset="0"/>
              <a:ea typeface="+mj-ea"/>
              <a:cs typeface="+mj-cs"/>
              <a:sym typeface="Verdana" panose="020B0604030504040204" pitchFamily="34" charset="0"/>
            </a:endParaRPr>
          </a:p>
        </p:txBody>
      </p:sp>
      <p:sp>
        <p:nvSpPr>
          <p:cNvPr id="2" name="Title 1">
            <a:extLst>
              <a:ext uri="{FF2B5EF4-FFF2-40B4-BE49-F238E27FC236}">
                <a16:creationId xmlns:a16="http://schemas.microsoft.com/office/drawing/2014/main" id="{C641161F-003E-4201-A397-037C10BA5E60}"/>
              </a:ext>
            </a:extLst>
          </p:cNvPr>
          <p:cNvSpPr>
            <a:spLocks noGrp="1"/>
          </p:cNvSpPr>
          <p:nvPr>
            <p:ph type="title"/>
          </p:nvPr>
        </p:nvSpPr>
        <p:spPr>
          <a:xfrm>
            <a:off x="367200" y="252000"/>
            <a:ext cx="11448000" cy="423640"/>
          </a:xfrm>
        </p:spPr>
        <p:txBody>
          <a:bodyPr/>
          <a:lstStyle>
            <a:lvl1pPr>
              <a:defRPr/>
            </a:lvl1pPr>
          </a:lstStyle>
          <a:p>
            <a:r>
              <a:rPr lang="en-US"/>
              <a:t>Click to edit Master title style</a:t>
            </a:r>
          </a:p>
        </p:txBody>
      </p:sp>
    </p:spTree>
    <p:extLst>
      <p:ext uri="{BB962C8B-B14F-4D97-AF65-F5344CB8AC3E}">
        <p14:creationId xmlns:p14="http://schemas.microsoft.com/office/powerpoint/2010/main" val="52707018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3_Gallery + tex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18526C9-16E3-4A1D-828A-4692734F055E}"/>
              </a:ext>
            </a:extLst>
          </p:cNvPr>
          <p:cNvGraphicFramePr>
            <a:graphicFrameLocks noChangeAspect="1"/>
          </p:cNvGraphicFramePr>
          <p:nvPr userDrawn="1">
            <p:custDataLst>
              <p:tags r:id="rId2"/>
            </p:custDataLst>
            <p:extLst>
              <p:ext uri="{D42A27DB-BD31-4B8C-83A1-F6EECF244321}">
                <p14:modId xmlns:p14="http://schemas.microsoft.com/office/powerpoint/2010/main" val="324910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20" name="think-cell Slide" r:id="rId5" imgW="473" imgH="474" progId="TCLayout.ActiveDocument.1">
                  <p:embed/>
                </p:oleObj>
              </mc:Choice>
              <mc:Fallback>
                <p:oleObj name="think-cell Slide" r:id="rId5" imgW="473" imgH="474" progId="TCLayout.ActiveDocument.1">
                  <p:embed/>
                  <p:pic>
                    <p:nvPicPr>
                      <p:cNvPr id="3" name="Object 2" hidden="1">
                        <a:extLst>
                          <a:ext uri="{FF2B5EF4-FFF2-40B4-BE49-F238E27FC236}">
                            <a16:creationId xmlns:a16="http://schemas.microsoft.com/office/drawing/2014/main" id="{C18526C9-16E3-4A1D-828A-4692734F055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B2B384D-A05A-4439-838E-B66DA57DCB38}"/>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Verdana" panose="020B0604030504040204" pitchFamily="34" charset="0"/>
              <a:ea typeface="+mj-ea"/>
              <a:cs typeface="+mj-cs"/>
              <a:sym typeface="Verdana" panose="020B0604030504040204" pitchFamily="34" charset="0"/>
            </a:endParaRPr>
          </a:p>
        </p:txBody>
      </p:sp>
      <p:sp>
        <p:nvSpPr>
          <p:cNvPr id="15" name="Marcador de texto 2">
            <a:extLst>
              <a:ext uri="{FF2B5EF4-FFF2-40B4-BE49-F238E27FC236}">
                <a16:creationId xmlns:a16="http://schemas.microsoft.com/office/drawing/2014/main" id="{B0631F3F-D69C-4938-9C2D-8DBA1DF60BB1}"/>
              </a:ext>
            </a:extLst>
          </p:cNvPr>
          <p:cNvSpPr>
            <a:spLocks noGrp="1"/>
          </p:cNvSpPr>
          <p:nvPr>
            <p:ph type="body" idx="10" hasCustomPrompt="1"/>
          </p:nvPr>
        </p:nvSpPr>
        <p:spPr>
          <a:xfrm>
            <a:off x="368791" y="722639"/>
            <a:ext cx="5339118" cy="324000"/>
          </a:xfrm>
          <a:prstGeom prst="rect">
            <a:avLst/>
          </a:prstGeom>
        </p:spPr>
        <p:txBody>
          <a:bodyPr lIns="0" tIns="0" rIns="0" bIns="0" anchor="t"/>
          <a:lstStyle>
            <a:lvl1pPr marL="0" indent="0">
              <a:lnSpc>
                <a:spcPct val="100000"/>
              </a:lnSpc>
              <a:spcBef>
                <a:spcPts val="0"/>
              </a:spcBef>
              <a:buNone/>
              <a:defRPr sz="2000" b="0">
                <a:solidFill>
                  <a:srgbClr val="000000"/>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err="1"/>
              <a:t>Subtitle</a:t>
            </a:r>
            <a:endParaRPr lang="es-ES" dirty="0"/>
          </a:p>
        </p:txBody>
      </p:sp>
      <p:sp>
        <p:nvSpPr>
          <p:cNvPr id="8" name="Text Placeholder 7">
            <a:extLst>
              <a:ext uri="{FF2B5EF4-FFF2-40B4-BE49-F238E27FC236}">
                <a16:creationId xmlns:a16="http://schemas.microsoft.com/office/drawing/2014/main" id="{3A15B74D-3758-47B9-82C3-FFA884FCE23F}"/>
              </a:ext>
            </a:extLst>
          </p:cNvPr>
          <p:cNvSpPr>
            <a:spLocks noGrp="1"/>
          </p:cNvSpPr>
          <p:nvPr>
            <p:ph type="body" sz="quarter" idx="18"/>
          </p:nvPr>
        </p:nvSpPr>
        <p:spPr>
          <a:xfrm>
            <a:off x="371475" y="1396800"/>
            <a:ext cx="5337528" cy="2032200"/>
          </a:xfrm>
        </p:spPr>
        <p:txBody>
          <a:bodyPr/>
          <a:lstStyle>
            <a:lvl1pPr>
              <a:defRPr sz="1400"/>
            </a:lvl1pPr>
          </a:lstStyle>
          <a:p>
            <a:pPr lvl="0"/>
            <a:r>
              <a:rPr lang="en-US" dirty="0"/>
              <a:t>Click to edit Master text styles</a:t>
            </a:r>
          </a:p>
        </p:txBody>
      </p:sp>
      <p:sp>
        <p:nvSpPr>
          <p:cNvPr id="18" name="CuadroTexto 64">
            <a:extLst>
              <a:ext uri="{FF2B5EF4-FFF2-40B4-BE49-F238E27FC236}">
                <a16:creationId xmlns:a16="http://schemas.microsoft.com/office/drawing/2014/main" id="{7EEFB272-44BD-4440-81FD-B5BE8200048F}"/>
              </a:ext>
            </a:extLst>
          </p:cNvPr>
          <p:cNvSpPr txBox="1"/>
          <p:nvPr userDrawn="1"/>
        </p:nvSpPr>
        <p:spPr>
          <a:xfrm>
            <a:off x="10882303" y="6449284"/>
            <a:ext cx="936214" cy="138499"/>
          </a:xfrm>
          <a:prstGeom prst="rect">
            <a:avLst/>
          </a:prstGeom>
          <a:noFill/>
        </p:spPr>
        <p:txBody>
          <a:bodyPr wrap="square" lIns="0" tIns="0" rIns="0" bIns="0" rtlCol="0">
            <a:spAutoFit/>
          </a:bodyPr>
          <a:lstStyle/>
          <a:p>
            <a:pPr algn="r"/>
            <a:fld id="{A4EEDD72-1D6A-6B46-BCFA-C211F73E9379}" type="slidenum">
              <a:rPr lang="es-ES" sz="900" b="1" smtClean="0">
                <a:solidFill>
                  <a:schemeClr val="accent1"/>
                </a:solidFill>
                <a:latin typeface="+mj-lt"/>
                <a:ea typeface="Verdana" panose="020B0604030504040204" pitchFamily="34" charset="0"/>
                <a:cs typeface="Verdana" panose="020B0604030504040204" pitchFamily="34" charset="0"/>
              </a:rPr>
              <a:pPr algn="r"/>
              <a:t>‹N›</a:t>
            </a:fld>
            <a:endParaRPr lang="es-ES" sz="900" b="1" dirty="0">
              <a:solidFill>
                <a:schemeClr val="accent1"/>
              </a:solidFill>
              <a:latin typeface="+mj-lt"/>
              <a:ea typeface="Verdana" panose="020B0604030504040204" pitchFamily="34" charset="0"/>
              <a:cs typeface="Verdana" panose="020B0604030504040204" pitchFamily="34" charset="0"/>
            </a:endParaRPr>
          </a:p>
        </p:txBody>
      </p:sp>
      <p:sp>
        <p:nvSpPr>
          <p:cNvPr id="9" name="Title 8">
            <a:extLst>
              <a:ext uri="{FF2B5EF4-FFF2-40B4-BE49-F238E27FC236}">
                <a16:creationId xmlns:a16="http://schemas.microsoft.com/office/drawing/2014/main" id="{965B48A6-C16F-42F8-ABA4-E292AD3ADAB5}"/>
              </a:ext>
            </a:extLst>
          </p:cNvPr>
          <p:cNvSpPr>
            <a:spLocks noGrp="1"/>
          </p:cNvSpPr>
          <p:nvPr>
            <p:ph type="title"/>
          </p:nvPr>
        </p:nvSpPr>
        <p:spPr>
          <a:xfrm>
            <a:off x="367201" y="252000"/>
            <a:ext cx="5339118" cy="432000"/>
          </a:xfrm>
        </p:spPr>
        <p:txBody>
          <a:bodyPr/>
          <a:lstStyle/>
          <a:p>
            <a:r>
              <a:rPr lang="en-US" dirty="0"/>
              <a:t>Click to edit Master title style</a:t>
            </a:r>
          </a:p>
        </p:txBody>
      </p:sp>
      <p:pic>
        <p:nvPicPr>
          <p:cNvPr id="21" name="Graphic 10">
            <a:extLst>
              <a:ext uri="{FF2B5EF4-FFF2-40B4-BE49-F238E27FC236}">
                <a16:creationId xmlns:a16="http://schemas.microsoft.com/office/drawing/2014/main" id="{B6011187-AA8E-452B-973C-511891D6AD7A}"/>
              </a:ext>
            </a:extLst>
          </p:cNvPr>
          <p:cNvPicPr>
            <a:picLocks noChangeAspect="1"/>
          </p:cNvPicPr>
          <p:nvPr userDrawn="1"/>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70517" y="6420188"/>
            <a:ext cx="675863" cy="162467"/>
          </a:xfrm>
          <a:prstGeom prst="rect">
            <a:avLst/>
          </a:prstGeom>
        </p:spPr>
      </p:pic>
      <p:sp>
        <p:nvSpPr>
          <p:cNvPr id="10" name="Picture Placeholder 9">
            <a:extLst>
              <a:ext uri="{FF2B5EF4-FFF2-40B4-BE49-F238E27FC236}">
                <a16:creationId xmlns:a16="http://schemas.microsoft.com/office/drawing/2014/main" id="{4E88ABC6-3508-45D7-B3BD-99157607BE6B}"/>
              </a:ext>
            </a:extLst>
          </p:cNvPr>
          <p:cNvSpPr>
            <a:spLocks noGrp="1"/>
          </p:cNvSpPr>
          <p:nvPr>
            <p:ph type="pic" sz="quarter" idx="19"/>
          </p:nvPr>
        </p:nvSpPr>
        <p:spPr>
          <a:xfrm>
            <a:off x="6096001" y="1393825"/>
            <a:ext cx="5724524" cy="4757738"/>
          </a:xfrm>
        </p:spPr>
        <p:txBody>
          <a:bodyPr/>
          <a:lstStyle/>
          <a:p>
            <a:endParaRPr lang="en-US" dirty="0"/>
          </a:p>
        </p:txBody>
      </p:sp>
      <p:sp>
        <p:nvSpPr>
          <p:cNvPr id="24" name="Footer Placeholder 4">
            <a:extLst>
              <a:ext uri="{FF2B5EF4-FFF2-40B4-BE49-F238E27FC236}">
                <a16:creationId xmlns:a16="http://schemas.microsoft.com/office/drawing/2014/main" id="{08E995EF-CD4B-44D3-8287-87982ACEC439}"/>
              </a:ext>
            </a:extLst>
          </p:cNvPr>
          <p:cNvSpPr txBox="1"/>
          <p:nvPr userDrawn="1"/>
        </p:nvSpPr>
        <p:spPr>
          <a:xfrm>
            <a:off x="5361433" y="6449284"/>
            <a:ext cx="1475068" cy="133372"/>
          </a:xfrm>
          <a:prstGeom prst="rect">
            <a:avLst/>
          </a:prstGeom>
        </p:spPr>
        <p:txBody>
          <a:bodyPr vert="horz" lIns="0" tIns="0" rIns="0" bIns="0" rtlCol="0" anchor="t" anchorCtr="0">
            <a:noAutofit/>
          </a:bodyPr>
          <a:lstStyle>
            <a:defPPr>
              <a:defRPr lang="es-ES"/>
            </a:defPPr>
            <a:lvl1pPr marL="0" algn="l" defTabSz="914400" rtl="0" eaLnBrk="1" latinLnBrk="0" hangingPunct="1">
              <a:defRPr sz="9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dirty="0">
                <a:solidFill>
                  <a:schemeClr val="tx2"/>
                </a:solidFill>
                <a:ea typeface="Arial" charset="0"/>
                <a:cs typeface="Arial" charset="0"/>
              </a:rPr>
              <a:t>Adecco.com</a:t>
            </a:r>
          </a:p>
        </p:txBody>
      </p:sp>
      <p:sp>
        <p:nvSpPr>
          <p:cNvPr id="22" name="Text Placeholder 7">
            <a:extLst>
              <a:ext uri="{FF2B5EF4-FFF2-40B4-BE49-F238E27FC236}">
                <a16:creationId xmlns:a16="http://schemas.microsoft.com/office/drawing/2014/main" id="{ACDAEB77-60F5-4294-ACBA-811CBB4788E8}"/>
              </a:ext>
            </a:extLst>
          </p:cNvPr>
          <p:cNvSpPr>
            <a:spLocks noGrp="1"/>
          </p:cNvSpPr>
          <p:nvPr>
            <p:ph type="body" sz="quarter" idx="23"/>
          </p:nvPr>
        </p:nvSpPr>
        <p:spPr>
          <a:xfrm>
            <a:off x="372570" y="3893946"/>
            <a:ext cx="5337528" cy="2032200"/>
          </a:xfrm>
        </p:spPr>
        <p:txBody>
          <a:bodyPr/>
          <a:lstStyle>
            <a:lvl1pPr>
              <a:defRPr sz="3600">
                <a:solidFill>
                  <a:schemeClr val="accent1"/>
                </a:solidFill>
              </a:defRPr>
            </a:lvl1pPr>
          </a:lstStyle>
          <a:p>
            <a:pPr lvl="0"/>
            <a:r>
              <a:rPr lang="en-US" dirty="0"/>
              <a:t>Click to edit Master text styles</a:t>
            </a:r>
          </a:p>
        </p:txBody>
      </p:sp>
      <p:sp>
        <p:nvSpPr>
          <p:cNvPr id="16" name="Rectangle 15">
            <a:extLst>
              <a:ext uri="{FF2B5EF4-FFF2-40B4-BE49-F238E27FC236}">
                <a16:creationId xmlns:a16="http://schemas.microsoft.com/office/drawing/2014/main" id="{4F6CD0F3-9297-4171-88D4-FF68E7AB1E03}"/>
              </a:ext>
            </a:extLst>
          </p:cNvPr>
          <p:cNvSpPr/>
          <p:nvPr userDrawn="1"/>
        </p:nvSpPr>
        <p:spPr>
          <a:xfrm>
            <a:off x="3051745"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7" name="Rectangle 16">
            <a:extLst>
              <a:ext uri="{FF2B5EF4-FFF2-40B4-BE49-F238E27FC236}">
                <a16:creationId xmlns:a16="http://schemas.microsoft.com/office/drawing/2014/main" id="{324E088A-3691-4AFA-ACE1-A7DAA5B46439}"/>
              </a:ext>
            </a:extLst>
          </p:cNvPr>
          <p:cNvSpPr/>
          <p:nvPr userDrawn="1"/>
        </p:nvSpPr>
        <p:spPr>
          <a:xfrm>
            <a:off x="7490"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0" name="Rectangle 19">
            <a:extLst>
              <a:ext uri="{FF2B5EF4-FFF2-40B4-BE49-F238E27FC236}">
                <a16:creationId xmlns:a16="http://schemas.microsoft.com/office/drawing/2014/main" id="{3C22BE30-F3FB-4420-9314-31634F09A6A4}"/>
              </a:ext>
            </a:extLst>
          </p:cNvPr>
          <p:cNvSpPr/>
          <p:nvPr userDrawn="1"/>
        </p:nvSpPr>
        <p:spPr>
          <a:xfrm>
            <a:off x="9149414"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5" name="Rectangle 24">
            <a:extLst>
              <a:ext uri="{FF2B5EF4-FFF2-40B4-BE49-F238E27FC236}">
                <a16:creationId xmlns:a16="http://schemas.microsoft.com/office/drawing/2014/main" id="{A2C63D8A-46C9-4654-87D7-51E8D1C538E1}"/>
              </a:ext>
            </a:extLst>
          </p:cNvPr>
          <p:cNvSpPr/>
          <p:nvPr userDrawn="1"/>
        </p:nvSpPr>
        <p:spPr>
          <a:xfrm>
            <a:off x="6105159"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Tree>
    <p:extLst>
      <p:ext uri="{BB962C8B-B14F-4D97-AF65-F5344CB8AC3E}">
        <p14:creationId xmlns:p14="http://schemas.microsoft.com/office/powerpoint/2010/main" val="237160033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Text 3/4 lef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A9625F9-D0F7-4F1D-9E75-EFCBE6D108E0}"/>
              </a:ext>
            </a:extLst>
          </p:cNvPr>
          <p:cNvGraphicFramePr>
            <a:graphicFrameLocks noChangeAspect="1"/>
          </p:cNvGraphicFramePr>
          <p:nvPr userDrawn="1">
            <p:custDataLst>
              <p:tags r:id="rId2"/>
            </p:custDataLst>
            <p:extLst>
              <p:ext uri="{D42A27DB-BD31-4B8C-83A1-F6EECF244321}">
                <p14:modId xmlns:p14="http://schemas.microsoft.com/office/powerpoint/2010/main" val="33000297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44" name="think-cell Slide" r:id="rId5" imgW="473" imgH="474" progId="TCLayout.ActiveDocument.1">
                  <p:embed/>
                </p:oleObj>
              </mc:Choice>
              <mc:Fallback>
                <p:oleObj name="think-cell Slide" r:id="rId5" imgW="473" imgH="474" progId="TCLayout.ActiveDocument.1">
                  <p:embed/>
                  <p:pic>
                    <p:nvPicPr>
                      <p:cNvPr id="3" name="Object 2" hidden="1">
                        <a:extLst>
                          <a:ext uri="{FF2B5EF4-FFF2-40B4-BE49-F238E27FC236}">
                            <a16:creationId xmlns:a16="http://schemas.microsoft.com/office/drawing/2014/main" id="{AA9625F9-D0F7-4F1D-9E75-EFCBE6D108E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717818D-03D3-4088-B4F5-5C9036181D9B}"/>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Verdana" panose="020B0604030504040204" pitchFamily="34" charset="0"/>
              <a:ea typeface="+mj-ea"/>
              <a:cs typeface="+mj-cs"/>
              <a:sym typeface="Verdana" panose="020B0604030504040204" pitchFamily="34" charset="0"/>
            </a:endParaRPr>
          </a:p>
        </p:txBody>
      </p:sp>
      <p:sp>
        <p:nvSpPr>
          <p:cNvPr id="2" name="Rectángulo 1">
            <a:extLst>
              <a:ext uri="{FF2B5EF4-FFF2-40B4-BE49-F238E27FC236}">
                <a16:creationId xmlns:a16="http://schemas.microsoft.com/office/drawing/2014/main" id="{BF29E734-210D-BC45-815B-FC427C40A195}"/>
              </a:ext>
            </a:extLst>
          </p:cNvPr>
          <p:cNvSpPr/>
          <p:nvPr userDrawn="1"/>
        </p:nvSpPr>
        <p:spPr>
          <a:xfrm>
            <a:off x="8435975" y="0"/>
            <a:ext cx="3756025" cy="6858000"/>
          </a:xfrm>
          <a:prstGeom prst="rect">
            <a:avLst/>
          </a:prstGeom>
          <a:gradFill flip="none" rotWithShape="1">
            <a:gsLst>
              <a:gs pos="0">
                <a:schemeClr val="accent1"/>
              </a:gs>
              <a:gs pos="100000">
                <a:schemeClr val="accent2"/>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accent4"/>
              </a:solidFill>
            </a:endParaRPr>
          </a:p>
        </p:txBody>
      </p:sp>
      <p:sp>
        <p:nvSpPr>
          <p:cNvPr id="7" name="Rectángulo 6">
            <a:extLst>
              <a:ext uri="{FF2B5EF4-FFF2-40B4-BE49-F238E27FC236}">
                <a16:creationId xmlns:a16="http://schemas.microsoft.com/office/drawing/2014/main" id="{7FA79601-6D75-134E-BA64-A5A7233E509E}"/>
              </a:ext>
            </a:extLst>
          </p:cNvPr>
          <p:cNvSpPr/>
          <p:nvPr userDrawn="1"/>
        </p:nvSpPr>
        <p:spPr>
          <a:xfrm>
            <a:off x="8168715" y="5919790"/>
            <a:ext cx="267260" cy="9382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5" name="Marcador de texto 2">
            <a:extLst>
              <a:ext uri="{FF2B5EF4-FFF2-40B4-BE49-F238E27FC236}">
                <a16:creationId xmlns:a16="http://schemas.microsoft.com/office/drawing/2014/main" id="{B0631F3F-D69C-4938-9C2D-8DBA1DF60BB1}"/>
              </a:ext>
            </a:extLst>
          </p:cNvPr>
          <p:cNvSpPr>
            <a:spLocks noGrp="1"/>
          </p:cNvSpPr>
          <p:nvPr>
            <p:ph type="body" idx="10" hasCustomPrompt="1"/>
          </p:nvPr>
        </p:nvSpPr>
        <p:spPr>
          <a:xfrm>
            <a:off x="368791" y="722639"/>
            <a:ext cx="7776000" cy="324000"/>
          </a:xfrm>
          <a:prstGeom prst="rect">
            <a:avLst/>
          </a:prstGeom>
        </p:spPr>
        <p:txBody>
          <a:bodyPr lIns="0" tIns="0" rIns="0" bIns="0" anchor="t"/>
          <a:lstStyle>
            <a:lvl1pPr marL="0" indent="0">
              <a:lnSpc>
                <a:spcPct val="100000"/>
              </a:lnSpc>
              <a:spcBef>
                <a:spcPts val="0"/>
              </a:spcBef>
              <a:buNone/>
              <a:defRPr sz="2000" b="0">
                <a:solidFill>
                  <a:srgbClr val="000000"/>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err="1"/>
              <a:t>Subtitle</a:t>
            </a:r>
            <a:endParaRPr lang="es-ES" dirty="0"/>
          </a:p>
        </p:txBody>
      </p:sp>
      <p:sp>
        <p:nvSpPr>
          <p:cNvPr id="8" name="Text Placeholder 7">
            <a:extLst>
              <a:ext uri="{FF2B5EF4-FFF2-40B4-BE49-F238E27FC236}">
                <a16:creationId xmlns:a16="http://schemas.microsoft.com/office/drawing/2014/main" id="{83671ED8-253E-42AD-9321-DDBCD673C4E4}"/>
              </a:ext>
            </a:extLst>
          </p:cNvPr>
          <p:cNvSpPr>
            <a:spLocks noGrp="1"/>
          </p:cNvSpPr>
          <p:nvPr>
            <p:ph type="body" sz="quarter" idx="12"/>
          </p:nvPr>
        </p:nvSpPr>
        <p:spPr>
          <a:xfrm>
            <a:off x="368791" y="1396800"/>
            <a:ext cx="7776000" cy="4752000"/>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2" name="Graphic 10">
            <a:extLst>
              <a:ext uri="{FF2B5EF4-FFF2-40B4-BE49-F238E27FC236}">
                <a16:creationId xmlns:a16="http://schemas.microsoft.com/office/drawing/2014/main" id="{8485A29C-6C7F-4158-83E0-BF313911FC57}"/>
              </a:ext>
            </a:extLst>
          </p:cNvPr>
          <p:cNvPicPr>
            <a:picLocks noChangeAspect="1"/>
          </p:cNvPicPr>
          <p:nvPr userDrawn="1"/>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70517" y="6420188"/>
            <a:ext cx="675863" cy="162467"/>
          </a:xfrm>
          <a:prstGeom prst="rect">
            <a:avLst/>
          </a:prstGeom>
        </p:spPr>
      </p:pic>
      <p:sp>
        <p:nvSpPr>
          <p:cNvPr id="5" name="Title 4">
            <a:extLst>
              <a:ext uri="{FF2B5EF4-FFF2-40B4-BE49-F238E27FC236}">
                <a16:creationId xmlns:a16="http://schemas.microsoft.com/office/drawing/2014/main" id="{B76B55EC-5CB2-4B0C-A95A-57651D762CD0}"/>
              </a:ext>
            </a:extLst>
          </p:cNvPr>
          <p:cNvSpPr>
            <a:spLocks noGrp="1"/>
          </p:cNvSpPr>
          <p:nvPr>
            <p:ph type="title"/>
          </p:nvPr>
        </p:nvSpPr>
        <p:spPr>
          <a:xfrm>
            <a:off x="367200" y="252000"/>
            <a:ext cx="7776000" cy="432000"/>
          </a:xfrm>
        </p:spPr>
        <p:txBody>
          <a:bodyPr/>
          <a:lstStyle/>
          <a:p>
            <a:r>
              <a:rPr lang="en-US"/>
              <a:t>Click to edit Master title style</a:t>
            </a:r>
          </a:p>
        </p:txBody>
      </p:sp>
      <p:sp>
        <p:nvSpPr>
          <p:cNvPr id="16" name="Footer Placeholder 4">
            <a:extLst>
              <a:ext uri="{FF2B5EF4-FFF2-40B4-BE49-F238E27FC236}">
                <a16:creationId xmlns:a16="http://schemas.microsoft.com/office/drawing/2014/main" id="{4943F093-CB74-4794-87AE-3A4947D0B4BE}"/>
              </a:ext>
            </a:extLst>
          </p:cNvPr>
          <p:cNvSpPr txBox="1"/>
          <p:nvPr userDrawn="1"/>
        </p:nvSpPr>
        <p:spPr>
          <a:xfrm>
            <a:off x="5361433" y="6449284"/>
            <a:ext cx="1475068" cy="133372"/>
          </a:xfrm>
          <a:prstGeom prst="rect">
            <a:avLst/>
          </a:prstGeom>
        </p:spPr>
        <p:txBody>
          <a:bodyPr vert="horz" lIns="0" tIns="0" rIns="0" bIns="0" rtlCol="0" anchor="t" anchorCtr="0">
            <a:noAutofit/>
          </a:bodyPr>
          <a:lstStyle>
            <a:defPPr>
              <a:defRPr lang="es-ES"/>
            </a:defPPr>
            <a:lvl1pPr marL="0" algn="l" defTabSz="914400" rtl="0" eaLnBrk="1" latinLnBrk="0" hangingPunct="1">
              <a:defRPr sz="9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dirty="0">
                <a:solidFill>
                  <a:schemeClr val="tx2"/>
                </a:solidFill>
                <a:ea typeface="Arial" charset="0"/>
                <a:cs typeface="Arial" charset="0"/>
              </a:rPr>
              <a:t>Adecco.com</a:t>
            </a:r>
          </a:p>
        </p:txBody>
      </p:sp>
      <p:sp>
        <p:nvSpPr>
          <p:cNvPr id="13" name="Rectangle 12">
            <a:extLst>
              <a:ext uri="{FF2B5EF4-FFF2-40B4-BE49-F238E27FC236}">
                <a16:creationId xmlns:a16="http://schemas.microsoft.com/office/drawing/2014/main" id="{36053548-D07B-454B-8A34-644179666B86}"/>
              </a:ext>
            </a:extLst>
          </p:cNvPr>
          <p:cNvSpPr/>
          <p:nvPr userDrawn="1"/>
        </p:nvSpPr>
        <p:spPr>
          <a:xfrm>
            <a:off x="3051745"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4" name="Rectangle 13">
            <a:extLst>
              <a:ext uri="{FF2B5EF4-FFF2-40B4-BE49-F238E27FC236}">
                <a16:creationId xmlns:a16="http://schemas.microsoft.com/office/drawing/2014/main" id="{9AD687B1-549A-4C04-927A-286C11313354}"/>
              </a:ext>
            </a:extLst>
          </p:cNvPr>
          <p:cNvSpPr/>
          <p:nvPr userDrawn="1"/>
        </p:nvSpPr>
        <p:spPr>
          <a:xfrm>
            <a:off x="7490"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7" name="Rectangle 16">
            <a:extLst>
              <a:ext uri="{FF2B5EF4-FFF2-40B4-BE49-F238E27FC236}">
                <a16:creationId xmlns:a16="http://schemas.microsoft.com/office/drawing/2014/main" id="{29CF0281-0D51-4053-8D2A-88AEF1574694}"/>
              </a:ext>
            </a:extLst>
          </p:cNvPr>
          <p:cNvSpPr/>
          <p:nvPr userDrawn="1"/>
        </p:nvSpPr>
        <p:spPr>
          <a:xfrm>
            <a:off x="9149414"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9" name="Rectangle 18">
            <a:extLst>
              <a:ext uri="{FF2B5EF4-FFF2-40B4-BE49-F238E27FC236}">
                <a16:creationId xmlns:a16="http://schemas.microsoft.com/office/drawing/2014/main" id="{755906FE-9900-4E38-AEB1-EFFDFB52CE5B}"/>
              </a:ext>
            </a:extLst>
          </p:cNvPr>
          <p:cNvSpPr/>
          <p:nvPr userDrawn="1"/>
        </p:nvSpPr>
        <p:spPr>
          <a:xfrm>
            <a:off x="6105159"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0" name="CuadroTexto 64">
            <a:extLst>
              <a:ext uri="{FF2B5EF4-FFF2-40B4-BE49-F238E27FC236}">
                <a16:creationId xmlns:a16="http://schemas.microsoft.com/office/drawing/2014/main" id="{E298BD46-FCA7-42C3-9657-3598633C0085}"/>
              </a:ext>
            </a:extLst>
          </p:cNvPr>
          <p:cNvSpPr txBox="1"/>
          <p:nvPr userDrawn="1"/>
        </p:nvSpPr>
        <p:spPr>
          <a:xfrm>
            <a:off x="10882303" y="6449284"/>
            <a:ext cx="936214" cy="138499"/>
          </a:xfrm>
          <a:prstGeom prst="rect">
            <a:avLst/>
          </a:prstGeom>
          <a:noFill/>
        </p:spPr>
        <p:txBody>
          <a:bodyPr wrap="square" lIns="0" tIns="0" rIns="0" bIns="0" rtlCol="0">
            <a:spAutoFit/>
          </a:bodyPr>
          <a:lstStyle/>
          <a:p>
            <a:pPr algn="r"/>
            <a:fld id="{A4EEDD72-1D6A-6B46-BCFA-C211F73E9379}" type="slidenum">
              <a:rPr lang="es-ES" sz="900" b="1" smtClean="0">
                <a:solidFill>
                  <a:srgbClr val="FFFFFF"/>
                </a:solidFill>
                <a:latin typeface="+mj-lt"/>
                <a:ea typeface="Verdana" panose="020B0604030504040204" pitchFamily="34" charset="0"/>
                <a:cs typeface="Verdana" panose="020B0604030504040204" pitchFamily="34" charset="0"/>
              </a:rPr>
              <a:pPr algn="r"/>
              <a:t>‹N›</a:t>
            </a:fld>
            <a:endParaRPr lang="es-ES" sz="900" b="1" dirty="0">
              <a:solidFill>
                <a:srgbClr val="FFFFFF"/>
              </a:solidFill>
              <a:latin typeface="+mj-lt"/>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205897716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Text 3/4 left with Pictur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18526C9-16E3-4A1D-828A-4692734F055E}"/>
              </a:ext>
            </a:extLst>
          </p:cNvPr>
          <p:cNvGraphicFramePr>
            <a:graphicFrameLocks noChangeAspect="1"/>
          </p:cNvGraphicFramePr>
          <p:nvPr userDrawn="1">
            <p:custDataLst>
              <p:tags r:id="rId2"/>
            </p:custDataLst>
            <p:extLst>
              <p:ext uri="{D42A27DB-BD31-4B8C-83A1-F6EECF244321}">
                <p14:modId xmlns:p14="http://schemas.microsoft.com/office/powerpoint/2010/main" val="4546990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468" name="think-cell Slide" r:id="rId5" imgW="473" imgH="474" progId="TCLayout.ActiveDocument.1">
                  <p:embed/>
                </p:oleObj>
              </mc:Choice>
              <mc:Fallback>
                <p:oleObj name="think-cell Slide" r:id="rId5" imgW="473" imgH="474" progId="TCLayout.ActiveDocument.1">
                  <p:embed/>
                  <p:pic>
                    <p:nvPicPr>
                      <p:cNvPr id="3" name="Object 2" hidden="1">
                        <a:extLst>
                          <a:ext uri="{FF2B5EF4-FFF2-40B4-BE49-F238E27FC236}">
                            <a16:creationId xmlns:a16="http://schemas.microsoft.com/office/drawing/2014/main" id="{C18526C9-16E3-4A1D-828A-4692734F055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B2B384D-A05A-4439-838E-B66DA57DCB38}"/>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Verdana" panose="020B0604030504040204" pitchFamily="34" charset="0"/>
              <a:ea typeface="+mj-ea"/>
              <a:cs typeface="+mj-cs"/>
              <a:sym typeface="Verdana" panose="020B0604030504040204" pitchFamily="34" charset="0"/>
            </a:endParaRPr>
          </a:p>
        </p:txBody>
      </p:sp>
      <p:sp>
        <p:nvSpPr>
          <p:cNvPr id="2" name="Rectángulo 1">
            <a:extLst>
              <a:ext uri="{FF2B5EF4-FFF2-40B4-BE49-F238E27FC236}">
                <a16:creationId xmlns:a16="http://schemas.microsoft.com/office/drawing/2014/main" id="{BF29E734-210D-BC45-815B-FC427C40A195}"/>
              </a:ext>
            </a:extLst>
          </p:cNvPr>
          <p:cNvSpPr/>
          <p:nvPr userDrawn="1"/>
        </p:nvSpPr>
        <p:spPr>
          <a:xfrm>
            <a:off x="8435975" y="0"/>
            <a:ext cx="3756025" cy="6858000"/>
          </a:xfrm>
          <a:prstGeom prst="rect">
            <a:avLst/>
          </a:prstGeom>
          <a:gradFill>
            <a:gsLst>
              <a:gs pos="0">
                <a:schemeClr val="accent1"/>
              </a:gs>
              <a:gs pos="100000">
                <a:schemeClr val="accent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accent4"/>
              </a:solidFill>
            </a:endParaRPr>
          </a:p>
        </p:txBody>
      </p:sp>
      <p:sp>
        <p:nvSpPr>
          <p:cNvPr id="15" name="Marcador de texto 2">
            <a:extLst>
              <a:ext uri="{FF2B5EF4-FFF2-40B4-BE49-F238E27FC236}">
                <a16:creationId xmlns:a16="http://schemas.microsoft.com/office/drawing/2014/main" id="{B0631F3F-D69C-4938-9C2D-8DBA1DF60BB1}"/>
              </a:ext>
            </a:extLst>
          </p:cNvPr>
          <p:cNvSpPr>
            <a:spLocks noGrp="1"/>
          </p:cNvSpPr>
          <p:nvPr>
            <p:ph type="body" idx="10" hasCustomPrompt="1"/>
          </p:nvPr>
        </p:nvSpPr>
        <p:spPr>
          <a:xfrm>
            <a:off x="368791" y="722639"/>
            <a:ext cx="7776000" cy="324000"/>
          </a:xfrm>
          <a:prstGeom prst="rect">
            <a:avLst/>
          </a:prstGeom>
        </p:spPr>
        <p:txBody>
          <a:bodyPr lIns="0" tIns="0" rIns="0" bIns="0" anchor="t"/>
          <a:lstStyle>
            <a:lvl1pPr marL="0" indent="0">
              <a:lnSpc>
                <a:spcPct val="100000"/>
              </a:lnSpc>
              <a:spcBef>
                <a:spcPts val="0"/>
              </a:spcBef>
              <a:buNone/>
              <a:defRPr sz="2000" b="0">
                <a:solidFill>
                  <a:srgbClr val="000000"/>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err="1"/>
              <a:t>Subtitle</a:t>
            </a:r>
            <a:endParaRPr lang="es-ES" dirty="0"/>
          </a:p>
        </p:txBody>
      </p:sp>
      <p:sp>
        <p:nvSpPr>
          <p:cNvPr id="8" name="Text Placeholder 7">
            <a:extLst>
              <a:ext uri="{FF2B5EF4-FFF2-40B4-BE49-F238E27FC236}">
                <a16:creationId xmlns:a16="http://schemas.microsoft.com/office/drawing/2014/main" id="{3A15B74D-3758-47B9-82C3-FFA884FCE23F}"/>
              </a:ext>
            </a:extLst>
          </p:cNvPr>
          <p:cNvSpPr>
            <a:spLocks noGrp="1"/>
          </p:cNvSpPr>
          <p:nvPr>
            <p:ph type="body" sz="quarter" idx="18"/>
          </p:nvPr>
        </p:nvSpPr>
        <p:spPr>
          <a:xfrm>
            <a:off x="368791" y="1396800"/>
            <a:ext cx="7776000" cy="4752000"/>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8">
            <a:extLst>
              <a:ext uri="{FF2B5EF4-FFF2-40B4-BE49-F238E27FC236}">
                <a16:creationId xmlns:a16="http://schemas.microsoft.com/office/drawing/2014/main" id="{965B48A6-C16F-42F8-ABA4-E292AD3ADAB5}"/>
              </a:ext>
            </a:extLst>
          </p:cNvPr>
          <p:cNvSpPr>
            <a:spLocks noGrp="1"/>
          </p:cNvSpPr>
          <p:nvPr>
            <p:ph type="title"/>
          </p:nvPr>
        </p:nvSpPr>
        <p:spPr>
          <a:xfrm>
            <a:off x="367201" y="252000"/>
            <a:ext cx="7776000" cy="432000"/>
          </a:xfrm>
        </p:spPr>
        <p:txBody>
          <a:bodyPr/>
          <a:lstStyle/>
          <a:p>
            <a:r>
              <a:rPr lang="en-US"/>
              <a:t>Click to edit Master title style</a:t>
            </a:r>
          </a:p>
        </p:txBody>
      </p:sp>
      <p:pic>
        <p:nvPicPr>
          <p:cNvPr id="21" name="Graphic 10">
            <a:extLst>
              <a:ext uri="{FF2B5EF4-FFF2-40B4-BE49-F238E27FC236}">
                <a16:creationId xmlns:a16="http://schemas.microsoft.com/office/drawing/2014/main" id="{B6011187-AA8E-452B-973C-511891D6AD7A}"/>
              </a:ext>
            </a:extLst>
          </p:cNvPr>
          <p:cNvPicPr>
            <a:picLocks noChangeAspect="1"/>
          </p:cNvPicPr>
          <p:nvPr userDrawn="1"/>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70517" y="6420188"/>
            <a:ext cx="675863" cy="162467"/>
          </a:xfrm>
          <a:prstGeom prst="rect">
            <a:avLst/>
          </a:prstGeom>
        </p:spPr>
      </p:pic>
      <p:sp>
        <p:nvSpPr>
          <p:cNvPr id="24" name="Marcador de posición de imagen 2">
            <a:extLst>
              <a:ext uri="{FF2B5EF4-FFF2-40B4-BE49-F238E27FC236}">
                <a16:creationId xmlns:a16="http://schemas.microsoft.com/office/drawing/2014/main" id="{263E57D1-5D12-4810-ABBA-4AD821FCD289}"/>
              </a:ext>
            </a:extLst>
          </p:cNvPr>
          <p:cNvSpPr>
            <a:spLocks noGrp="1"/>
          </p:cNvSpPr>
          <p:nvPr>
            <p:ph type="pic" sz="quarter" idx="12" hasCustomPrompt="1"/>
          </p:nvPr>
        </p:nvSpPr>
        <p:spPr>
          <a:xfrm>
            <a:off x="8437199" y="0"/>
            <a:ext cx="3756469" cy="6858000"/>
          </a:xfrm>
          <a:prstGeom prst="rect">
            <a:avLst/>
          </a:prstGeom>
        </p:spPr>
        <p:txBody>
          <a:bodyPr anchor="ctr"/>
          <a:lstStyle>
            <a:lvl1pPr marL="228600" marR="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a:solidFill>
                  <a:srgbClr val="FFFFFF"/>
                </a:solidFill>
              </a:defRPr>
            </a:lvl1pPr>
          </a:lstStyle>
          <a:p>
            <a:pPr marL="228600" marR="0" lvl="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Drag picture to placeholder </a:t>
            </a:r>
            <a:br>
              <a:rPr lang="en-US" dirty="0"/>
            </a:br>
            <a:r>
              <a:rPr lang="en-US" dirty="0"/>
              <a:t>or click icon to add</a:t>
            </a:r>
          </a:p>
        </p:txBody>
      </p:sp>
      <p:sp>
        <p:nvSpPr>
          <p:cNvPr id="14" name="Footer Placeholder 4">
            <a:extLst>
              <a:ext uri="{FF2B5EF4-FFF2-40B4-BE49-F238E27FC236}">
                <a16:creationId xmlns:a16="http://schemas.microsoft.com/office/drawing/2014/main" id="{28152A44-706F-4C30-AF33-CD2297C36935}"/>
              </a:ext>
            </a:extLst>
          </p:cNvPr>
          <p:cNvSpPr txBox="1"/>
          <p:nvPr userDrawn="1"/>
        </p:nvSpPr>
        <p:spPr>
          <a:xfrm>
            <a:off x="5361433" y="6449284"/>
            <a:ext cx="1475068" cy="133372"/>
          </a:xfrm>
          <a:prstGeom prst="rect">
            <a:avLst/>
          </a:prstGeom>
        </p:spPr>
        <p:txBody>
          <a:bodyPr vert="horz" lIns="0" tIns="0" rIns="0" bIns="0" rtlCol="0" anchor="t" anchorCtr="0">
            <a:noAutofit/>
          </a:bodyPr>
          <a:lstStyle>
            <a:defPPr>
              <a:defRPr lang="es-ES"/>
            </a:defPPr>
            <a:lvl1pPr marL="0" algn="l" defTabSz="914400" rtl="0" eaLnBrk="1" latinLnBrk="0" hangingPunct="1">
              <a:defRPr sz="9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dirty="0">
                <a:solidFill>
                  <a:schemeClr val="tx2"/>
                </a:solidFill>
                <a:ea typeface="Arial" charset="0"/>
                <a:cs typeface="Arial" charset="0"/>
              </a:rPr>
              <a:t>Adecco.com</a:t>
            </a:r>
          </a:p>
        </p:txBody>
      </p:sp>
      <p:sp>
        <p:nvSpPr>
          <p:cNvPr id="12" name="Rectangle 11">
            <a:extLst>
              <a:ext uri="{FF2B5EF4-FFF2-40B4-BE49-F238E27FC236}">
                <a16:creationId xmlns:a16="http://schemas.microsoft.com/office/drawing/2014/main" id="{56F7A454-C642-41A2-AD1E-F520445F3C2C}"/>
              </a:ext>
            </a:extLst>
          </p:cNvPr>
          <p:cNvSpPr/>
          <p:nvPr userDrawn="1"/>
        </p:nvSpPr>
        <p:spPr>
          <a:xfrm>
            <a:off x="3051745"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3" name="Rectangle 12">
            <a:extLst>
              <a:ext uri="{FF2B5EF4-FFF2-40B4-BE49-F238E27FC236}">
                <a16:creationId xmlns:a16="http://schemas.microsoft.com/office/drawing/2014/main" id="{C46C3FEB-C9C3-4BD5-BC0E-A736FAEE8406}"/>
              </a:ext>
            </a:extLst>
          </p:cNvPr>
          <p:cNvSpPr/>
          <p:nvPr userDrawn="1"/>
        </p:nvSpPr>
        <p:spPr>
          <a:xfrm>
            <a:off x="7490"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6" name="Rectangle 15">
            <a:extLst>
              <a:ext uri="{FF2B5EF4-FFF2-40B4-BE49-F238E27FC236}">
                <a16:creationId xmlns:a16="http://schemas.microsoft.com/office/drawing/2014/main" id="{E60373B8-D891-4249-9614-2E465CD87B49}"/>
              </a:ext>
            </a:extLst>
          </p:cNvPr>
          <p:cNvSpPr/>
          <p:nvPr userDrawn="1"/>
        </p:nvSpPr>
        <p:spPr>
          <a:xfrm>
            <a:off x="9149414"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7" name="Rectangle 16">
            <a:extLst>
              <a:ext uri="{FF2B5EF4-FFF2-40B4-BE49-F238E27FC236}">
                <a16:creationId xmlns:a16="http://schemas.microsoft.com/office/drawing/2014/main" id="{8A8AEE99-9209-4034-9BD9-159A7D3215CD}"/>
              </a:ext>
            </a:extLst>
          </p:cNvPr>
          <p:cNvSpPr/>
          <p:nvPr userDrawn="1"/>
        </p:nvSpPr>
        <p:spPr>
          <a:xfrm>
            <a:off x="6105159"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9" name="CuadroTexto 64">
            <a:extLst>
              <a:ext uri="{FF2B5EF4-FFF2-40B4-BE49-F238E27FC236}">
                <a16:creationId xmlns:a16="http://schemas.microsoft.com/office/drawing/2014/main" id="{0D24D440-B731-4577-B07C-3F9F484510FF}"/>
              </a:ext>
            </a:extLst>
          </p:cNvPr>
          <p:cNvSpPr txBox="1"/>
          <p:nvPr userDrawn="1"/>
        </p:nvSpPr>
        <p:spPr>
          <a:xfrm>
            <a:off x="10882303" y="6449284"/>
            <a:ext cx="936214" cy="138499"/>
          </a:xfrm>
          <a:prstGeom prst="rect">
            <a:avLst/>
          </a:prstGeom>
          <a:noFill/>
        </p:spPr>
        <p:txBody>
          <a:bodyPr wrap="square" lIns="0" tIns="0" rIns="0" bIns="0" rtlCol="0">
            <a:spAutoFit/>
          </a:bodyPr>
          <a:lstStyle/>
          <a:p>
            <a:pPr algn="r"/>
            <a:fld id="{A4EEDD72-1D6A-6B46-BCFA-C211F73E9379}" type="slidenum">
              <a:rPr lang="es-ES" sz="900" b="1" smtClean="0">
                <a:solidFill>
                  <a:srgbClr val="FFFFFF"/>
                </a:solidFill>
                <a:latin typeface="+mj-lt"/>
                <a:ea typeface="Verdana" panose="020B0604030504040204" pitchFamily="34" charset="0"/>
                <a:cs typeface="Verdana" panose="020B0604030504040204" pitchFamily="34" charset="0"/>
              </a:rPr>
              <a:pPr algn="r"/>
              <a:t>‹N›</a:t>
            </a:fld>
            <a:endParaRPr lang="es-ES" sz="900" b="1" dirty="0">
              <a:solidFill>
                <a:srgbClr val="FFFFFF"/>
              </a:solidFill>
              <a:latin typeface="+mj-lt"/>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280258228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bullets 1/2 left with Pictur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18526C9-16E3-4A1D-828A-4692734F055E}"/>
              </a:ext>
            </a:extLst>
          </p:cNvPr>
          <p:cNvGraphicFramePr>
            <a:graphicFrameLocks noChangeAspect="1"/>
          </p:cNvGraphicFramePr>
          <p:nvPr userDrawn="1">
            <p:custDataLst>
              <p:tags r:id="rId2"/>
            </p:custDataLst>
            <p:extLst>
              <p:ext uri="{D42A27DB-BD31-4B8C-83A1-F6EECF244321}">
                <p14:modId xmlns:p14="http://schemas.microsoft.com/office/powerpoint/2010/main" val="7393158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492" name="think-cell Slide" r:id="rId5" imgW="473" imgH="474" progId="TCLayout.ActiveDocument.1">
                  <p:embed/>
                </p:oleObj>
              </mc:Choice>
              <mc:Fallback>
                <p:oleObj name="think-cell Slide" r:id="rId5" imgW="473" imgH="474" progId="TCLayout.ActiveDocument.1">
                  <p:embed/>
                  <p:pic>
                    <p:nvPicPr>
                      <p:cNvPr id="3" name="Object 2" hidden="1">
                        <a:extLst>
                          <a:ext uri="{FF2B5EF4-FFF2-40B4-BE49-F238E27FC236}">
                            <a16:creationId xmlns:a16="http://schemas.microsoft.com/office/drawing/2014/main" id="{C18526C9-16E3-4A1D-828A-4692734F055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B2B384D-A05A-4439-838E-B66DA57DCB38}"/>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Verdana" panose="020B0604030504040204" pitchFamily="34" charset="0"/>
              <a:ea typeface="+mj-ea"/>
              <a:cs typeface="+mj-cs"/>
              <a:sym typeface="Verdana" panose="020B0604030504040204" pitchFamily="34" charset="0"/>
            </a:endParaRPr>
          </a:p>
        </p:txBody>
      </p:sp>
      <p:sp>
        <p:nvSpPr>
          <p:cNvPr id="2" name="Rectángulo 1">
            <a:extLst>
              <a:ext uri="{FF2B5EF4-FFF2-40B4-BE49-F238E27FC236}">
                <a16:creationId xmlns:a16="http://schemas.microsoft.com/office/drawing/2014/main" id="{BF29E734-210D-BC45-815B-FC427C40A195}"/>
              </a:ext>
            </a:extLst>
          </p:cNvPr>
          <p:cNvSpPr/>
          <p:nvPr userDrawn="1"/>
        </p:nvSpPr>
        <p:spPr>
          <a:xfrm>
            <a:off x="6096001" y="0"/>
            <a:ext cx="6096000" cy="6858000"/>
          </a:xfrm>
          <a:prstGeom prst="rect">
            <a:avLst/>
          </a:prstGeom>
          <a:gradFill>
            <a:gsLst>
              <a:gs pos="0">
                <a:schemeClr val="accent1"/>
              </a:gs>
              <a:gs pos="100000">
                <a:schemeClr val="accent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accent4"/>
              </a:solidFill>
            </a:endParaRPr>
          </a:p>
        </p:txBody>
      </p:sp>
      <p:sp>
        <p:nvSpPr>
          <p:cNvPr id="15" name="Marcador de texto 2">
            <a:extLst>
              <a:ext uri="{FF2B5EF4-FFF2-40B4-BE49-F238E27FC236}">
                <a16:creationId xmlns:a16="http://schemas.microsoft.com/office/drawing/2014/main" id="{B0631F3F-D69C-4938-9C2D-8DBA1DF60BB1}"/>
              </a:ext>
            </a:extLst>
          </p:cNvPr>
          <p:cNvSpPr>
            <a:spLocks noGrp="1"/>
          </p:cNvSpPr>
          <p:nvPr>
            <p:ph type="body" idx="10" hasCustomPrompt="1"/>
          </p:nvPr>
        </p:nvSpPr>
        <p:spPr>
          <a:xfrm>
            <a:off x="368791" y="722639"/>
            <a:ext cx="5158120" cy="324000"/>
          </a:xfrm>
          <a:prstGeom prst="rect">
            <a:avLst/>
          </a:prstGeom>
        </p:spPr>
        <p:txBody>
          <a:bodyPr lIns="0" tIns="0" rIns="0" bIns="0" anchor="t"/>
          <a:lstStyle>
            <a:lvl1pPr marL="0" indent="0">
              <a:lnSpc>
                <a:spcPct val="100000"/>
              </a:lnSpc>
              <a:spcBef>
                <a:spcPts val="0"/>
              </a:spcBef>
              <a:buNone/>
              <a:defRPr sz="2000" b="0">
                <a:solidFill>
                  <a:srgbClr val="000000"/>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err="1"/>
              <a:t>Subtitle</a:t>
            </a:r>
            <a:endParaRPr lang="es-ES" dirty="0"/>
          </a:p>
        </p:txBody>
      </p:sp>
      <p:sp>
        <p:nvSpPr>
          <p:cNvPr id="18" name="CuadroTexto 64">
            <a:extLst>
              <a:ext uri="{FF2B5EF4-FFF2-40B4-BE49-F238E27FC236}">
                <a16:creationId xmlns:a16="http://schemas.microsoft.com/office/drawing/2014/main" id="{7EEFB272-44BD-4440-81FD-B5BE8200048F}"/>
              </a:ext>
            </a:extLst>
          </p:cNvPr>
          <p:cNvSpPr txBox="1"/>
          <p:nvPr userDrawn="1"/>
        </p:nvSpPr>
        <p:spPr>
          <a:xfrm>
            <a:off x="10882303" y="6449284"/>
            <a:ext cx="936214" cy="138499"/>
          </a:xfrm>
          <a:prstGeom prst="rect">
            <a:avLst/>
          </a:prstGeom>
          <a:noFill/>
        </p:spPr>
        <p:txBody>
          <a:bodyPr wrap="square" lIns="0" tIns="0" rIns="0" bIns="0" rtlCol="0">
            <a:spAutoFit/>
          </a:bodyPr>
          <a:lstStyle/>
          <a:p>
            <a:pPr algn="r"/>
            <a:fld id="{A4EEDD72-1D6A-6B46-BCFA-C211F73E9379}" type="slidenum">
              <a:rPr lang="es-ES" sz="900" b="1" smtClean="0">
                <a:solidFill>
                  <a:srgbClr val="FFFFFF"/>
                </a:solidFill>
                <a:latin typeface="+mj-lt"/>
                <a:ea typeface="Verdana" panose="020B0604030504040204" pitchFamily="34" charset="0"/>
                <a:cs typeface="Verdana" panose="020B0604030504040204" pitchFamily="34" charset="0"/>
              </a:rPr>
              <a:pPr algn="r"/>
              <a:t>‹N›</a:t>
            </a:fld>
            <a:endParaRPr lang="es-ES" sz="900" b="1" dirty="0">
              <a:solidFill>
                <a:srgbClr val="FFFFFF"/>
              </a:solidFill>
              <a:latin typeface="+mj-lt"/>
              <a:ea typeface="Verdana" panose="020B0604030504040204" pitchFamily="34" charset="0"/>
              <a:cs typeface="Verdana" panose="020B0604030504040204" pitchFamily="34" charset="0"/>
            </a:endParaRPr>
          </a:p>
        </p:txBody>
      </p:sp>
      <p:sp>
        <p:nvSpPr>
          <p:cNvPr id="9" name="Title 8">
            <a:extLst>
              <a:ext uri="{FF2B5EF4-FFF2-40B4-BE49-F238E27FC236}">
                <a16:creationId xmlns:a16="http://schemas.microsoft.com/office/drawing/2014/main" id="{965B48A6-C16F-42F8-ABA4-E292AD3ADAB5}"/>
              </a:ext>
            </a:extLst>
          </p:cNvPr>
          <p:cNvSpPr>
            <a:spLocks noGrp="1"/>
          </p:cNvSpPr>
          <p:nvPr>
            <p:ph type="title"/>
          </p:nvPr>
        </p:nvSpPr>
        <p:spPr>
          <a:xfrm>
            <a:off x="367201" y="252000"/>
            <a:ext cx="5158120" cy="432000"/>
          </a:xfrm>
        </p:spPr>
        <p:txBody>
          <a:bodyPr/>
          <a:lstStyle/>
          <a:p>
            <a:r>
              <a:rPr lang="en-US"/>
              <a:t>Click to edit Master title style</a:t>
            </a:r>
          </a:p>
        </p:txBody>
      </p:sp>
      <p:pic>
        <p:nvPicPr>
          <p:cNvPr id="21" name="Graphic 10">
            <a:extLst>
              <a:ext uri="{FF2B5EF4-FFF2-40B4-BE49-F238E27FC236}">
                <a16:creationId xmlns:a16="http://schemas.microsoft.com/office/drawing/2014/main" id="{B6011187-AA8E-452B-973C-511891D6AD7A}"/>
              </a:ext>
            </a:extLst>
          </p:cNvPr>
          <p:cNvPicPr>
            <a:picLocks noChangeAspect="1"/>
          </p:cNvPicPr>
          <p:nvPr userDrawn="1"/>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70517" y="6420188"/>
            <a:ext cx="675863" cy="162467"/>
          </a:xfrm>
          <a:prstGeom prst="rect">
            <a:avLst/>
          </a:prstGeom>
        </p:spPr>
      </p:pic>
      <p:sp>
        <p:nvSpPr>
          <p:cNvPr id="24" name="Marcador de posición de imagen 2">
            <a:extLst>
              <a:ext uri="{FF2B5EF4-FFF2-40B4-BE49-F238E27FC236}">
                <a16:creationId xmlns:a16="http://schemas.microsoft.com/office/drawing/2014/main" id="{263E57D1-5D12-4810-ABBA-4AD821FCD289}"/>
              </a:ext>
            </a:extLst>
          </p:cNvPr>
          <p:cNvSpPr>
            <a:spLocks noGrp="1"/>
          </p:cNvSpPr>
          <p:nvPr>
            <p:ph type="pic" sz="quarter" idx="12" hasCustomPrompt="1"/>
          </p:nvPr>
        </p:nvSpPr>
        <p:spPr>
          <a:xfrm>
            <a:off x="6096001" y="0"/>
            <a:ext cx="6095999" cy="6858000"/>
          </a:xfrm>
          <a:prstGeom prst="rect">
            <a:avLst/>
          </a:prstGeom>
        </p:spPr>
        <p:txBody>
          <a:bodyPr anchor="ctr"/>
          <a:lstStyle>
            <a:lvl1pPr marL="228600" marR="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a:solidFill>
                  <a:srgbClr val="FFFFFF"/>
                </a:solidFill>
              </a:defRPr>
            </a:lvl1pPr>
          </a:lstStyle>
          <a:p>
            <a:pPr marL="228600" marR="0" lvl="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Drag picture to placeholder </a:t>
            </a:r>
            <a:br>
              <a:rPr lang="en-US" dirty="0"/>
            </a:br>
            <a:r>
              <a:rPr lang="en-US" dirty="0"/>
              <a:t>or click icon to add</a:t>
            </a:r>
          </a:p>
        </p:txBody>
      </p:sp>
      <p:sp>
        <p:nvSpPr>
          <p:cNvPr id="12" name="Marcador de texto 3">
            <a:extLst>
              <a:ext uri="{FF2B5EF4-FFF2-40B4-BE49-F238E27FC236}">
                <a16:creationId xmlns:a16="http://schemas.microsoft.com/office/drawing/2014/main" id="{5105EC19-A89A-4413-975E-4287E3F2A1CB}"/>
              </a:ext>
            </a:extLst>
          </p:cNvPr>
          <p:cNvSpPr>
            <a:spLocks noGrp="1"/>
          </p:cNvSpPr>
          <p:nvPr>
            <p:ph type="body" sz="quarter" idx="30"/>
          </p:nvPr>
        </p:nvSpPr>
        <p:spPr>
          <a:xfrm>
            <a:off x="371871" y="2235395"/>
            <a:ext cx="2219893" cy="320399"/>
          </a:xfrm>
          <a:prstGeom prst="rect">
            <a:avLst/>
          </a:prstGeom>
        </p:spPr>
        <p:txBody>
          <a:bodyPr lIns="0" tIns="0" rIns="0" bIns="0"/>
          <a:lstStyle>
            <a:lvl1pPr algn="ctr">
              <a:buNone/>
              <a:defRPr sz="1400" b="1">
                <a:solidFill>
                  <a:schemeClr val="tx1"/>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endParaRPr lang="en-GB" dirty="0"/>
          </a:p>
        </p:txBody>
      </p:sp>
      <p:sp>
        <p:nvSpPr>
          <p:cNvPr id="13" name="Text Placeholder 9">
            <a:extLst>
              <a:ext uri="{FF2B5EF4-FFF2-40B4-BE49-F238E27FC236}">
                <a16:creationId xmlns:a16="http://schemas.microsoft.com/office/drawing/2014/main" id="{763E77FB-D414-4658-AAE4-68067F066AC1}"/>
              </a:ext>
            </a:extLst>
          </p:cNvPr>
          <p:cNvSpPr>
            <a:spLocks noGrp="1"/>
          </p:cNvSpPr>
          <p:nvPr>
            <p:ph type="body" sz="quarter" idx="31"/>
          </p:nvPr>
        </p:nvSpPr>
        <p:spPr>
          <a:xfrm>
            <a:off x="374672" y="2556738"/>
            <a:ext cx="2223844" cy="361949"/>
          </a:xfrm>
        </p:spPr>
        <p:txBody>
          <a:bodyPr/>
          <a:lstStyle>
            <a:lvl1pPr algn="ctr">
              <a:defRPr sz="1400"/>
            </a:lvl1pPr>
          </a:lstStyle>
          <a:p>
            <a:pPr lvl="0"/>
            <a:r>
              <a:rPr lang="en-US" dirty="0"/>
              <a:t>Click to edit Master text styles</a:t>
            </a:r>
          </a:p>
        </p:txBody>
      </p:sp>
      <p:sp>
        <p:nvSpPr>
          <p:cNvPr id="16" name="Marcador de texto 3">
            <a:extLst>
              <a:ext uri="{FF2B5EF4-FFF2-40B4-BE49-F238E27FC236}">
                <a16:creationId xmlns:a16="http://schemas.microsoft.com/office/drawing/2014/main" id="{7D816371-9E8A-49A2-815C-80865CB7C545}"/>
              </a:ext>
            </a:extLst>
          </p:cNvPr>
          <p:cNvSpPr>
            <a:spLocks noGrp="1"/>
          </p:cNvSpPr>
          <p:nvPr>
            <p:ph type="body" sz="quarter" idx="32"/>
          </p:nvPr>
        </p:nvSpPr>
        <p:spPr>
          <a:xfrm>
            <a:off x="3300266" y="2235395"/>
            <a:ext cx="2219893" cy="320399"/>
          </a:xfrm>
          <a:prstGeom prst="rect">
            <a:avLst/>
          </a:prstGeom>
        </p:spPr>
        <p:txBody>
          <a:bodyPr lIns="0" tIns="0" rIns="0" bIns="0"/>
          <a:lstStyle>
            <a:lvl1pPr algn="ctr">
              <a:buNone/>
              <a:defRPr sz="1400" b="1">
                <a:solidFill>
                  <a:schemeClr val="tx1"/>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endParaRPr lang="en-GB" dirty="0"/>
          </a:p>
        </p:txBody>
      </p:sp>
      <p:sp>
        <p:nvSpPr>
          <p:cNvPr id="17" name="Text Placeholder 9">
            <a:extLst>
              <a:ext uri="{FF2B5EF4-FFF2-40B4-BE49-F238E27FC236}">
                <a16:creationId xmlns:a16="http://schemas.microsoft.com/office/drawing/2014/main" id="{6D93596B-1285-477F-B2D0-FD8228BECA9C}"/>
              </a:ext>
            </a:extLst>
          </p:cNvPr>
          <p:cNvSpPr>
            <a:spLocks noGrp="1"/>
          </p:cNvSpPr>
          <p:nvPr>
            <p:ph type="body" sz="quarter" idx="33"/>
          </p:nvPr>
        </p:nvSpPr>
        <p:spPr>
          <a:xfrm>
            <a:off x="3303067" y="2556738"/>
            <a:ext cx="2223844" cy="361949"/>
          </a:xfrm>
        </p:spPr>
        <p:txBody>
          <a:bodyPr/>
          <a:lstStyle>
            <a:lvl1pPr algn="ctr">
              <a:defRPr sz="1400"/>
            </a:lvl1pPr>
          </a:lstStyle>
          <a:p>
            <a:pPr lvl="0"/>
            <a:r>
              <a:rPr lang="en-US" dirty="0"/>
              <a:t>Click to edit Master text styles</a:t>
            </a:r>
          </a:p>
        </p:txBody>
      </p:sp>
      <p:sp>
        <p:nvSpPr>
          <p:cNvPr id="19" name="Marcador de texto 3">
            <a:extLst>
              <a:ext uri="{FF2B5EF4-FFF2-40B4-BE49-F238E27FC236}">
                <a16:creationId xmlns:a16="http://schemas.microsoft.com/office/drawing/2014/main" id="{8CD6D356-74C7-4043-ADB7-B47A4764417B}"/>
              </a:ext>
            </a:extLst>
          </p:cNvPr>
          <p:cNvSpPr>
            <a:spLocks noGrp="1"/>
          </p:cNvSpPr>
          <p:nvPr>
            <p:ph type="body" sz="quarter" idx="34"/>
          </p:nvPr>
        </p:nvSpPr>
        <p:spPr>
          <a:xfrm>
            <a:off x="374672" y="4061192"/>
            <a:ext cx="2219893" cy="320399"/>
          </a:xfrm>
          <a:prstGeom prst="rect">
            <a:avLst/>
          </a:prstGeom>
        </p:spPr>
        <p:txBody>
          <a:bodyPr lIns="0" tIns="0" rIns="0" bIns="0"/>
          <a:lstStyle>
            <a:lvl1pPr algn="ctr">
              <a:buNone/>
              <a:defRPr sz="1400" b="1">
                <a:solidFill>
                  <a:schemeClr val="tx1"/>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endParaRPr lang="en-GB" dirty="0"/>
          </a:p>
        </p:txBody>
      </p:sp>
      <p:sp>
        <p:nvSpPr>
          <p:cNvPr id="20" name="Text Placeholder 9">
            <a:extLst>
              <a:ext uri="{FF2B5EF4-FFF2-40B4-BE49-F238E27FC236}">
                <a16:creationId xmlns:a16="http://schemas.microsoft.com/office/drawing/2014/main" id="{186D0BEF-30D3-49F9-833D-BA4BC8AB22A9}"/>
              </a:ext>
            </a:extLst>
          </p:cNvPr>
          <p:cNvSpPr>
            <a:spLocks noGrp="1"/>
          </p:cNvSpPr>
          <p:nvPr>
            <p:ph type="body" sz="quarter" idx="35"/>
          </p:nvPr>
        </p:nvSpPr>
        <p:spPr>
          <a:xfrm>
            <a:off x="377473" y="4382535"/>
            <a:ext cx="2223844" cy="361949"/>
          </a:xfrm>
        </p:spPr>
        <p:txBody>
          <a:bodyPr/>
          <a:lstStyle>
            <a:lvl1pPr algn="ctr">
              <a:defRPr sz="1400"/>
            </a:lvl1pPr>
          </a:lstStyle>
          <a:p>
            <a:pPr lvl="0"/>
            <a:r>
              <a:rPr lang="en-US" dirty="0"/>
              <a:t>Click to edit Master text styles</a:t>
            </a:r>
          </a:p>
        </p:txBody>
      </p:sp>
      <p:sp>
        <p:nvSpPr>
          <p:cNvPr id="22" name="Marcador de texto 3">
            <a:extLst>
              <a:ext uri="{FF2B5EF4-FFF2-40B4-BE49-F238E27FC236}">
                <a16:creationId xmlns:a16="http://schemas.microsoft.com/office/drawing/2014/main" id="{D89228B9-9AA6-485D-9B44-7B24906D15CD}"/>
              </a:ext>
            </a:extLst>
          </p:cNvPr>
          <p:cNvSpPr>
            <a:spLocks noGrp="1"/>
          </p:cNvSpPr>
          <p:nvPr>
            <p:ph type="body" sz="quarter" idx="36"/>
          </p:nvPr>
        </p:nvSpPr>
        <p:spPr>
          <a:xfrm>
            <a:off x="3303067" y="4061192"/>
            <a:ext cx="2219893" cy="320399"/>
          </a:xfrm>
          <a:prstGeom prst="rect">
            <a:avLst/>
          </a:prstGeom>
        </p:spPr>
        <p:txBody>
          <a:bodyPr lIns="0" tIns="0" rIns="0" bIns="0"/>
          <a:lstStyle>
            <a:lvl1pPr algn="ctr">
              <a:buNone/>
              <a:defRPr sz="1400" b="1">
                <a:solidFill>
                  <a:schemeClr val="tx1"/>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endParaRPr lang="en-GB" dirty="0"/>
          </a:p>
        </p:txBody>
      </p:sp>
      <p:sp>
        <p:nvSpPr>
          <p:cNvPr id="23" name="Text Placeholder 9">
            <a:extLst>
              <a:ext uri="{FF2B5EF4-FFF2-40B4-BE49-F238E27FC236}">
                <a16:creationId xmlns:a16="http://schemas.microsoft.com/office/drawing/2014/main" id="{256A4F92-9CCE-4911-88AE-117B4DACBA6A}"/>
              </a:ext>
            </a:extLst>
          </p:cNvPr>
          <p:cNvSpPr>
            <a:spLocks noGrp="1"/>
          </p:cNvSpPr>
          <p:nvPr>
            <p:ph type="body" sz="quarter" idx="37"/>
          </p:nvPr>
        </p:nvSpPr>
        <p:spPr>
          <a:xfrm>
            <a:off x="3305868" y="4382535"/>
            <a:ext cx="2223844" cy="361949"/>
          </a:xfrm>
        </p:spPr>
        <p:txBody>
          <a:bodyPr/>
          <a:lstStyle>
            <a:lvl1pPr algn="ctr">
              <a:defRPr sz="1400"/>
            </a:lvl1pPr>
          </a:lstStyle>
          <a:p>
            <a:pPr lvl="0"/>
            <a:r>
              <a:rPr lang="en-US" dirty="0"/>
              <a:t>Click to edit Master text styles</a:t>
            </a:r>
          </a:p>
        </p:txBody>
      </p:sp>
      <p:sp>
        <p:nvSpPr>
          <p:cNvPr id="25" name="Rectangle 24">
            <a:extLst>
              <a:ext uri="{FF2B5EF4-FFF2-40B4-BE49-F238E27FC236}">
                <a16:creationId xmlns:a16="http://schemas.microsoft.com/office/drawing/2014/main" id="{D1881D0F-7BC0-47DA-B8C9-C012ED7D30D8}"/>
              </a:ext>
            </a:extLst>
          </p:cNvPr>
          <p:cNvSpPr/>
          <p:nvPr userDrawn="1"/>
        </p:nvSpPr>
        <p:spPr>
          <a:xfrm>
            <a:off x="3051745"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6" name="Rectangle 25">
            <a:extLst>
              <a:ext uri="{FF2B5EF4-FFF2-40B4-BE49-F238E27FC236}">
                <a16:creationId xmlns:a16="http://schemas.microsoft.com/office/drawing/2014/main" id="{8A7B12E5-433C-4536-AFE0-9EE017F038BC}"/>
              </a:ext>
            </a:extLst>
          </p:cNvPr>
          <p:cNvSpPr/>
          <p:nvPr userDrawn="1"/>
        </p:nvSpPr>
        <p:spPr>
          <a:xfrm>
            <a:off x="7490"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7" name="Rectangle 26">
            <a:extLst>
              <a:ext uri="{FF2B5EF4-FFF2-40B4-BE49-F238E27FC236}">
                <a16:creationId xmlns:a16="http://schemas.microsoft.com/office/drawing/2014/main" id="{C3E791B4-C43E-4934-ABBC-8CF37BD2F120}"/>
              </a:ext>
            </a:extLst>
          </p:cNvPr>
          <p:cNvSpPr/>
          <p:nvPr userDrawn="1"/>
        </p:nvSpPr>
        <p:spPr>
          <a:xfrm>
            <a:off x="9149414"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8" name="Rectangle 27">
            <a:extLst>
              <a:ext uri="{FF2B5EF4-FFF2-40B4-BE49-F238E27FC236}">
                <a16:creationId xmlns:a16="http://schemas.microsoft.com/office/drawing/2014/main" id="{90741EDD-49B8-4F8E-A565-B24A1F7D2D81}"/>
              </a:ext>
            </a:extLst>
          </p:cNvPr>
          <p:cNvSpPr/>
          <p:nvPr userDrawn="1"/>
        </p:nvSpPr>
        <p:spPr>
          <a:xfrm>
            <a:off x="6105159"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Tree>
    <p:extLst>
      <p:ext uri="{BB962C8B-B14F-4D97-AF65-F5344CB8AC3E}">
        <p14:creationId xmlns:p14="http://schemas.microsoft.com/office/powerpoint/2010/main" val="429035163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1_bullets 1/2 right with Picture">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BF29E734-210D-BC45-815B-FC427C40A195}"/>
              </a:ext>
            </a:extLst>
          </p:cNvPr>
          <p:cNvSpPr/>
          <p:nvPr userDrawn="1"/>
        </p:nvSpPr>
        <p:spPr>
          <a:xfrm>
            <a:off x="3176" y="0"/>
            <a:ext cx="6096000" cy="6858000"/>
          </a:xfrm>
          <a:prstGeom prst="rect">
            <a:avLst/>
          </a:prstGeom>
          <a:gradFill>
            <a:gsLst>
              <a:gs pos="0">
                <a:schemeClr val="accent1"/>
              </a:gs>
              <a:gs pos="100000">
                <a:schemeClr val="accent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accent4"/>
              </a:solidFill>
            </a:endParaRPr>
          </a:p>
        </p:txBody>
      </p:sp>
      <p:sp>
        <p:nvSpPr>
          <p:cNvPr id="24" name="Marcador de posición de imagen 2">
            <a:extLst>
              <a:ext uri="{FF2B5EF4-FFF2-40B4-BE49-F238E27FC236}">
                <a16:creationId xmlns:a16="http://schemas.microsoft.com/office/drawing/2014/main" id="{263E57D1-5D12-4810-ABBA-4AD821FCD289}"/>
              </a:ext>
            </a:extLst>
          </p:cNvPr>
          <p:cNvSpPr>
            <a:spLocks noGrp="1"/>
          </p:cNvSpPr>
          <p:nvPr>
            <p:ph type="pic" sz="quarter" idx="12" hasCustomPrompt="1"/>
          </p:nvPr>
        </p:nvSpPr>
        <p:spPr>
          <a:xfrm>
            <a:off x="3176" y="0"/>
            <a:ext cx="6095999" cy="6858000"/>
          </a:xfrm>
          <a:prstGeom prst="rect">
            <a:avLst/>
          </a:prstGeom>
        </p:spPr>
        <p:txBody>
          <a:bodyPr anchor="ctr"/>
          <a:lstStyle>
            <a:lvl1pPr marL="228600" marR="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a:solidFill>
                  <a:srgbClr val="FFFFFF"/>
                </a:solidFill>
              </a:defRPr>
            </a:lvl1pPr>
          </a:lstStyle>
          <a:p>
            <a:pPr marL="228600" marR="0" lvl="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Drag picture to placeholder </a:t>
            </a:r>
            <a:br>
              <a:rPr lang="en-US" dirty="0"/>
            </a:br>
            <a:r>
              <a:rPr lang="en-US" dirty="0"/>
              <a:t>or click icon to add</a:t>
            </a:r>
          </a:p>
        </p:txBody>
      </p:sp>
      <p:graphicFrame>
        <p:nvGraphicFramePr>
          <p:cNvPr id="3" name="Object 2" hidden="1">
            <a:extLst>
              <a:ext uri="{FF2B5EF4-FFF2-40B4-BE49-F238E27FC236}">
                <a16:creationId xmlns:a16="http://schemas.microsoft.com/office/drawing/2014/main" id="{C18526C9-16E3-4A1D-828A-4692734F055E}"/>
              </a:ext>
            </a:extLst>
          </p:cNvPr>
          <p:cNvGraphicFramePr>
            <a:graphicFrameLocks noChangeAspect="1"/>
          </p:cNvGraphicFramePr>
          <p:nvPr userDrawn="1">
            <p:custDataLst>
              <p:tags r:id="rId2"/>
            </p:custDataLst>
            <p:extLst>
              <p:ext uri="{D42A27DB-BD31-4B8C-83A1-F6EECF244321}">
                <p14:modId xmlns:p14="http://schemas.microsoft.com/office/powerpoint/2010/main" val="9117538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516" name="think-cell Slide" r:id="rId5" imgW="473" imgH="474" progId="TCLayout.ActiveDocument.1">
                  <p:embed/>
                </p:oleObj>
              </mc:Choice>
              <mc:Fallback>
                <p:oleObj name="think-cell Slide" r:id="rId5" imgW="473" imgH="474" progId="TCLayout.ActiveDocument.1">
                  <p:embed/>
                  <p:pic>
                    <p:nvPicPr>
                      <p:cNvPr id="3" name="Object 2" hidden="1">
                        <a:extLst>
                          <a:ext uri="{FF2B5EF4-FFF2-40B4-BE49-F238E27FC236}">
                            <a16:creationId xmlns:a16="http://schemas.microsoft.com/office/drawing/2014/main" id="{C18526C9-16E3-4A1D-828A-4692734F055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B2B384D-A05A-4439-838E-B66DA57DCB38}"/>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Verdana" panose="020B0604030504040204" pitchFamily="34" charset="0"/>
              <a:ea typeface="+mj-ea"/>
              <a:cs typeface="+mj-cs"/>
              <a:sym typeface="Verdana" panose="020B0604030504040204" pitchFamily="34" charset="0"/>
            </a:endParaRPr>
          </a:p>
        </p:txBody>
      </p:sp>
      <p:sp>
        <p:nvSpPr>
          <p:cNvPr id="15" name="Marcador de texto 2">
            <a:extLst>
              <a:ext uri="{FF2B5EF4-FFF2-40B4-BE49-F238E27FC236}">
                <a16:creationId xmlns:a16="http://schemas.microsoft.com/office/drawing/2014/main" id="{B0631F3F-D69C-4938-9C2D-8DBA1DF60BB1}"/>
              </a:ext>
            </a:extLst>
          </p:cNvPr>
          <p:cNvSpPr>
            <a:spLocks noGrp="1"/>
          </p:cNvSpPr>
          <p:nvPr>
            <p:ph type="body" idx="10" hasCustomPrompt="1"/>
          </p:nvPr>
        </p:nvSpPr>
        <p:spPr>
          <a:xfrm>
            <a:off x="6657596" y="722639"/>
            <a:ext cx="5158120" cy="324000"/>
          </a:xfrm>
          <a:prstGeom prst="rect">
            <a:avLst/>
          </a:prstGeom>
        </p:spPr>
        <p:txBody>
          <a:bodyPr lIns="0" tIns="0" rIns="0" bIns="0" anchor="t"/>
          <a:lstStyle>
            <a:lvl1pPr marL="0" indent="0">
              <a:lnSpc>
                <a:spcPct val="100000"/>
              </a:lnSpc>
              <a:spcBef>
                <a:spcPts val="0"/>
              </a:spcBef>
              <a:buNone/>
              <a:defRPr sz="2000" b="0">
                <a:solidFill>
                  <a:srgbClr val="000000"/>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err="1"/>
              <a:t>Subtitle</a:t>
            </a:r>
            <a:endParaRPr lang="es-ES" dirty="0"/>
          </a:p>
        </p:txBody>
      </p:sp>
      <p:sp>
        <p:nvSpPr>
          <p:cNvPr id="18" name="CuadroTexto 64">
            <a:extLst>
              <a:ext uri="{FF2B5EF4-FFF2-40B4-BE49-F238E27FC236}">
                <a16:creationId xmlns:a16="http://schemas.microsoft.com/office/drawing/2014/main" id="{7EEFB272-44BD-4440-81FD-B5BE8200048F}"/>
              </a:ext>
            </a:extLst>
          </p:cNvPr>
          <p:cNvSpPr txBox="1"/>
          <p:nvPr userDrawn="1"/>
        </p:nvSpPr>
        <p:spPr>
          <a:xfrm>
            <a:off x="10882303" y="6449284"/>
            <a:ext cx="936214" cy="138499"/>
          </a:xfrm>
          <a:prstGeom prst="rect">
            <a:avLst/>
          </a:prstGeom>
          <a:noFill/>
        </p:spPr>
        <p:txBody>
          <a:bodyPr wrap="square" lIns="0" tIns="0" rIns="0" bIns="0" rtlCol="0">
            <a:spAutoFit/>
          </a:bodyPr>
          <a:lstStyle/>
          <a:p>
            <a:pPr algn="r"/>
            <a:fld id="{A4EEDD72-1D6A-6B46-BCFA-C211F73E9379}" type="slidenum">
              <a:rPr lang="es-ES" sz="900" b="1" smtClean="0">
                <a:solidFill>
                  <a:schemeClr val="accent1"/>
                </a:solidFill>
                <a:latin typeface="Verdana" panose="020B0604030504040204" pitchFamily="34" charset="0"/>
                <a:ea typeface="Verdana" panose="020B0604030504040204" pitchFamily="34" charset="0"/>
                <a:cs typeface="Verdana" panose="020B0604030504040204" pitchFamily="34" charset="0"/>
              </a:rPr>
              <a:pPr algn="r"/>
              <a:t>‹N›</a:t>
            </a:fld>
            <a:endParaRPr lang="es-ES" sz="900" b="1" dirty="0">
              <a:solidFill>
                <a:schemeClr val="accent1"/>
              </a:solidFill>
              <a:latin typeface="Verdana" panose="020B0604030504040204" pitchFamily="34" charset="0"/>
              <a:ea typeface="Verdana" panose="020B0604030504040204" pitchFamily="34" charset="0"/>
              <a:cs typeface="Verdana" panose="020B0604030504040204" pitchFamily="34" charset="0"/>
            </a:endParaRPr>
          </a:p>
        </p:txBody>
      </p:sp>
      <p:sp>
        <p:nvSpPr>
          <p:cNvPr id="9" name="Title 8">
            <a:extLst>
              <a:ext uri="{FF2B5EF4-FFF2-40B4-BE49-F238E27FC236}">
                <a16:creationId xmlns:a16="http://schemas.microsoft.com/office/drawing/2014/main" id="{965B48A6-C16F-42F8-ABA4-E292AD3ADAB5}"/>
              </a:ext>
            </a:extLst>
          </p:cNvPr>
          <p:cNvSpPr>
            <a:spLocks noGrp="1"/>
          </p:cNvSpPr>
          <p:nvPr>
            <p:ph type="title"/>
          </p:nvPr>
        </p:nvSpPr>
        <p:spPr>
          <a:xfrm>
            <a:off x="6656006" y="252000"/>
            <a:ext cx="5158120" cy="432000"/>
          </a:xfrm>
        </p:spPr>
        <p:txBody>
          <a:bodyPr/>
          <a:lstStyle/>
          <a:p>
            <a:r>
              <a:rPr lang="en-US" dirty="0"/>
              <a:t>Click to edit Master title style</a:t>
            </a:r>
          </a:p>
        </p:txBody>
      </p:sp>
      <p:pic>
        <p:nvPicPr>
          <p:cNvPr id="21" name="Graphic 10">
            <a:extLst>
              <a:ext uri="{FF2B5EF4-FFF2-40B4-BE49-F238E27FC236}">
                <a16:creationId xmlns:a16="http://schemas.microsoft.com/office/drawing/2014/main" id="{B6011187-AA8E-452B-973C-511891D6AD7A}"/>
              </a:ext>
            </a:extLst>
          </p:cNvPr>
          <p:cNvPicPr>
            <a:picLocks noChangeAspect="1"/>
          </p:cNvPicPr>
          <p:nvPr userDrawn="1"/>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70517" y="6420188"/>
            <a:ext cx="675863" cy="162467"/>
          </a:xfrm>
          <a:prstGeom prst="rect">
            <a:avLst/>
          </a:prstGeom>
        </p:spPr>
      </p:pic>
      <p:sp>
        <p:nvSpPr>
          <p:cNvPr id="12" name="Marcador de texto 3">
            <a:extLst>
              <a:ext uri="{FF2B5EF4-FFF2-40B4-BE49-F238E27FC236}">
                <a16:creationId xmlns:a16="http://schemas.microsoft.com/office/drawing/2014/main" id="{5105EC19-A89A-4413-975E-4287E3F2A1CB}"/>
              </a:ext>
            </a:extLst>
          </p:cNvPr>
          <p:cNvSpPr>
            <a:spLocks noGrp="1"/>
          </p:cNvSpPr>
          <p:nvPr>
            <p:ph type="body" sz="quarter" idx="30"/>
          </p:nvPr>
        </p:nvSpPr>
        <p:spPr>
          <a:xfrm>
            <a:off x="6660676" y="2235395"/>
            <a:ext cx="2219893" cy="320399"/>
          </a:xfrm>
          <a:prstGeom prst="rect">
            <a:avLst/>
          </a:prstGeom>
        </p:spPr>
        <p:txBody>
          <a:bodyPr lIns="0" tIns="0" rIns="0" bIns="0"/>
          <a:lstStyle>
            <a:lvl1pPr algn="ctr">
              <a:buNone/>
              <a:defRPr sz="1400" b="1">
                <a:solidFill>
                  <a:schemeClr val="tx1"/>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endParaRPr lang="en-GB" dirty="0"/>
          </a:p>
        </p:txBody>
      </p:sp>
      <p:sp>
        <p:nvSpPr>
          <p:cNvPr id="13" name="Text Placeholder 9">
            <a:extLst>
              <a:ext uri="{FF2B5EF4-FFF2-40B4-BE49-F238E27FC236}">
                <a16:creationId xmlns:a16="http://schemas.microsoft.com/office/drawing/2014/main" id="{763E77FB-D414-4658-AAE4-68067F066AC1}"/>
              </a:ext>
            </a:extLst>
          </p:cNvPr>
          <p:cNvSpPr>
            <a:spLocks noGrp="1"/>
          </p:cNvSpPr>
          <p:nvPr>
            <p:ph type="body" sz="quarter" idx="31"/>
          </p:nvPr>
        </p:nvSpPr>
        <p:spPr>
          <a:xfrm>
            <a:off x="6663477" y="2550951"/>
            <a:ext cx="2223844" cy="361949"/>
          </a:xfrm>
        </p:spPr>
        <p:txBody>
          <a:bodyPr/>
          <a:lstStyle>
            <a:lvl1pPr algn="ctr">
              <a:defRPr sz="1400"/>
            </a:lvl1pPr>
          </a:lstStyle>
          <a:p>
            <a:pPr lvl="0"/>
            <a:r>
              <a:rPr lang="en-US" dirty="0"/>
              <a:t>Click to edit Master text styles</a:t>
            </a:r>
          </a:p>
        </p:txBody>
      </p:sp>
      <p:sp>
        <p:nvSpPr>
          <p:cNvPr id="16" name="Marcador de texto 3">
            <a:extLst>
              <a:ext uri="{FF2B5EF4-FFF2-40B4-BE49-F238E27FC236}">
                <a16:creationId xmlns:a16="http://schemas.microsoft.com/office/drawing/2014/main" id="{7D816371-9E8A-49A2-815C-80865CB7C545}"/>
              </a:ext>
            </a:extLst>
          </p:cNvPr>
          <p:cNvSpPr>
            <a:spLocks noGrp="1"/>
          </p:cNvSpPr>
          <p:nvPr>
            <p:ph type="body" sz="quarter" idx="32"/>
          </p:nvPr>
        </p:nvSpPr>
        <p:spPr>
          <a:xfrm>
            <a:off x="9589071" y="2235395"/>
            <a:ext cx="2219893" cy="320399"/>
          </a:xfrm>
          <a:prstGeom prst="rect">
            <a:avLst/>
          </a:prstGeom>
        </p:spPr>
        <p:txBody>
          <a:bodyPr lIns="0" tIns="0" rIns="0" bIns="0"/>
          <a:lstStyle>
            <a:lvl1pPr algn="ctr">
              <a:buNone/>
              <a:defRPr sz="1400" b="1">
                <a:solidFill>
                  <a:schemeClr val="tx1"/>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endParaRPr lang="en-GB" dirty="0"/>
          </a:p>
        </p:txBody>
      </p:sp>
      <p:sp>
        <p:nvSpPr>
          <p:cNvPr id="17" name="Text Placeholder 9">
            <a:extLst>
              <a:ext uri="{FF2B5EF4-FFF2-40B4-BE49-F238E27FC236}">
                <a16:creationId xmlns:a16="http://schemas.microsoft.com/office/drawing/2014/main" id="{6D93596B-1285-477F-B2D0-FD8228BECA9C}"/>
              </a:ext>
            </a:extLst>
          </p:cNvPr>
          <p:cNvSpPr>
            <a:spLocks noGrp="1"/>
          </p:cNvSpPr>
          <p:nvPr>
            <p:ph type="body" sz="quarter" idx="33"/>
          </p:nvPr>
        </p:nvSpPr>
        <p:spPr>
          <a:xfrm>
            <a:off x="9591872" y="2550951"/>
            <a:ext cx="2223844" cy="361949"/>
          </a:xfrm>
        </p:spPr>
        <p:txBody>
          <a:bodyPr/>
          <a:lstStyle>
            <a:lvl1pPr algn="ctr">
              <a:defRPr sz="1400"/>
            </a:lvl1pPr>
          </a:lstStyle>
          <a:p>
            <a:pPr lvl="0"/>
            <a:r>
              <a:rPr lang="en-US" dirty="0"/>
              <a:t>Click to edit Master text styles</a:t>
            </a:r>
          </a:p>
        </p:txBody>
      </p:sp>
      <p:sp>
        <p:nvSpPr>
          <p:cNvPr id="19" name="Marcador de texto 3">
            <a:extLst>
              <a:ext uri="{FF2B5EF4-FFF2-40B4-BE49-F238E27FC236}">
                <a16:creationId xmlns:a16="http://schemas.microsoft.com/office/drawing/2014/main" id="{8CD6D356-74C7-4043-ADB7-B47A4764417B}"/>
              </a:ext>
            </a:extLst>
          </p:cNvPr>
          <p:cNvSpPr>
            <a:spLocks noGrp="1"/>
          </p:cNvSpPr>
          <p:nvPr>
            <p:ph type="body" sz="quarter" idx="34"/>
          </p:nvPr>
        </p:nvSpPr>
        <p:spPr>
          <a:xfrm>
            <a:off x="6663477" y="4061192"/>
            <a:ext cx="2219893" cy="320399"/>
          </a:xfrm>
          <a:prstGeom prst="rect">
            <a:avLst/>
          </a:prstGeom>
        </p:spPr>
        <p:txBody>
          <a:bodyPr lIns="0" tIns="0" rIns="0" bIns="0"/>
          <a:lstStyle>
            <a:lvl1pPr algn="ctr">
              <a:buNone/>
              <a:defRPr sz="1400" b="1">
                <a:solidFill>
                  <a:schemeClr val="tx1"/>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endParaRPr lang="en-GB" dirty="0"/>
          </a:p>
        </p:txBody>
      </p:sp>
      <p:sp>
        <p:nvSpPr>
          <p:cNvPr id="20" name="Text Placeholder 9">
            <a:extLst>
              <a:ext uri="{FF2B5EF4-FFF2-40B4-BE49-F238E27FC236}">
                <a16:creationId xmlns:a16="http://schemas.microsoft.com/office/drawing/2014/main" id="{186D0BEF-30D3-49F9-833D-BA4BC8AB22A9}"/>
              </a:ext>
            </a:extLst>
          </p:cNvPr>
          <p:cNvSpPr>
            <a:spLocks noGrp="1"/>
          </p:cNvSpPr>
          <p:nvPr>
            <p:ph type="body" sz="quarter" idx="35"/>
          </p:nvPr>
        </p:nvSpPr>
        <p:spPr>
          <a:xfrm>
            <a:off x="6666278" y="4376748"/>
            <a:ext cx="2223844" cy="361949"/>
          </a:xfrm>
        </p:spPr>
        <p:txBody>
          <a:bodyPr/>
          <a:lstStyle>
            <a:lvl1pPr algn="ctr">
              <a:defRPr sz="1400"/>
            </a:lvl1pPr>
          </a:lstStyle>
          <a:p>
            <a:pPr lvl="0"/>
            <a:r>
              <a:rPr lang="en-US" dirty="0"/>
              <a:t>Click to edit Master text styles</a:t>
            </a:r>
          </a:p>
        </p:txBody>
      </p:sp>
      <p:sp>
        <p:nvSpPr>
          <p:cNvPr id="22" name="Marcador de texto 3">
            <a:extLst>
              <a:ext uri="{FF2B5EF4-FFF2-40B4-BE49-F238E27FC236}">
                <a16:creationId xmlns:a16="http://schemas.microsoft.com/office/drawing/2014/main" id="{D89228B9-9AA6-485D-9B44-7B24906D15CD}"/>
              </a:ext>
            </a:extLst>
          </p:cNvPr>
          <p:cNvSpPr>
            <a:spLocks noGrp="1"/>
          </p:cNvSpPr>
          <p:nvPr>
            <p:ph type="body" sz="quarter" idx="36"/>
          </p:nvPr>
        </p:nvSpPr>
        <p:spPr>
          <a:xfrm>
            <a:off x="9591872" y="4061192"/>
            <a:ext cx="2219893" cy="320399"/>
          </a:xfrm>
          <a:prstGeom prst="rect">
            <a:avLst/>
          </a:prstGeom>
        </p:spPr>
        <p:txBody>
          <a:bodyPr lIns="0" tIns="0" rIns="0" bIns="0"/>
          <a:lstStyle>
            <a:lvl1pPr algn="ctr">
              <a:buNone/>
              <a:defRPr sz="1400" b="1">
                <a:solidFill>
                  <a:schemeClr val="tx1"/>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endParaRPr lang="en-GB" dirty="0"/>
          </a:p>
        </p:txBody>
      </p:sp>
      <p:sp>
        <p:nvSpPr>
          <p:cNvPr id="23" name="Text Placeholder 9">
            <a:extLst>
              <a:ext uri="{FF2B5EF4-FFF2-40B4-BE49-F238E27FC236}">
                <a16:creationId xmlns:a16="http://schemas.microsoft.com/office/drawing/2014/main" id="{256A4F92-9CCE-4911-88AE-117B4DACBA6A}"/>
              </a:ext>
            </a:extLst>
          </p:cNvPr>
          <p:cNvSpPr>
            <a:spLocks noGrp="1"/>
          </p:cNvSpPr>
          <p:nvPr>
            <p:ph type="body" sz="quarter" idx="37"/>
          </p:nvPr>
        </p:nvSpPr>
        <p:spPr>
          <a:xfrm>
            <a:off x="9594673" y="4376748"/>
            <a:ext cx="2223844" cy="361949"/>
          </a:xfrm>
        </p:spPr>
        <p:txBody>
          <a:bodyPr/>
          <a:lstStyle>
            <a:lvl1pPr algn="ctr">
              <a:defRPr sz="1400"/>
            </a:lvl1pPr>
          </a:lstStyle>
          <a:p>
            <a:pPr lvl="0"/>
            <a:r>
              <a:rPr lang="en-US" dirty="0"/>
              <a:t>Click to edit Master text styles</a:t>
            </a:r>
          </a:p>
        </p:txBody>
      </p:sp>
      <p:sp>
        <p:nvSpPr>
          <p:cNvPr id="25" name="Rectangle 24">
            <a:extLst>
              <a:ext uri="{FF2B5EF4-FFF2-40B4-BE49-F238E27FC236}">
                <a16:creationId xmlns:a16="http://schemas.microsoft.com/office/drawing/2014/main" id="{06398569-A327-4A40-B91C-0398CAE7566A}"/>
              </a:ext>
            </a:extLst>
          </p:cNvPr>
          <p:cNvSpPr/>
          <p:nvPr userDrawn="1"/>
        </p:nvSpPr>
        <p:spPr>
          <a:xfrm>
            <a:off x="3051745"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6" name="Rectangle 25">
            <a:extLst>
              <a:ext uri="{FF2B5EF4-FFF2-40B4-BE49-F238E27FC236}">
                <a16:creationId xmlns:a16="http://schemas.microsoft.com/office/drawing/2014/main" id="{7EBF5CB5-9136-4318-BFDB-18D2DC8CCED9}"/>
              </a:ext>
            </a:extLst>
          </p:cNvPr>
          <p:cNvSpPr/>
          <p:nvPr userDrawn="1"/>
        </p:nvSpPr>
        <p:spPr>
          <a:xfrm>
            <a:off x="7490"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7" name="Rectangle 26">
            <a:extLst>
              <a:ext uri="{FF2B5EF4-FFF2-40B4-BE49-F238E27FC236}">
                <a16:creationId xmlns:a16="http://schemas.microsoft.com/office/drawing/2014/main" id="{51CBAAD6-04C0-4D40-852E-3DA17F967249}"/>
              </a:ext>
            </a:extLst>
          </p:cNvPr>
          <p:cNvSpPr/>
          <p:nvPr userDrawn="1"/>
        </p:nvSpPr>
        <p:spPr>
          <a:xfrm>
            <a:off x="9149414"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8" name="Rectangle 27">
            <a:extLst>
              <a:ext uri="{FF2B5EF4-FFF2-40B4-BE49-F238E27FC236}">
                <a16:creationId xmlns:a16="http://schemas.microsoft.com/office/drawing/2014/main" id="{B11B38BB-8212-45F8-A774-648494388C07}"/>
              </a:ext>
            </a:extLst>
          </p:cNvPr>
          <p:cNvSpPr/>
          <p:nvPr userDrawn="1"/>
        </p:nvSpPr>
        <p:spPr>
          <a:xfrm>
            <a:off x="6105159"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Tree>
    <p:extLst>
      <p:ext uri="{BB962C8B-B14F-4D97-AF65-F5344CB8AC3E}">
        <p14:creationId xmlns:p14="http://schemas.microsoft.com/office/powerpoint/2010/main" val="300966223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Agenda-1">
    <p:spTree>
      <p:nvGrpSpPr>
        <p:cNvPr id="1" name=""/>
        <p:cNvGrpSpPr/>
        <p:nvPr/>
      </p:nvGrpSpPr>
      <p:grpSpPr>
        <a:xfrm>
          <a:off x="0" y="0"/>
          <a:ext cx="0" cy="0"/>
          <a:chOff x="0" y="0"/>
          <a:chExt cx="0" cy="0"/>
        </a:xfrm>
      </p:grpSpPr>
      <p:sp>
        <p:nvSpPr>
          <p:cNvPr id="22" name="Rectángulo 1">
            <a:extLst>
              <a:ext uri="{FF2B5EF4-FFF2-40B4-BE49-F238E27FC236}">
                <a16:creationId xmlns:a16="http://schemas.microsoft.com/office/drawing/2014/main" id="{8CE5CAA1-12E8-4B39-97F5-D7AEED480B1E}"/>
              </a:ext>
            </a:extLst>
          </p:cNvPr>
          <p:cNvSpPr/>
          <p:nvPr userDrawn="1"/>
        </p:nvSpPr>
        <p:spPr>
          <a:xfrm rot="10800000">
            <a:off x="-8399" y="-1969"/>
            <a:ext cx="6114006" cy="6863178"/>
          </a:xfrm>
          <a:custGeom>
            <a:avLst/>
            <a:gdLst>
              <a:gd name="connsiteX0" fmla="*/ 0 w 3267919"/>
              <a:gd name="connsiteY0" fmla="*/ 0 h 6858000"/>
              <a:gd name="connsiteX1" fmla="*/ 3267919 w 3267919"/>
              <a:gd name="connsiteY1" fmla="*/ 0 h 6858000"/>
              <a:gd name="connsiteX2" fmla="*/ 3267919 w 3267919"/>
              <a:gd name="connsiteY2" fmla="*/ 6858000 h 6858000"/>
              <a:gd name="connsiteX3" fmla="*/ 0 w 3267919"/>
              <a:gd name="connsiteY3" fmla="*/ 6858000 h 6858000"/>
              <a:gd name="connsiteX4" fmla="*/ 0 w 3267919"/>
              <a:gd name="connsiteY4" fmla="*/ 0 h 6858000"/>
              <a:gd name="connsiteX0" fmla="*/ 2835797 w 6103716"/>
              <a:gd name="connsiteY0" fmla="*/ 0 h 6858000"/>
              <a:gd name="connsiteX1" fmla="*/ 6103716 w 6103716"/>
              <a:gd name="connsiteY1" fmla="*/ 0 h 6858000"/>
              <a:gd name="connsiteX2" fmla="*/ 6103716 w 6103716"/>
              <a:gd name="connsiteY2" fmla="*/ 6858000 h 6858000"/>
              <a:gd name="connsiteX3" fmla="*/ 0 w 6103716"/>
              <a:gd name="connsiteY3" fmla="*/ 6858000 h 6858000"/>
              <a:gd name="connsiteX4" fmla="*/ 2835797 w 6103716"/>
              <a:gd name="connsiteY4" fmla="*/ 0 h 6858000"/>
              <a:gd name="connsiteX0" fmla="*/ 2835797 w 7255397"/>
              <a:gd name="connsiteY0" fmla="*/ 5788 h 6863788"/>
              <a:gd name="connsiteX1" fmla="*/ 7255397 w 7255397"/>
              <a:gd name="connsiteY1" fmla="*/ 0 h 6863788"/>
              <a:gd name="connsiteX2" fmla="*/ 6103716 w 7255397"/>
              <a:gd name="connsiteY2" fmla="*/ 6863788 h 6863788"/>
              <a:gd name="connsiteX3" fmla="*/ 0 w 7255397"/>
              <a:gd name="connsiteY3" fmla="*/ 6863788 h 6863788"/>
              <a:gd name="connsiteX4" fmla="*/ 2835797 w 7255397"/>
              <a:gd name="connsiteY4" fmla="*/ 5788 h 6863788"/>
              <a:gd name="connsiteX0" fmla="*/ 2835797 w 7255397"/>
              <a:gd name="connsiteY0" fmla="*/ 5788 h 6863788"/>
              <a:gd name="connsiteX1" fmla="*/ 7255397 w 7255397"/>
              <a:gd name="connsiteY1" fmla="*/ 0 h 6863788"/>
              <a:gd name="connsiteX2" fmla="*/ 7232248 w 7255397"/>
              <a:gd name="connsiteY2" fmla="*/ 6863788 h 6863788"/>
              <a:gd name="connsiteX3" fmla="*/ 0 w 7255397"/>
              <a:gd name="connsiteY3" fmla="*/ 6863788 h 6863788"/>
              <a:gd name="connsiteX4" fmla="*/ 2835797 w 7255397"/>
              <a:gd name="connsiteY4" fmla="*/ 5788 h 6863788"/>
              <a:gd name="connsiteX0" fmla="*/ 2586941 w 7006541"/>
              <a:gd name="connsiteY0" fmla="*/ 5788 h 6869576"/>
              <a:gd name="connsiteX1" fmla="*/ 7006541 w 7006541"/>
              <a:gd name="connsiteY1" fmla="*/ 0 h 6869576"/>
              <a:gd name="connsiteX2" fmla="*/ 6983392 w 7006541"/>
              <a:gd name="connsiteY2" fmla="*/ 6863788 h 6869576"/>
              <a:gd name="connsiteX3" fmla="*/ 0 w 7006541"/>
              <a:gd name="connsiteY3" fmla="*/ 6869576 h 6869576"/>
              <a:gd name="connsiteX4" fmla="*/ 2586941 w 7006541"/>
              <a:gd name="connsiteY4" fmla="*/ 5788 h 6869576"/>
              <a:gd name="connsiteX0" fmla="*/ 2586941 w 7006541"/>
              <a:gd name="connsiteY0" fmla="*/ 5788 h 6869576"/>
              <a:gd name="connsiteX1" fmla="*/ 7006541 w 7006541"/>
              <a:gd name="connsiteY1" fmla="*/ 0 h 6869576"/>
              <a:gd name="connsiteX2" fmla="*/ 6983392 w 7006541"/>
              <a:gd name="connsiteY2" fmla="*/ 6863788 h 6869576"/>
              <a:gd name="connsiteX3" fmla="*/ 0 w 7006541"/>
              <a:gd name="connsiteY3" fmla="*/ 6869576 h 6869576"/>
              <a:gd name="connsiteX4" fmla="*/ 2586941 w 7006541"/>
              <a:gd name="connsiteY4" fmla="*/ 5788 h 6869576"/>
              <a:gd name="connsiteX0" fmla="*/ 2586941 w 6983416"/>
              <a:gd name="connsiteY0" fmla="*/ 0 h 6863788"/>
              <a:gd name="connsiteX1" fmla="*/ 5148805 w 6983416"/>
              <a:gd name="connsiteY1" fmla="*/ 0 h 6863788"/>
              <a:gd name="connsiteX2" fmla="*/ 6983392 w 6983416"/>
              <a:gd name="connsiteY2" fmla="*/ 6858000 h 6863788"/>
              <a:gd name="connsiteX3" fmla="*/ 0 w 6983416"/>
              <a:gd name="connsiteY3" fmla="*/ 6863788 h 6863788"/>
              <a:gd name="connsiteX4" fmla="*/ 2586941 w 6983416"/>
              <a:gd name="connsiteY4" fmla="*/ 0 h 6863788"/>
              <a:gd name="connsiteX0" fmla="*/ 2586941 w 6983421"/>
              <a:gd name="connsiteY0" fmla="*/ 0 h 6863788"/>
              <a:gd name="connsiteX1" fmla="*/ 5513407 w 6983421"/>
              <a:gd name="connsiteY1" fmla="*/ 0 h 6863788"/>
              <a:gd name="connsiteX2" fmla="*/ 6983392 w 6983421"/>
              <a:gd name="connsiteY2" fmla="*/ 6858000 h 6863788"/>
              <a:gd name="connsiteX3" fmla="*/ 0 w 6983421"/>
              <a:gd name="connsiteY3" fmla="*/ 6863788 h 6863788"/>
              <a:gd name="connsiteX4" fmla="*/ 2586941 w 6983421"/>
              <a:gd name="connsiteY4" fmla="*/ 0 h 6863788"/>
              <a:gd name="connsiteX0" fmla="*/ 2586941 w 5513407"/>
              <a:gd name="connsiteY0" fmla="*/ 0 h 6869575"/>
              <a:gd name="connsiteX1" fmla="*/ 5513407 w 5513407"/>
              <a:gd name="connsiteY1" fmla="*/ 0 h 6869575"/>
              <a:gd name="connsiteX2" fmla="*/ 5183529 w 5513407"/>
              <a:gd name="connsiteY2" fmla="*/ 6869575 h 6869575"/>
              <a:gd name="connsiteX3" fmla="*/ 0 w 5513407"/>
              <a:gd name="connsiteY3" fmla="*/ 6863788 h 6869575"/>
              <a:gd name="connsiteX4" fmla="*/ 2586941 w 5513407"/>
              <a:gd name="connsiteY4" fmla="*/ 0 h 6869575"/>
              <a:gd name="connsiteX0" fmla="*/ 2586941 w 5513407"/>
              <a:gd name="connsiteY0" fmla="*/ 0 h 6863788"/>
              <a:gd name="connsiteX1" fmla="*/ 5513407 w 5513407"/>
              <a:gd name="connsiteY1" fmla="*/ 0 h 6863788"/>
              <a:gd name="connsiteX2" fmla="*/ 5496045 w 5513407"/>
              <a:gd name="connsiteY2" fmla="*/ 6829064 h 6863788"/>
              <a:gd name="connsiteX3" fmla="*/ 0 w 5513407"/>
              <a:gd name="connsiteY3" fmla="*/ 6863788 h 6863788"/>
              <a:gd name="connsiteX4" fmla="*/ 2586941 w 5513407"/>
              <a:gd name="connsiteY4" fmla="*/ 0 h 6863788"/>
              <a:gd name="connsiteX0" fmla="*/ 2586941 w 5520913"/>
              <a:gd name="connsiteY0" fmla="*/ 0 h 6863788"/>
              <a:gd name="connsiteX1" fmla="*/ 5513407 w 5520913"/>
              <a:gd name="connsiteY1" fmla="*/ 0 h 6863788"/>
              <a:gd name="connsiteX2" fmla="*/ 5519195 w 5520913"/>
              <a:gd name="connsiteY2" fmla="*/ 6840638 h 6863788"/>
              <a:gd name="connsiteX3" fmla="*/ 0 w 5520913"/>
              <a:gd name="connsiteY3" fmla="*/ 6863788 h 6863788"/>
              <a:gd name="connsiteX4" fmla="*/ 2586941 w 5520913"/>
              <a:gd name="connsiteY4" fmla="*/ 0 h 6863788"/>
              <a:gd name="connsiteX0" fmla="*/ 2586941 w 5543249"/>
              <a:gd name="connsiteY0" fmla="*/ 0 h 6863788"/>
              <a:gd name="connsiteX1" fmla="*/ 5513407 w 5543249"/>
              <a:gd name="connsiteY1" fmla="*/ 0 h 6863788"/>
              <a:gd name="connsiteX2" fmla="*/ 5542344 w 5543249"/>
              <a:gd name="connsiteY2" fmla="*/ 6852213 h 6863788"/>
              <a:gd name="connsiteX3" fmla="*/ 0 w 5543249"/>
              <a:gd name="connsiteY3" fmla="*/ 6863788 h 6863788"/>
              <a:gd name="connsiteX4" fmla="*/ 2586941 w 5543249"/>
              <a:gd name="connsiteY4" fmla="*/ 0 h 6863788"/>
              <a:gd name="connsiteX0" fmla="*/ 2586941 w 5543249"/>
              <a:gd name="connsiteY0" fmla="*/ 0 h 6863788"/>
              <a:gd name="connsiteX1" fmla="*/ 5513407 w 5543249"/>
              <a:gd name="connsiteY1" fmla="*/ 0 h 6863788"/>
              <a:gd name="connsiteX2" fmla="*/ 5542344 w 5543249"/>
              <a:gd name="connsiteY2" fmla="*/ 6852213 h 6863788"/>
              <a:gd name="connsiteX3" fmla="*/ 0 w 5543249"/>
              <a:gd name="connsiteY3" fmla="*/ 6863788 h 6863788"/>
              <a:gd name="connsiteX4" fmla="*/ 2586941 w 5543249"/>
              <a:gd name="connsiteY4" fmla="*/ 0 h 6863788"/>
              <a:gd name="connsiteX0" fmla="*/ 2552723 w 5509031"/>
              <a:gd name="connsiteY0" fmla="*/ 0 h 6852213"/>
              <a:gd name="connsiteX1" fmla="*/ 5479189 w 5509031"/>
              <a:gd name="connsiteY1" fmla="*/ 0 h 6852213"/>
              <a:gd name="connsiteX2" fmla="*/ 5508126 w 5509031"/>
              <a:gd name="connsiteY2" fmla="*/ 6852213 h 6852213"/>
              <a:gd name="connsiteX3" fmla="*/ 0 w 5509031"/>
              <a:gd name="connsiteY3" fmla="*/ 6789649 h 6852213"/>
              <a:gd name="connsiteX4" fmla="*/ 2552723 w 5509031"/>
              <a:gd name="connsiteY4" fmla="*/ 0 h 6852213"/>
              <a:gd name="connsiteX0" fmla="*/ 2552723 w 5494413"/>
              <a:gd name="connsiteY0" fmla="*/ 0 h 6789649"/>
              <a:gd name="connsiteX1" fmla="*/ 5479189 w 5494413"/>
              <a:gd name="connsiteY1" fmla="*/ 0 h 6789649"/>
              <a:gd name="connsiteX2" fmla="*/ 5493109 w 5494413"/>
              <a:gd name="connsiteY2" fmla="*/ 6606924 h 6789649"/>
              <a:gd name="connsiteX3" fmla="*/ 0 w 5494413"/>
              <a:gd name="connsiteY3" fmla="*/ 6789649 h 6789649"/>
              <a:gd name="connsiteX4" fmla="*/ 2552723 w 5494413"/>
              <a:gd name="connsiteY4" fmla="*/ 0 h 6789649"/>
              <a:gd name="connsiteX0" fmla="*/ 2552723 w 5479189"/>
              <a:gd name="connsiteY0" fmla="*/ 0 h 6789649"/>
              <a:gd name="connsiteX1" fmla="*/ 5479189 w 5479189"/>
              <a:gd name="connsiteY1" fmla="*/ 0 h 6789649"/>
              <a:gd name="connsiteX2" fmla="*/ 5433038 w 5479189"/>
              <a:gd name="connsiteY2" fmla="*/ 6757102 h 6789649"/>
              <a:gd name="connsiteX3" fmla="*/ 0 w 5479189"/>
              <a:gd name="connsiteY3" fmla="*/ 6789649 h 6789649"/>
              <a:gd name="connsiteX4" fmla="*/ 2552723 w 5479189"/>
              <a:gd name="connsiteY4" fmla="*/ 0 h 6789649"/>
              <a:gd name="connsiteX0" fmla="*/ 3088411 w 6014877"/>
              <a:gd name="connsiteY0" fmla="*/ 0 h 6757102"/>
              <a:gd name="connsiteX1" fmla="*/ 6014877 w 6014877"/>
              <a:gd name="connsiteY1" fmla="*/ 0 h 6757102"/>
              <a:gd name="connsiteX2" fmla="*/ 5968726 w 6014877"/>
              <a:gd name="connsiteY2" fmla="*/ 6757102 h 6757102"/>
              <a:gd name="connsiteX3" fmla="*/ 0 w 6014877"/>
              <a:gd name="connsiteY3" fmla="*/ 6737568 h 6757102"/>
              <a:gd name="connsiteX4" fmla="*/ 3088411 w 6014877"/>
              <a:gd name="connsiteY4" fmla="*/ 0 h 6757102"/>
              <a:gd name="connsiteX0" fmla="*/ 3088411 w 6014877"/>
              <a:gd name="connsiteY0" fmla="*/ 0 h 6737568"/>
              <a:gd name="connsiteX1" fmla="*/ 6014877 w 6014877"/>
              <a:gd name="connsiteY1" fmla="*/ 0 h 6737568"/>
              <a:gd name="connsiteX2" fmla="*/ 5946405 w 6014877"/>
              <a:gd name="connsiteY2" fmla="*/ 6593419 h 6737568"/>
              <a:gd name="connsiteX3" fmla="*/ 0 w 6014877"/>
              <a:gd name="connsiteY3" fmla="*/ 6737568 h 6737568"/>
              <a:gd name="connsiteX4" fmla="*/ 3088411 w 6014877"/>
              <a:gd name="connsiteY4" fmla="*/ 0 h 6737568"/>
              <a:gd name="connsiteX0" fmla="*/ 3088411 w 6014877"/>
              <a:gd name="connsiteY0" fmla="*/ 0 h 6737568"/>
              <a:gd name="connsiteX1" fmla="*/ 6014877 w 6014877"/>
              <a:gd name="connsiteY1" fmla="*/ 0 h 6737568"/>
              <a:gd name="connsiteX2" fmla="*/ 5938965 w 6014877"/>
              <a:gd name="connsiteY2" fmla="*/ 6727341 h 6737568"/>
              <a:gd name="connsiteX3" fmla="*/ 0 w 6014877"/>
              <a:gd name="connsiteY3" fmla="*/ 6737568 h 6737568"/>
              <a:gd name="connsiteX4" fmla="*/ 3088411 w 6014877"/>
              <a:gd name="connsiteY4" fmla="*/ 0 h 6737568"/>
              <a:gd name="connsiteX0" fmla="*/ 3088411 w 6014877"/>
              <a:gd name="connsiteY0" fmla="*/ 0 h 6737568"/>
              <a:gd name="connsiteX1" fmla="*/ 6014877 w 6014877"/>
              <a:gd name="connsiteY1" fmla="*/ 0 h 6737568"/>
              <a:gd name="connsiteX2" fmla="*/ 5946405 w 6014877"/>
              <a:gd name="connsiteY2" fmla="*/ 6712461 h 6737568"/>
              <a:gd name="connsiteX3" fmla="*/ 0 w 6014877"/>
              <a:gd name="connsiteY3" fmla="*/ 6737568 h 6737568"/>
              <a:gd name="connsiteX4" fmla="*/ 3088411 w 6014877"/>
              <a:gd name="connsiteY4" fmla="*/ 0 h 6737568"/>
              <a:gd name="connsiteX0" fmla="*/ 3088411 w 6014877"/>
              <a:gd name="connsiteY0" fmla="*/ 0 h 6737568"/>
              <a:gd name="connsiteX1" fmla="*/ 6014877 w 6014877"/>
              <a:gd name="connsiteY1" fmla="*/ 0 h 6737568"/>
              <a:gd name="connsiteX2" fmla="*/ 5935104 w 6014877"/>
              <a:gd name="connsiteY2" fmla="*/ 6729413 h 6737568"/>
              <a:gd name="connsiteX3" fmla="*/ 0 w 6014877"/>
              <a:gd name="connsiteY3" fmla="*/ 6737568 h 6737568"/>
              <a:gd name="connsiteX4" fmla="*/ 3088411 w 6014877"/>
              <a:gd name="connsiteY4" fmla="*/ 0 h 6737568"/>
              <a:gd name="connsiteX0" fmla="*/ 3088411 w 6014877"/>
              <a:gd name="connsiteY0" fmla="*/ 0 h 6737568"/>
              <a:gd name="connsiteX1" fmla="*/ 6014877 w 6014877"/>
              <a:gd name="connsiteY1" fmla="*/ 0 h 6737568"/>
              <a:gd name="connsiteX2" fmla="*/ 5952057 w 6014877"/>
              <a:gd name="connsiteY2" fmla="*/ 6729413 h 6737568"/>
              <a:gd name="connsiteX3" fmla="*/ 0 w 6014877"/>
              <a:gd name="connsiteY3" fmla="*/ 6737568 h 6737568"/>
              <a:gd name="connsiteX4" fmla="*/ 3088411 w 6014877"/>
              <a:gd name="connsiteY4" fmla="*/ 0 h 6737568"/>
              <a:gd name="connsiteX0" fmla="*/ 2534640 w 6014877"/>
              <a:gd name="connsiteY0" fmla="*/ 11302 h 6737568"/>
              <a:gd name="connsiteX1" fmla="*/ 6014877 w 6014877"/>
              <a:gd name="connsiteY1" fmla="*/ 0 h 6737568"/>
              <a:gd name="connsiteX2" fmla="*/ 5952057 w 6014877"/>
              <a:gd name="connsiteY2" fmla="*/ 6729413 h 6737568"/>
              <a:gd name="connsiteX3" fmla="*/ 0 w 6014877"/>
              <a:gd name="connsiteY3" fmla="*/ 6737568 h 6737568"/>
              <a:gd name="connsiteX4" fmla="*/ 2534640 w 6014877"/>
              <a:gd name="connsiteY4" fmla="*/ 11302 h 6737568"/>
              <a:gd name="connsiteX0" fmla="*/ 2534640 w 5954363"/>
              <a:gd name="connsiteY0" fmla="*/ 0 h 6726266"/>
              <a:gd name="connsiteX1" fmla="*/ 5952719 w 5954363"/>
              <a:gd name="connsiteY1" fmla="*/ 11301 h 6726266"/>
              <a:gd name="connsiteX2" fmla="*/ 5952057 w 5954363"/>
              <a:gd name="connsiteY2" fmla="*/ 6718111 h 6726266"/>
              <a:gd name="connsiteX3" fmla="*/ 0 w 5954363"/>
              <a:gd name="connsiteY3" fmla="*/ 6726266 h 6726266"/>
              <a:gd name="connsiteX4" fmla="*/ 2534640 w 5954363"/>
              <a:gd name="connsiteY4" fmla="*/ 0 h 6726266"/>
              <a:gd name="connsiteX0" fmla="*/ 2534640 w 5952207"/>
              <a:gd name="connsiteY0" fmla="*/ 0 h 6726266"/>
              <a:gd name="connsiteX1" fmla="*/ 5675834 w 5952207"/>
              <a:gd name="connsiteY1" fmla="*/ 118664 h 6726266"/>
              <a:gd name="connsiteX2" fmla="*/ 5952057 w 5952207"/>
              <a:gd name="connsiteY2" fmla="*/ 6718111 h 6726266"/>
              <a:gd name="connsiteX3" fmla="*/ 0 w 5952207"/>
              <a:gd name="connsiteY3" fmla="*/ 6726266 h 6726266"/>
              <a:gd name="connsiteX4" fmla="*/ 2534640 w 5952207"/>
              <a:gd name="connsiteY4" fmla="*/ 0 h 6726266"/>
              <a:gd name="connsiteX0" fmla="*/ 2534640 w 5958370"/>
              <a:gd name="connsiteY0" fmla="*/ 0 h 6726266"/>
              <a:gd name="connsiteX1" fmla="*/ 5958370 w 5958370"/>
              <a:gd name="connsiteY1" fmla="*/ 28253 h 6726266"/>
              <a:gd name="connsiteX2" fmla="*/ 5952057 w 5958370"/>
              <a:gd name="connsiteY2" fmla="*/ 6718111 h 6726266"/>
              <a:gd name="connsiteX3" fmla="*/ 0 w 5958370"/>
              <a:gd name="connsiteY3" fmla="*/ 6726266 h 6726266"/>
              <a:gd name="connsiteX4" fmla="*/ 2534640 w 5958370"/>
              <a:gd name="connsiteY4" fmla="*/ 0 h 6726266"/>
              <a:gd name="connsiteX0" fmla="*/ 2574194 w 5958370"/>
              <a:gd name="connsiteY0" fmla="*/ 50857 h 6698013"/>
              <a:gd name="connsiteX1" fmla="*/ 5958370 w 5958370"/>
              <a:gd name="connsiteY1" fmla="*/ 0 h 6698013"/>
              <a:gd name="connsiteX2" fmla="*/ 5952057 w 5958370"/>
              <a:gd name="connsiteY2" fmla="*/ 6689858 h 6698013"/>
              <a:gd name="connsiteX3" fmla="*/ 0 w 5958370"/>
              <a:gd name="connsiteY3" fmla="*/ 6698013 h 6698013"/>
              <a:gd name="connsiteX4" fmla="*/ 2574194 w 5958370"/>
              <a:gd name="connsiteY4" fmla="*/ 50857 h 6698013"/>
              <a:gd name="connsiteX0" fmla="*/ 2534640 w 5958370"/>
              <a:gd name="connsiteY0" fmla="*/ 0 h 6709314"/>
              <a:gd name="connsiteX1" fmla="*/ 5958370 w 5958370"/>
              <a:gd name="connsiteY1" fmla="*/ 11301 h 6709314"/>
              <a:gd name="connsiteX2" fmla="*/ 5952057 w 5958370"/>
              <a:gd name="connsiteY2" fmla="*/ 6701159 h 6709314"/>
              <a:gd name="connsiteX3" fmla="*/ 0 w 5958370"/>
              <a:gd name="connsiteY3" fmla="*/ 6709314 h 6709314"/>
              <a:gd name="connsiteX4" fmla="*/ 2534640 w 5958370"/>
              <a:gd name="connsiteY4" fmla="*/ 0 h 6709314"/>
              <a:gd name="connsiteX0" fmla="*/ 2545942 w 5969672"/>
              <a:gd name="connsiteY0" fmla="*/ 0 h 6701159"/>
              <a:gd name="connsiteX1" fmla="*/ 5969672 w 5969672"/>
              <a:gd name="connsiteY1" fmla="*/ 11301 h 6701159"/>
              <a:gd name="connsiteX2" fmla="*/ 5963359 w 5969672"/>
              <a:gd name="connsiteY2" fmla="*/ 6701159 h 6701159"/>
              <a:gd name="connsiteX3" fmla="*/ 0 w 5969672"/>
              <a:gd name="connsiteY3" fmla="*/ 6698012 h 6701159"/>
              <a:gd name="connsiteX4" fmla="*/ 2545942 w 5969672"/>
              <a:gd name="connsiteY4" fmla="*/ 0 h 67011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69672" h="6701159">
                <a:moveTo>
                  <a:pt x="2545942" y="0"/>
                </a:moveTo>
                <a:lnTo>
                  <a:pt x="5969672" y="11301"/>
                </a:lnTo>
                <a:cubicBezTo>
                  <a:pt x="5961956" y="2299230"/>
                  <a:pt x="5971075" y="4413230"/>
                  <a:pt x="5963359" y="6701159"/>
                </a:cubicBezTo>
                <a:lnTo>
                  <a:pt x="0" y="6698012"/>
                </a:lnTo>
                <a:lnTo>
                  <a:pt x="2545942" y="0"/>
                </a:lnTo>
                <a:close/>
              </a:path>
            </a:pathLst>
          </a:custGeom>
          <a:gradFill>
            <a:gsLst>
              <a:gs pos="0">
                <a:schemeClr val="accent1"/>
              </a:gs>
              <a:gs pos="100000">
                <a:schemeClr val="accent2"/>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accent4"/>
              </a:solidFill>
            </a:endParaRPr>
          </a:p>
        </p:txBody>
      </p:sp>
      <p:graphicFrame>
        <p:nvGraphicFramePr>
          <p:cNvPr id="3" name="Object 2" hidden="1">
            <a:extLst>
              <a:ext uri="{FF2B5EF4-FFF2-40B4-BE49-F238E27FC236}">
                <a16:creationId xmlns:a16="http://schemas.microsoft.com/office/drawing/2014/main" id="{C18526C9-16E3-4A1D-828A-4692734F055E}"/>
              </a:ext>
            </a:extLst>
          </p:cNvPr>
          <p:cNvGraphicFramePr>
            <a:graphicFrameLocks noChangeAspect="1"/>
          </p:cNvGraphicFramePr>
          <p:nvPr userDrawn="1">
            <p:custDataLst>
              <p:tags r:id="rId2"/>
            </p:custDataLst>
            <p:extLst>
              <p:ext uri="{D42A27DB-BD31-4B8C-83A1-F6EECF244321}">
                <p14:modId xmlns:p14="http://schemas.microsoft.com/office/powerpoint/2010/main" val="16744097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40" name="think-cell Slide" r:id="rId5" imgW="473" imgH="474" progId="TCLayout.ActiveDocument.1">
                  <p:embed/>
                </p:oleObj>
              </mc:Choice>
              <mc:Fallback>
                <p:oleObj name="think-cell Slide" r:id="rId5" imgW="473" imgH="474" progId="TCLayout.ActiveDocument.1">
                  <p:embed/>
                  <p:pic>
                    <p:nvPicPr>
                      <p:cNvPr id="3" name="Object 2" hidden="1">
                        <a:extLst>
                          <a:ext uri="{FF2B5EF4-FFF2-40B4-BE49-F238E27FC236}">
                            <a16:creationId xmlns:a16="http://schemas.microsoft.com/office/drawing/2014/main" id="{C18526C9-16E3-4A1D-828A-4692734F055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B2B384D-A05A-4439-838E-B66DA57DCB38}"/>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Verdana" panose="020B0604030504040204" pitchFamily="34" charset="0"/>
              <a:ea typeface="+mj-ea"/>
              <a:cs typeface="+mj-cs"/>
              <a:sym typeface="Verdana" panose="020B0604030504040204" pitchFamily="34" charset="0"/>
            </a:endParaRPr>
          </a:p>
        </p:txBody>
      </p:sp>
      <p:sp>
        <p:nvSpPr>
          <p:cNvPr id="6" name="Marcador de texto 5">
            <a:extLst>
              <a:ext uri="{FF2B5EF4-FFF2-40B4-BE49-F238E27FC236}">
                <a16:creationId xmlns:a16="http://schemas.microsoft.com/office/drawing/2014/main" id="{9EBCB333-58BB-B544-BBAA-8ED40584EC60}"/>
              </a:ext>
            </a:extLst>
          </p:cNvPr>
          <p:cNvSpPr>
            <a:spLocks noGrp="1"/>
          </p:cNvSpPr>
          <p:nvPr>
            <p:ph type="body" sz="quarter" idx="12" hasCustomPrompt="1"/>
          </p:nvPr>
        </p:nvSpPr>
        <p:spPr>
          <a:xfrm>
            <a:off x="6091444" y="1396800"/>
            <a:ext cx="5722517" cy="374127"/>
          </a:xfrm>
          <a:prstGeom prst="rect">
            <a:avLst/>
          </a:prstGeom>
        </p:spPr>
        <p:txBody>
          <a:bodyPr lIns="0" tIns="0" rIns="0" bIns="0"/>
          <a:lstStyle>
            <a:lvl1pPr algn="l">
              <a:buNone/>
              <a:defRPr sz="2000" b="1">
                <a:solidFill>
                  <a:schemeClr val="accent1"/>
                </a:solidFill>
              </a:defRPr>
            </a:lvl1pPr>
            <a:lvl2pPr>
              <a:buNone/>
              <a:defRPr/>
            </a:lvl2pPr>
            <a:lvl3pPr>
              <a:buNone/>
              <a:defRPr/>
            </a:lvl3pPr>
            <a:lvl4pPr>
              <a:buNone/>
              <a:defRPr/>
            </a:lvl4pPr>
            <a:lvl5pPr>
              <a:buNone/>
              <a:defRPr/>
            </a:lvl5pPr>
          </a:lstStyle>
          <a:p>
            <a:pPr lvl="0"/>
            <a:r>
              <a:rPr lang="es-ES" dirty="0"/>
              <a:t>##</a:t>
            </a:r>
            <a:endParaRPr lang="en-GB" dirty="0"/>
          </a:p>
        </p:txBody>
      </p:sp>
      <p:sp>
        <p:nvSpPr>
          <p:cNvPr id="4" name="Marcador de texto 3">
            <a:extLst>
              <a:ext uri="{FF2B5EF4-FFF2-40B4-BE49-F238E27FC236}">
                <a16:creationId xmlns:a16="http://schemas.microsoft.com/office/drawing/2014/main" id="{E8D5A004-570A-094C-B900-71EF2C9421F9}"/>
              </a:ext>
            </a:extLst>
          </p:cNvPr>
          <p:cNvSpPr>
            <a:spLocks noGrp="1"/>
          </p:cNvSpPr>
          <p:nvPr>
            <p:ph type="body" sz="quarter" idx="15" hasCustomPrompt="1"/>
          </p:nvPr>
        </p:nvSpPr>
        <p:spPr>
          <a:xfrm>
            <a:off x="6091444" y="1808139"/>
            <a:ext cx="5723862" cy="320400"/>
          </a:xfrm>
          <a:prstGeom prst="rect">
            <a:avLst/>
          </a:prstGeom>
        </p:spPr>
        <p:txBody>
          <a:bodyPr lIns="0" tIns="0" rIns="0" bIns="0"/>
          <a:lstStyle>
            <a:lvl1pPr algn="l">
              <a:buNone/>
              <a:defRPr sz="1400" b="1">
                <a:solidFill>
                  <a:schemeClr val="tx1"/>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s-ES" dirty="0"/>
              <a:t>Text </a:t>
            </a:r>
            <a:r>
              <a:rPr lang="es-ES" dirty="0" err="1"/>
              <a:t>for</a:t>
            </a:r>
            <a:r>
              <a:rPr lang="es-ES" dirty="0"/>
              <a:t> </a:t>
            </a:r>
            <a:r>
              <a:rPr lang="es-ES" dirty="0" err="1"/>
              <a:t>relevevant</a:t>
            </a:r>
            <a:r>
              <a:rPr lang="es-ES" dirty="0"/>
              <a:t> figure</a:t>
            </a:r>
            <a:endParaRPr lang="en-GB" dirty="0"/>
          </a:p>
        </p:txBody>
      </p:sp>
      <p:sp>
        <p:nvSpPr>
          <p:cNvPr id="8" name="Text Placeholder 7">
            <a:extLst>
              <a:ext uri="{FF2B5EF4-FFF2-40B4-BE49-F238E27FC236}">
                <a16:creationId xmlns:a16="http://schemas.microsoft.com/office/drawing/2014/main" id="{3A15B74D-3758-47B9-82C3-FFA884FCE23F}"/>
              </a:ext>
            </a:extLst>
          </p:cNvPr>
          <p:cNvSpPr>
            <a:spLocks noGrp="1"/>
          </p:cNvSpPr>
          <p:nvPr>
            <p:ph type="body" sz="quarter" idx="18"/>
          </p:nvPr>
        </p:nvSpPr>
        <p:spPr>
          <a:xfrm>
            <a:off x="366523" y="1396800"/>
            <a:ext cx="3352990" cy="2949494"/>
          </a:xfrm>
        </p:spPr>
        <p:txBody>
          <a:bodyPr/>
          <a:lstStyle>
            <a:lvl1pPr>
              <a:defRPr>
                <a:solidFill>
                  <a:schemeClr val="bg1"/>
                </a:solidFill>
              </a:defRPr>
            </a:lvl1pPr>
          </a:lstStyle>
          <a:p>
            <a:pPr lvl="0"/>
            <a:r>
              <a:rPr lang="en-US" dirty="0"/>
              <a:t>Click to edit Master text styles</a:t>
            </a:r>
          </a:p>
        </p:txBody>
      </p:sp>
      <p:sp>
        <p:nvSpPr>
          <p:cNvPr id="18" name="CuadroTexto 64">
            <a:extLst>
              <a:ext uri="{FF2B5EF4-FFF2-40B4-BE49-F238E27FC236}">
                <a16:creationId xmlns:a16="http://schemas.microsoft.com/office/drawing/2014/main" id="{7EEFB272-44BD-4440-81FD-B5BE8200048F}"/>
              </a:ext>
            </a:extLst>
          </p:cNvPr>
          <p:cNvSpPr txBox="1"/>
          <p:nvPr userDrawn="1"/>
        </p:nvSpPr>
        <p:spPr>
          <a:xfrm>
            <a:off x="10882303" y="6449284"/>
            <a:ext cx="936214" cy="138499"/>
          </a:xfrm>
          <a:prstGeom prst="rect">
            <a:avLst/>
          </a:prstGeom>
          <a:noFill/>
        </p:spPr>
        <p:txBody>
          <a:bodyPr wrap="square" lIns="0" tIns="0" rIns="0" bIns="0" rtlCol="0">
            <a:spAutoFit/>
          </a:bodyPr>
          <a:lstStyle/>
          <a:p>
            <a:pPr algn="r"/>
            <a:fld id="{A4EEDD72-1D6A-6B46-BCFA-C211F73E9379}" type="slidenum">
              <a:rPr lang="es-ES" sz="900" b="1" smtClean="0">
                <a:solidFill>
                  <a:schemeClr val="accent1"/>
                </a:solidFill>
                <a:latin typeface="Verdana" panose="020B0604030504040204" pitchFamily="34" charset="0"/>
                <a:ea typeface="Verdana" panose="020B0604030504040204" pitchFamily="34" charset="0"/>
                <a:cs typeface="Verdana" panose="020B0604030504040204" pitchFamily="34" charset="0"/>
              </a:rPr>
              <a:pPr algn="r"/>
              <a:t>‹N›</a:t>
            </a:fld>
            <a:endParaRPr lang="es-ES" sz="900" b="1" dirty="0">
              <a:solidFill>
                <a:schemeClr val="accent1"/>
              </a:solidFill>
              <a:latin typeface="Verdana" panose="020B0604030504040204" pitchFamily="34" charset="0"/>
              <a:ea typeface="Verdana" panose="020B0604030504040204" pitchFamily="34" charset="0"/>
              <a:cs typeface="Verdana" panose="020B0604030504040204" pitchFamily="34" charset="0"/>
            </a:endParaRPr>
          </a:p>
        </p:txBody>
      </p:sp>
      <p:sp>
        <p:nvSpPr>
          <p:cNvPr id="9" name="Title 8">
            <a:extLst>
              <a:ext uri="{FF2B5EF4-FFF2-40B4-BE49-F238E27FC236}">
                <a16:creationId xmlns:a16="http://schemas.microsoft.com/office/drawing/2014/main" id="{965B48A6-C16F-42F8-ABA4-E292AD3ADAB5}"/>
              </a:ext>
            </a:extLst>
          </p:cNvPr>
          <p:cNvSpPr>
            <a:spLocks noGrp="1"/>
          </p:cNvSpPr>
          <p:nvPr>
            <p:ph type="title"/>
          </p:nvPr>
        </p:nvSpPr>
        <p:spPr>
          <a:xfrm>
            <a:off x="368928" y="252000"/>
            <a:ext cx="3350350" cy="905468"/>
          </a:xfrm>
        </p:spPr>
        <p:txBody>
          <a:bodyPr/>
          <a:lstStyle>
            <a:lvl1pPr>
              <a:defRPr>
                <a:solidFill>
                  <a:schemeClr val="bg1"/>
                </a:solidFill>
              </a:defRPr>
            </a:lvl1pPr>
          </a:lstStyle>
          <a:p>
            <a:r>
              <a:rPr lang="en-US" dirty="0"/>
              <a:t>Click to edit Master title style</a:t>
            </a:r>
          </a:p>
        </p:txBody>
      </p:sp>
      <p:pic>
        <p:nvPicPr>
          <p:cNvPr id="21" name="Graphic 10">
            <a:extLst>
              <a:ext uri="{FF2B5EF4-FFF2-40B4-BE49-F238E27FC236}">
                <a16:creationId xmlns:a16="http://schemas.microsoft.com/office/drawing/2014/main" id="{B6011187-AA8E-452B-973C-511891D6AD7A}"/>
              </a:ext>
            </a:extLst>
          </p:cNvPr>
          <p:cNvPicPr>
            <a:picLocks noChangeAspect="1"/>
          </p:cNvPicPr>
          <p:nvPr userDrawn="1"/>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70517" y="6420188"/>
            <a:ext cx="675863" cy="162467"/>
          </a:xfrm>
          <a:prstGeom prst="rect">
            <a:avLst/>
          </a:prstGeom>
        </p:spPr>
      </p:pic>
      <p:sp>
        <p:nvSpPr>
          <p:cNvPr id="10" name="Text Placeholder 9">
            <a:extLst>
              <a:ext uri="{FF2B5EF4-FFF2-40B4-BE49-F238E27FC236}">
                <a16:creationId xmlns:a16="http://schemas.microsoft.com/office/drawing/2014/main" id="{1D6D2B9E-3868-4EC8-B3F9-AFDB67FAB49A}"/>
              </a:ext>
            </a:extLst>
          </p:cNvPr>
          <p:cNvSpPr>
            <a:spLocks noGrp="1"/>
          </p:cNvSpPr>
          <p:nvPr>
            <p:ph type="body" sz="quarter" idx="19"/>
          </p:nvPr>
        </p:nvSpPr>
        <p:spPr>
          <a:xfrm>
            <a:off x="6091238" y="2121777"/>
            <a:ext cx="5734050" cy="361950"/>
          </a:xfrm>
        </p:spPr>
        <p:txBody>
          <a:bodyPr/>
          <a:lstStyle>
            <a:lvl1pPr>
              <a:defRPr sz="1400"/>
            </a:lvl1pPr>
          </a:lstStyle>
          <a:p>
            <a:pPr lvl="0"/>
            <a:r>
              <a:rPr lang="en-US" dirty="0"/>
              <a:t>Click to edit Master text styles</a:t>
            </a:r>
          </a:p>
        </p:txBody>
      </p:sp>
      <p:sp>
        <p:nvSpPr>
          <p:cNvPr id="26" name="Marcador de texto 5">
            <a:extLst>
              <a:ext uri="{FF2B5EF4-FFF2-40B4-BE49-F238E27FC236}">
                <a16:creationId xmlns:a16="http://schemas.microsoft.com/office/drawing/2014/main" id="{4E73268A-D8AC-4A88-8197-ADDA434368FC}"/>
              </a:ext>
            </a:extLst>
          </p:cNvPr>
          <p:cNvSpPr>
            <a:spLocks noGrp="1"/>
          </p:cNvSpPr>
          <p:nvPr>
            <p:ph type="body" sz="quarter" idx="20" hasCustomPrompt="1"/>
          </p:nvPr>
        </p:nvSpPr>
        <p:spPr>
          <a:xfrm>
            <a:off x="6096206" y="2660364"/>
            <a:ext cx="5722517" cy="374127"/>
          </a:xfrm>
          <a:prstGeom prst="rect">
            <a:avLst/>
          </a:prstGeom>
        </p:spPr>
        <p:txBody>
          <a:bodyPr lIns="0" tIns="0" rIns="0" bIns="0"/>
          <a:lstStyle>
            <a:lvl1pPr algn="l">
              <a:buNone/>
              <a:defRPr sz="2000" b="1">
                <a:solidFill>
                  <a:schemeClr val="accent1"/>
                </a:solidFill>
              </a:defRPr>
            </a:lvl1pPr>
            <a:lvl2pPr>
              <a:buNone/>
              <a:defRPr/>
            </a:lvl2pPr>
            <a:lvl3pPr>
              <a:buNone/>
              <a:defRPr/>
            </a:lvl3pPr>
            <a:lvl4pPr>
              <a:buNone/>
              <a:defRPr/>
            </a:lvl4pPr>
            <a:lvl5pPr>
              <a:buNone/>
              <a:defRPr/>
            </a:lvl5pPr>
          </a:lstStyle>
          <a:p>
            <a:pPr lvl="0"/>
            <a:r>
              <a:rPr lang="es-ES" dirty="0"/>
              <a:t>##</a:t>
            </a:r>
            <a:endParaRPr lang="en-GB" dirty="0"/>
          </a:p>
        </p:txBody>
      </p:sp>
      <p:sp>
        <p:nvSpPr>
          <p:cNvPr id="27" name="Marcador de texto 3">
            <a:extLst>
              <a:ext uri="{FF2B5EF4-FFF2-40B4-BE49-F238E27FC236}">
                <a16:creationId xmlns:a16="http://schemas.microsoft.com/office/drawing/2014/main" id="{26650491-2940-408D-AA73-AEEDDD1C0C27}"/>
              </a:ext>
            </a:extLst>
          </p:cNvPr>
          <p:cNvSpPr>
            <a:spLocks noGrp="1"/>
          </p:cNvSpPr>
          <p:nvPr>
            <p:ph type="body" sz="quarter" idx="21" hasCustomPrompt="1"/>
          </p:nvPr>
        </p:nvSpPr>
        <p:spPr>
          <a:xfrm>
            <a:off x="6096206" y="3071703"/>
            <a:ext cx="5723862" cy="320400"/>
          </a:xfrm>
          <a:prstGeom prst="rect">
            <a:avLst/>
          </a:prstGeom>
        </p:spPr>
        <p:txBody>
          <a:bodyPr lIns="0" tIns="0" rIns="0" bIns="0"/>
          <a:lstStyle>
            <a:lvl1pPr algn="l">
              <a:buNone/>
              <a:defRPr sz="1400" b="1">
                <a:solidFill>
                  <a:schemeClr val="tx1"/>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s-ES" dirty="0"/>
              <a:t>Text </a:t>
            </a:r>
            <a:r>
              <a:rPr lang="es-ES" dirty="0" err="1"/>
              <a:t>for</a:t>
            </a:r>
            <a:r>
              <a:rPr lang="es-ES" dirty="0"/>
              <a:t> </a:t>
            </a:r>
            <a:r>
              <a:rPr lang="es-ES" dirty="0" err="1"/>
              <a:t>relevevant</a:t>
            </a:r>
            <a:r>
              <a:rPr lang="es-ES" dirty="0"/>
              <a:t> figure</a:t>
            </a:r>
            <a:endParaRPr lang="en-GB" dirty="0"/>
          </a:p>
        </p:txBody>
      </p:sp>
      <p:sp>
        <p:nvSpPr>
          <p:cNvPr id="28" name="Text Placeholder 9">
            <a:extLst>
              <a:ext uri="{FF2B5EF4-FFF2-40B4-BE49-F238E27FC236}">
                <a16:creationId xmlns:a16="http://schemas.microsoft.com/office/drawing/2014/main" id="{3A99E160-9CB7-46F7-BFA5-4D8D9B20F972}"/>
              </a:ext>
            </a:extLst>
          </p:cNvPr>
          <p:cNvSpPr>
            <a:spLocks noGrp="1"/>
          </p:cNvSpPr>
          <p:nvPr>
            <p:ph type="body" sz="quarter" idx="22"/>
          </p:nvPr>
        </p:nvSpPr>
        <p:spPr>
          <a:xfrm>
            <a:off x="6096000" y="3385341"/>
            <a:ext cx="5734050" cy="361950"/>
          </a:xfrm>
        </p:spPr>
        <p:txBody>
          <a:bodyPr/>
          <a:lstStyle>
            <a:lvl1pPr>
              <a:defRPr sz="1400"/>
            </a:lvl1pPr>
          </a:lstStyle>
          <a:p>
            <a:pPr lvl="0"/>
            <a:r>
              <a:rPr lang="en-US" dirty="0"/>
              <a:t>Click to edit Master text styles</a:t>
            </a:r>
          </a:p>
        </p:txBody>
      </p:sp>
      <p:sp>
        <p:nvSpPr>
          <p:cNvPr id="29" name="Marcador de texto 5">
            <a:extLst>
              <a:ext uri="{FF2B5EF4-FFF2-40B4-BE49-F238E27FC236}">
                <a16:creationId xmlns:a16="http://schemas.microsoft.com/office/drawing/2014/main" id="{42EE6536-0BB8-4A6D-9D22-EA3B9FA16FBD}"/>
              </a:ext>
            </a:extLst>
          </p:cNvPr>
          <p:cNvSpPr>
            <a:spLocks noGrp="1"/>
          </p:cNvSpPr>
          <p:nvPr>
            <p:ph type="body" sz="quarter" idx="23" hasCustomPrompt="1"/>
          </p:nvPr>
        </p:nvSpPr>
        <p:spPr>
          <a:xfrm>
            <a:off x="6096412" y="3910288"/>
            <a:ext cx="5722517" cy="374127"/>
          </a:xfrm>
          <a:prstGeom prst="rect">
            <a:avLst/>
          </a:prstGeom>
        </p:spPr>
        <p:txBody>
          <a:bodyPr lIns="0" tIns="0" rIns="0" bIns="0"/>
          <a:lstStyle>
            <a:lvl1pPr algn="l">
              <a:buNone/>
              <a:defRPr sz="2000" b="1">
                <a:solidFill>
                  <a:schemeClr val="accent1"/>
                </a:solidFill>
              </a:defRPr>
            </a:lvl1pPr>
            <a:lvl2pPr>
              <a:buNone/>
              <a:defRPr/>
            </a:lvl2pPr>
            <a:lvl3pPr>
              <a:buNone/>
              <a:defRPr/>
            </a:lvl3pPr>
            <a:lvl4pPr>
              <a:buNone/>
              <a:defRPr/>
            </a:lvl4pPr>
            <a:lvl5pPr>
              <a:buNone/>
              <a:defRPr/>
            </a:lvl5pPr>
          </a:lstStyle>
          <a:p>
            <a:pPr lvl="0"/>
            <a:r>
              <a:rPr lang="es-ES" dirty="0"/>
              <a:t>##</a:t>
            </a:r>
            <a:endParaRPr lang="en-GB" dirty="0"/>
          </a:p>
        </p:txBody>
      </p:sp>
      <p:sp>
        <p:nvSpPr>
          <p:cNvPr id="30" name="Marcador de texto 3">
            <a:extLst>
              <a:ext uri="{FF2B5EF4-FFF2-40B4-BE49-F238E27FC236}">
                <a16:creationId xmlns:a16="http://schemas.microsoft.com/office/drawing/2014/main" id="{E53787EC-9BC5-4F7F-9E55-20D2FEB06520}"/>
              </a:ext>
            </a:extLst>
          </p:cNvPr>
          <p:cNvSpPr>
            <a:spLocks noGrp="1"/>
          </p:cNvSpPr>
          <p:nvPr>
            <p:ph type="body" sz="quarter" idx="24" hasCustomPrompt="1"/>
          </p:nvPr>
        </p:nvSpPr>
        <p:spPr>
          <a:xfrm>
            <a:off x="6096412" y="4321627"/>
            <a:ext cx="5723862" cy="320400"/>
          </a:xfrm>
          <a:prstGeom prst="rect">
            <a:avLst/>
          </a:prstGeom>
        </p:spPr>
        <p:txBody>
          <a:bodyPr lIns="0" tIns="0" rIns="0" bIns="0"/>
          <a:lstStyle>
            <a:lvl1pPr algn="l">
              <a:buNone/>
              <a:defRPr sz="1400" b="1">
                <a:solidFill>
                  <a:schemeClr val="tx1"/>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s-ES" dirty="0"/>
              <a:t>Text </a:t>
            </a:r>
            <a:r>
              <a:rPr lang="es-ES" dirty="0" err="1"/>
              <a:t>for</a:t>
            </a:r>
            <a:r>
              <a:rPr lang="es-ES" dirty="0"/>
              <a:t> </a:t>
            </a:r>
            <a:r>
              <a:rPr lang="es-ES" dirty="0" err="1"/>
              <a:t>relevevant</a:t>
            </a:r>
            <a:r>
              <a:rPr lang="es-ES" dirty="0"/>
              <a:t> figure</a:t>
            </a:r>
            <a:endParaRPr lang="en-GB" dirty="0"/>
          </a:p>
        </p:txBody>
      </p:sp>
      <p:sp>
        <p:nvSpPr>
          <p:cNvPr id="31" name="Text Placeholder 9">
            <a:extLst>
              <a:ext uri="{FF2B5EF4-FFF2-40B4-BE49-F238E27FC236}">
                <a16:creationId xmlns:a16="http://schemas.microsoft.com/office/drawing/2014/main" id="{AF5E5ABC-8A90-431B-8681-F770DC35B27A}"/>
              </a:ext>
            </a:extLst>
          </p:cNvPr>
          <p:cNvSpPr>
            <a:spLocks noGrp="1"/>
          </p:cNvSpPr>
          <p:nvPr>
            <p:ph type="body" sz="quarter" idx="25"/>
          </p:nvPr>
        </p:nvSpPr>
        <p:spPr>
          <a:xfrm>
            <a:off x="6096206" y="4635265"/>
            <a:ext cx="5734050" cy="361950"/>
          </a:xfrm>
        </p:spPr>
        <p:txBody>
          <a:bodyPr/>
          <a:lstStyle>
            <a:lvl1pPr>
              <a:defRPr sz="1400"/>
            </a:lvl1pPr>
          </a:lstStyle>
          <a:p>
            <a:pPr lvl="0"/>
            <a:r>
              <a:rPr lang="en-US" dirty="0"/>
              <a:t>Click to edit Master text styles</a:t>
            </a:r>
          </a:p>
        </p:txBody>
      </p:sp>
      <p:sp>
        <p:nvSpPr>
          <p:cNvPr id="32" name="Marcador de texto 5">
            <a:extLst>
              <a:ext uri="{FF2B5EF4-FFF2-40B4-BE49-F238E27FC236}">
                <a16:creationId xmlns:a16="http://schemas.microsoft.com/office/drawing/2014/main" id="{D1EAAC23-31AB-400D-B902-A13EC10EAFDC}"/>
              </a:ext>
            </a:extLst>
          </p:cNvPr>
          <p:cNvSpPr>
            <a:spLocks noGrp="1"/>
          </p:cNvSpPr>
          <p:nvPr>
            <p:ph type="body" sz="quarter" idx="26" hasCustomPrompt="1"/>
          </p:nvPr>
        </p:nvSpPr>
        <p:spPr>
          <a:xfrm>
            <a:off x="6096618" y="5159695"/>
            <a:ext cx="5722517" cy="374127"/>
          </a:xfrm>
          <a:prstGeom prst="rect">
            <a:avLst/>
          </a:prstGeom>
        </p:spPr>
        <p:txBody>
          <a:bodyPr lIns="0" tIns="0" rIns="0" bIns="0"/>
          <a:lstStyle>
            <a:lvl1pPr algn="l">
              <a:buNone/>
              <a:defRPr sz="2000" b="1">
                <a:solidFill>
                  <a:schemeClr val="accent1"/>
                </a:solidFill>
              </a:defRPr>
            </a:lvl1pPr>
            <a:lvl2pPr>
              <a:buNone/>
              <a:defRPr/>
            </a:lvl2pPr>
            <a:lvl3pPr>
              <a:buNone/>
              <a:defRPr/>
            </a:lvl3pPr>
            <a:lvl4pPr>
              <a:buNone/>
              <a:defRPr/>
            </a:lvl4pPr>
            <a:lvl5pPr>
              <a:buNone/>
              <a:defRPr/>
            </a:lvl5pPr>
          </a:lstStyle>
          <a:p>
            <a:pPr lvl="0"/>
            <a:r>
              <a:rPr lang="es-ES" dirty="0"/>
              <a:t>##</a:t>
            </a:r>
            <a:endParaRPr lang="en-GB" dirty="0"/>
          </a:p>
        </p:txBody>
      </p:sp>
      <p:sp>
        <p:nvSpPr>
          <p:cNvPr id="33" name="Marcador de texto 3">
            <a:extLst>
              <a:ext uri="{FF2B5EF4-FFF2-40B4-BE49-F238E27FC236}">
                <a16:creationId xmlns:a16="http://schemas.microsoft.com/office/drawing/2014/main" id="{A9BE9442-5EA2-4FE1-814F-10C81CE0E23E}"/>
              </a:ext>
            </a:extLst>
          </p:cNvPr>
          <p:cNvSpPr>
            <a:spLocks noGrp="1"/>
          </p:cNvSpPr>
          <p:nvPr>
            <p:ph type="body" sz="quarter" idx="27" hasCustomPrompt="1"/>
          </p:nvPr>
        </p:nvSpPr>
        <p:spPr>
          <a:xfrm>
            <a:off x="6096618" y="5571034"/>
            <a:ext cx="5723862" cy="320400"/>
          </a:xfrm>
          <a:prstGeom prst="rect">
            <a:avLst/>
          </a:prstGeom>
        </p:spPr>
        <p:txBody>
          <a:bodyPr lIns="0" tIns="0" rIns="0" bIns="0"/>
          <a:lstStyle>
            <a:lvl1pPr algn="l">
              <a:buNone/>
              <a:defRPr sz="1400" b="1">
                <a:solidFill>
                  <a:schemeClr val="tx1"/>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s-ES" dirty="0"/>
              <a:t>Text </a:t>
            </a:r>
            <a:r>
              <a:rPr lang="es-ES" dirty="0" err="1"/>
              <a:t>for</a:t>
            </a:r>
            <a:r>
              <a:rPr lang="es-ES" dirty="0"/>
              <a:t> </a:t>
            </a:r>
            <a:r>
              <a:rPr lang="es-ES" dirty="0" err="1"/>
              <a:t>relevevant</a:t>
            </a:r>
            <a:r>
              <a:rPr lang="es-ES" dirty="0"/>
              <a:t> figure</a:t>
            </a:r>
            <a:endParaRPr lang="en-GB" dirty="0"/>
          </a:p>
        </p:txBody>
      </p:sp>
      <p:sp>
        <p:nvSpPr>
          <p:cNvPr id="34" name="Text Placeholder 9">
            <a:extLst>
              <a:ext uri="{FF2B5EF4-FFF2-40B4-BE49-F238E27FC236}">
                <a16:creationId xmlns:a16="http://schemas.microsoft.com/office/drawing/2014/main" id="{4DD1878A-DCCC-4F22-8B0F-E794A9D0F7EC}"/>
              </a:ext>
            </a:extLst>
          </p:cNvPr>
          <p:cNvSpPr>
            <a:spLocks noGrp="1"/>
          </p:cNvSpPr>
          <p:nvPr>
            <p:ph type="body" sz="quarter" idx="28"/>
          </p:nvPr>
        </p:nvSpPr>
        <p:spPr>
          <a:xfrm>
            <a:off x="6096412" y="5884672"/>
            <a:ext cx="5734050" cy="361950"/>
          </a:xfrm>
        </p:spPr>
        <p:txBody>
          <a:bodyPr/>
          <a:lstStyle>
            <a:lvl1pPr>
              <a:defRPr sz="1400"/>
            </a:lvl1pPr>
          </a:lstStyle>
          <a:p>
            <a:pPr lvl="0"/>
            <a:r>
              <a:rPr lang="en-US" dirty="0"/>
              <a:t>Click to edit Master text styles</a:t>
            </a:r>
          </a:p>
        </p:txBody>
      </p:sp>
      <p:sp>
        <p:nvSpPr>
          <p:cNvPr id="23" name="Rectangle 22">
            <a:extLst>
              <a:ext uri="{FF2B5EF4-FFF2-40B4-BE49-F238E27FC236}">
                <a16:creationId xmlns:a16="http://schemas.microsoft.com/office/drawing/2014/main" id="{2D7028F5-41F1-4874-83FE-6BD5DAAC8B19}"/>
              </a:ext>
            </a:extLst>
          </p:cNvPr>
          <p:cNvSpPr/>
          <p:nvPr userDrawn="1"/>
        </p:nvSpPr>
        <p:spPr>
          <a:xfrm>
            <a:off x="3051745"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4" name="Rectangle 23">
            <a:extLst>
              <a:ext uri="{FF2B5EF4-FFF2-40B4-BE49-F238E27FC236}">
                <a16:creationId xmlns:a16="http://schemas.microsoft.com/office/drawing/2014/main" id="{725A0D7D-F7EA-4C34-8C60-991037B35E97}"/>
              </a:ext>
            </a:extLst>
          </p:cNvPr>
          <p:cNvSpPr/>
          <p:nvPr userDrawn="1"/>
        </p:nvSpPr>
        <p:spPr>
          <a:xfrm>
            <a:off x="7490"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5" name="Rectangle 24">
            <a:extLst>
              <a:ext uri="{FF2B5EF4-FFF2-40B4-BE49-F238E27FC236}">
                <a16:creationId xmlns:a16="http://schemas.microsoft.com/office/drawing/2014/main" id="{14787A46-69D5-4929-8614-456C5C0DD1BA}"/>
              </a:ext>
            </a:extLst>
          </p:cNvPr>
          <p:cNvSpPr/>
          <p:nvPr userDrawn="1"/>
        </p:nvSpPr>
        <p:spPr>
          <a:xfrm>
            <a:off x="9149414"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5" name="Rectangle 34">
            <a:extLst>
              <a:ext uri="{FF2B5EF4-FFF2-40B4-BE49-F238E27FC236}">
                <a16:creationId xmlns:a16="http://schemas.microsoft.com/office/drawing/2014/main" id="{12D32501-CA50-46B1-982E-760E641272A0}"/>
              </a:ext>
            </a:extLst>
          </p:cNvPr>
          <p:cNvSpPr/>
          <p:nvPr userDrawn="1"/>
        </p:nvSpPr>
        <p:spPr>
          <a:xfrm>
            <a:off x="6105159"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Tree>
    <p:extLst>
      <p:ext uri="{BB962C8B-B14F-4D97-AF65-F5344CB8AC3E}">
        <p14:creationId xmlns:p14="http://schemas.microsoft.com/office/powerpoint/2010/main" val="322934728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2_Agenda">
    <p:spTree>
      <p:nvGrpSpPr>
        <p:cNvPr id="1" name=""/>
        <p:cNvGrpSpPr/>
        <p:nvPr/>
      </p:nvGrpSpPr>
      <p:grpSpPr>
        <a:xfrm>
          <a:off x="0" y="0"/>
          <a:ext cx="0" cy="0"/>
          <a:chOff x="0" y="0"/>
          <a:chExt cx="0" cy="0"/>
        </a:xfrm>
      </p:grpSpPr>
      <p:sp>
        <p:nvSpPr>
          <p:cNvPr id="47" name="Rectángulo 1">
            <a:extLst>
              <a:ext uri="{FF2B5EF4-FFF2-40B4-BE49-F238E27FC236}">
                <a16:creationId xmlns:a16="http://schemas.microsoft.com/office/drawing/2014/main" id="{34B86330-9A35-45F6-9C81-EEF37DAF6803}"/>
              </a:ext>
            </a:extLst>
          </p:cNvPr>
          <p:cNvSpPr/>
          <p:nvPr userDrawn="1"/>
        </p:nvSpPr>
        <p:spPr>
          <a:xfrm rot="10800000">
            <a:off x="-8399" y="-1969"/>
            <a:ext cx="6114006" cy="6863178"/>
          </a:xfrm>
          <a:custGeom>
            <a:avLst/>
            <a:gdLst>
              <a:gd name="connsiteX0" fmla="*/ 0 w 3267919"/>
              <a:gd name="connsiteY0" fmla="*/ 0 h 6858000"/>
              <a:gd name="connsiteX1" fmla="*/ 3267919 w 3267919"/>
              <a:gd name="connsiteY1" fmla="*/ 0 h 6858000"/>
              <a:gd name="connsiteX2" fmla="*/ 3267919 w 3267919"/>
              <a:gd name="connsiteY2" fmla="*/ 6858000 h 6858000"/>
              <a:gd name="connsiteX3" fmla="*/ 0 w 3267919"/>
              <a:gd name="connsiteY3" fmla="*/ 6858000 h 6858000"/>
              <a:gd name="connsiteX4" fmla="*/ 0 w 3267919"/>
              <a:gd name="connsiteY4" fmla="*/ 0 h 6858000"/>
              <a:gd name="connsiteX0" fmla="*/ 2835797 w 6103716"/>
              <a:gd name="connsiteY0" fmla="*/ 0 h 6858000"/>
              <a:gd name="connsiteX1" fmla="*/ 6103716 w 6103716"/>
              <a:gd name="connsiteY1" fmla="*/ 0 h 6858000"/>
              <a:gd name="connsiteX2" fmla="*/ 6103716 w 6103716"/>
              <a:gd name="connsiteY2" fmla="*/ 6858000 h 6858000"/>
              <a:gd name="connsiteX3" fmla="*/ 0 w 6103716"/>
              <a:gd name="connsiteY3" fmla="*/ 6858000 h 6858000"/>
              <a:gd name="connsiteX4" fmla="*/ 2835797 w 6103716"/>
              <a:gd name="connsiteY4" fmla="*/ 0 h 6858000"/>
              <a:gd name="connsiteX0" fmla="*/ 2835797 w 7255397"/>
              <a:gd name="connsiteY0" fmla="*/ 5788 h 6863788"/>
              <a:gd name="connsiteX1" fmla="*/ 7255397 w 7255397"/>
              <a:gd name="connsiteY1" fmla="*/ 0 h 6863788"/>
              <a:gd name="connsiteX2" fmla="*/ 6103716 w 7255397"/>
              <a:gd name="connsiteY2" fmla="*/ 6863788 h 6863788"/>
              <a:gd name="connsiteX3" fmla="*/ 0 w 7255397"/>
              <a:gd name="connsiteY3" fmla="*/ 6863788 h 6863788"/>
              <a:gd name="connsiteX4" fmla="*/ 2835797 w 7255397"/>
              <a:gd name="connsiteY4" fmla="*/ 5788 h 6863788"/>
              <a:gd name="connsiteX0" fmla="*/ 2835797 w 7255397"/>
              <a:gd name="connsiteY0" fmla="*/ 5788 h 6863788"/>
              <a:gd name="connsiteX1" fmla="*/ 7255397 w 7255397"/>
              <a:gd name="connsiteY1" fmla="*/ 0 h 6863788"/>
              <a:gd name="connsiteX2" fmla="*/ 7232248 w 7255397"/>
              <a:gd name="connsiteY2" fmla="*/ 6863788 h 6863788"/>
              <a:gd name="connsiteX3" fmla="*/ 0 w 7255397"/>
              <a:gd name="connsiteY3" fmla="*/ 6863788 h 6863788"/>
              <a:gd name="connsiteX4" fmla="*/ 2835797 w 7255397"/>
              <a:gd name="connsiteY4" fmla="*/ 5788 h 6863788"/>
              <a:gd name="connsiteX0" fmla="*/ 2586941 w 7006541"/>
              <a:gd name="connsiteY0" fmla="*/ 5788 h 6869576"/>
              <a:gd name="connsiteX1" fmla="*/ 7006541 w 7006541"/>
              <a:gd name="connsiteY1" fmla="*/ 0 h 6869576"/>
              <a:gd name="connsiteX2" fmla="*/ 6983392 w 7006541"/>
              <a:gd name="connsiteY2" fmla="*/ 6863788 h 6869576"/>
              <a:gd name="connsiteX3" fmla="*/ 0 w 7006541"/>
              <a:gd name="connsiteY3" fmla="*/ 6869576 h 6869576"/>
              <a:gd name="connsiteX4" fmla="*/ 2586941 w 7006541"/>
              <a:gd name="connsiteY4" fmla="*/ 5788 h 6869576"/>
              <a:gd name="connsiteX0" fmla="*/ 2586941 w 7006541"/>
              <a:gd name="connsiteY0" fmla="*/ 5788 h 6869576"/>
              <a:gd name="connsiteX1" fmla="*/ 7006541 w 7006541"/>
              <a:gd name="connsiteY1" fmla="*/ 0 h 6869576"/>
              <a:gd name="connsiteX2" fmla="*/ 6983392 w 7006541"/>
              <a:gd name="connsiteY2" fmla="*/ 6863788 h 6869576"/>
              <a:gd name="connsiteX3" fmla="*/ 0 w 7006541"/>
              <a:gd name="connsiteY3" fmla="*/ 6869576 h 6869576"/>
              <a:gd name="connsiteX4" fmla="*/ 2586941 w 7006541"/>
              <a:gd name="connsiteY4" fmla="*/ 5788 h 6869576"/>
              <a:gd name="connsiteX0" fmla="*/ 2586941 w 6983416"/>
              <a:gd name="connsiteY0" fmla="*/ 0 h 6863788"/>
              <a:gd name="connsiteX1" fmla="*/ 5148805 w 6983416"/>
              <a:gd name="connsiteY1" fmla="*/ 0 h 6863788"/>
              <a:gd name="connsiteX2" fmla="*/ 6983392 w 6983416"/>
              <a:gd name="connsiteY2" fmla="*/ 6858000 h 6863788"/>
              <a:gd name="connsiteX3" fmla="*/ 0 w 6983416"/>
              <a:gd name="connsiteY3" fmla="*/ 6863788 h 6863788"/>
              <a:gd name="connsiteX4" fmla="*/ 2586941 w 6983416"/>
              <a:gd name="connsiteY4" fmla="*/ 0 h 6863788"/>
              <a:gd name="connsiteX0" fmla="*/ 2586941 w 6983421"/>
              <a:gd name="connsiteY0" fmla="*/ 0 h 6863788"/>
              <a:gd name="connsiteX1" fmla="*/ 5513407 w 6983421"/>
              <a:gd name="connsiteY1" fmla="*/ 0 h 6863788"/>
              <a:gd name="connsiteX2" fmla="*/ 6983392 w 6983421"/>
              <a:gd name="connsiteY2" fmla="*/ 6858000 h 6863788"/>
              <a:gd name="connsiteX3" fmla="*/ 0 w 6983421"/>
              <a:gd name="connsiteY3" fmla="*/ 6863788 h 6863788"/>
              <a:gd name="connsiteX4" fmla="*/ 2586941 w 6983421"/>
              <a:gd name="connsiteY4" fmla="*/ 0 h 6863788"/>
              <a:gd name="connsiteX0" fmla="*/ 2586941 w 5513407"/>
              <a:gd name="connsiteY0" fmla="*/ 0 h 6869575"/>
              <a:gd name="connsiteX1" fmla="*/ 5513407 w 5513407"/>
              <a:gd name="connsiteY1" fmla="*/ 0 h 6869575"/>
              <a:gd name="connsiteX2" fmla="*/ 5183529 w 5513407"/>
              <a:gd name="connsiteY2" fmla="*/ 6869575 h 6869575"/>
              <a:gd name="connsiteX3" fmla="*/ 0 w 5513407"/>
              <a:gd name="connsiteY3" fmla="*/ 6863788 h 6869575"/>
              <a:gd name="connsiteX4" fmla="*/ 2586941 w 5513407"/>
              <a:gd name="connsiteY4" fmla="*/ 0 h 6869575"/>
              <a:gd name="connsiteX0" fmla="*/ 2586941 w 5513407"/>
              <a:gd name="connsiteY0" fmla="*/ 0 h 6863788"/>
              <a:gd name="connsiteX1" fmla="*/ 5513407 w 5513407"/>
              <a:gd name="connsiteY1" fmla="*/ 0 h 6863788"/>
              <a:gd name="connsiteX2" fmla="*/ 5496045 w 5513407"/>
              <a:gd name="connsiteY2" fmla="*/ 6829064 h 6863788"/>
              <a:gd name="connsiteX3" fmla="*/ 0 w 5513407"/>
              <a:gd name="connsiteY3" fmla="*/ 6863788 h 6863788"/>
              <a:gd name="connsiteX4" fmla="*/ 2586941 w 5513407"/>
              <a:gd name="connsiteY4" fmla="*/ 0 h 6863788"/>
              <a:gd name="connsiteX0" fmla="*/ 2586941 w 5520913"/>
              <a:gd name="connsiteY0" fmla="*/ 0 h 6863788"/>
              <a:gd name="connsiteX1" fmla="*/ 5513407 w 5520913"/>
              <a:gd name="connsiteY1" fmla="*/ 0 h 6863788"/>
              <a:gd name="connsiteX2" fmla="*/ 5519195 w 5520913"/>
              <a:gd name="connsiteY2" fmla="*/ 6840638 h 6863788"/>
              <a:gd name="connsiteX3" fmla="*/ 0 w 5520913"/>
              <a:gd name="connsiteY3" fmla="*/ 6863788 h 6863788"/>
              <a:gd name="connsiteX4" fmla="*/ 2586941 w 5520913"/>
              <a:gd name="connsiteY4" fmla="*/ 0 h 6863788"/>
              <a:gd name="connsiteX0" fmla="*/ 2586941 w 5543249"/>
              <a:gd name="connsiteY0" fmla="*/ 0 h 6863788"/>
              <a:gd name="connsiteX1" fmla="*/ 5513407 w 5543249"/>
              <a:gd name="connsiteY1" fmla="*/ 0 h 6863788"/>
              <a:gd name="connsiteX2" fmla="*/ 5542344 w 5543249"/>
              <a:gd name="connsiteY2" fmla="*/ 6852213 h 6863788"/>
              <a:gd name="connsiteX3" fmla="*/ 0 w 5543249"/>
              <a:gd name="connsiteY3" fmla="*/ 6863788 h 6863788"/>
              <a:gd name="connsiteX4" fmla="*/ 2586941 w 5543249"/>
              <a:gd name="connsiteY4" fmla="*/ 0 h 6863788"/>
              <a:gd name="connsiteX0" fmla="*/ 2586941 w 5543249"/>
              <a:gd name="connsiteY0" fmla="*/ 0 h 6863788"/>
              <a:gd name="connsiteX1" fmla="*/ 5513407 w 5543249"/>
              <a:gd name="connsiteY1" fmla="*/ 0 h 6863788"/>
              <a:gd name="connsiteX2" fmla="*/ 5542344 w 5543249"/>
              <a:gd name="connsiteY2" fmla="*/ 6852213 h 6863788"/>
              <a:gd name="connsiteX3" fmla="*/ 0 w 5543249"/>
              <a:gd name="connsiteY3" fmla="*/ 6863788 h 6863788"/>
              <a:gd name="connsiteX4" fmla="*/ 2586941 w 5543249"/>
              <a:gd name="connsiteY4" fmla="*/ 0 h 6863788"/>
              <a:gd name="connsiteX0" fmla="*/ 2552723 w 5509031"/>
              <a:gd name="connsiteY0" fmla="*/ 0 h 6852213"/>
              <a:gd name="connsiteX1" fmla="*/ 5479189 w 5509031"/>
              <a:gd name="connsiteY1" fmla="*/ 0 h 6852213"/>
              <a:gd name="connsiteX2" fmla="*/ 5508126 w 5509031"/>
              <a:gd name="connsiteY2" fmla="*/ 6852213 h 6852213"/>
              <a:gd name="connsiteX3" fmla="*/ 0 w 5509031"/>
              <a:gd name="connsiteY3" fmla="*/ 6789649 h 6852213"/>
              <a:gd name="connsiteX4" fmla="*/ 2552723 w 5509031"/>
              <a:gd name="connsiteY4" fmla="*/ 0 h 6852213"/>
              <a:gd name="connsiteX0" fmla="*/ 2552723 w 5494413"/>
              <a:gd name="connsiteY0" fmla="*/ 0 h 6789649"/>
              <a:gd name="connsiteX1" fmla="*/ 5479189 w 5494413"/>
              <a:gd name="connsiteY1" fmla="*/ 0 h 6789649"/>
              <a:gd name="connsiteX2" fmla="*/ 5493109 w 5494413"/>
              <a:gd name="connsiteY2" fmla="*/ 6606924 h 6789649"/>
              <a:gd name="connsiteX3" fmla="*/ 0 w 5494413"/>
              <a:gd name="connsiteY3" fmla="*/ 6789649 h 6789649"/>
              <a:gd name="connsiteX4" fmla="*/ 2552723 w 5494413"/>
              <a:gd name="connsiteY4" fmla="*/ 0 h 6789649"/>
              <a:gd name="connsiteX0" fmla="*/ 2552723 w 5479189"/>
              <a:gd name="connsiteY0" fmla="*/ 0 h 6789649"/>
              <a:gd name="connsiteX1" fmla="*/ 5479189 w 5479189"/>
              <a:gd name="connsiteY1" fmla="*/ 0 h 6789649"/>
              <a:gd name="connsiteX2" fmla="*/ 5433038 w 5479189"/>
              <a:gd name="connsiteY2" fmla="*/ 6757102 h 6789649"/>
              <a:gd name="connsiteX3" fmla="*/ 0 w 5479189"/>
              <a:gd name="connsiteY3" fmla="*/ 6789649 h 6789649"/>
              <a:gd name="connsiteX4" fmla="*/ 2552723 w 5479189"/>
              <a:gd name="connsiteY4" fmla="*/ 0 h 6789649"/>
              <a:gd name="connsiteX0" fmla="*/ 3088411 w 6014877"/>
              <a:gd name="connsiteY0" fmla="*/ 0 h 6757102"/>
              <a:gd name="connsiteX1" fmla="*/ 6014877 w 6014877"/>
              <a:gd name="connsiteY1" fmla="*/ 0 h 6757102"/>
              <a:gd name="connsiteX2" fmla="*/ 5968726 w 6014877"/>
              <a:gd name="connsiteY2" fmla="*/ 6757102 h 6757102"/>
              <a:gd name="connsiteX3" fmla="*/ 0 w 6014877"/>
              <a:gd name="connsiteY3" fmla="*/ 6737568 h 6757102"/>
              <a:gd name="connsiteX4" fmla="*/ 3088411 w 6014877"/>
              <a:gd name="connsiteY4" fmla="*/ 0 h 6757102"/>
              <a:gd name="connsiteX0" fmla="*/ 3088411 w 6014877"/>
              <a:gd name="connsiteY0" fmla="*/ 0 h 6737568"/>
              <a:gd name="connsiteX1" fmla="*/ 6014877 w 6014877"/>
              <a:gd name="connsiteY1" fmla="*/ 0 h 6737568"/>
              <a:gd name="connsiteX2" fmla="*/ 5946405 w 6014877"/>
              <a:gd name="connsiteY2" fmla="*/ 6593419 h 6737568"/>
              <a:gd name="connsiteX3" fmla="*/ 0 w 6014877"/>
              <a:gd name="connsiteY3" fmla="*/ 6737568 h 6737568"/>
              <a:gd name="connsiteX4" fmla="*/ 3088411 w 6014877"/>
              <a:gd name="connsiteY4" fmla="*/ 0 h 6737568"/>
              <a:gd name="connsiteX0" fmla="*/ 3088411 w 6014877"/>
              <a:gd name="connsiteY0" fmla="*/ 0 h 6737568"/>
              <a:gd name="connsiteX1" fmla="*/ 6014877 w 6014877"/>
              <a:gd name="connsiteY1" fmla="*/ 0 h 6737568"/>
              <a:gd name="connsiteX2" fmla="*/ 5938965 w 6014877"/>
              <a:gd name="connsiteY2" fmla="*/ 6727341 h 6737568"/>
              <a:gd name="connsiteX3" fmla="*/ 0 w 6014877"/>
              <a:gd name="connsiteY3" fmla="*/ 6737568 h 6737568"/>
              <a:gd name="connsiteX4" fmla="*/ 3088411 w 6014877"/>
              <a:gd name="connsiteY4" fmla="*/ 0 h 6737568"/>
              <a:gd name="connsiteX0" fmla="*/ 3088411 w 6014877"/>
              <a:gd name="connsiteY0" fmla="*/ 0 h 6737568"/>
              <a:gd name="connsiteX1" fmla="*/ 6014877 w 6014877"/>
              <a:gd name="connsiteY1" fmla="*/ 0 h 6737568"/>
              <a:gd name="connsiteX2" fmla="*/ 5946405 w 6014877"/>
              <a:gd name="connsiteY2" fmla="*/ 6712461 h 6737568"/>
              <a:gd name="connsiteX3" fmla="*/ 0 w 6014877"/>
              <a:gd name="connsiteY3" fmla="*/ 6737568 h 6737568"/>
              <a:gd name="connsiteX4" fmla="*/ 3088411 w 6014877"/>
              <a:gd name="connsiteY4" fmla="*/ 0 h 6737568"/>
              <a:gd name="connsiteX0" fmla="*/ 3088411 w 6014877"/>
              <a:gd name="connsiteY0" fmla="*/ 0 h 6737568"/>
              <a:gd name="connsiteX1" fmla="*/ 6014877 w 6014877"/>
              <a:gd name="connsiteY1" fmla="*/ 0 h 6737568"/>
              <a:gd name="connsiteX2" fmla="*/ 5935104 w 6014877"/>
              <a:gd name="connsiteY2" fmla="*/ 6729413 h 6737568"/>
              <a:gd name="connsiteX3" fmla="*/ 0 w 6014877"/>
              <a:gd name="connsiteY3" fmla="*/ 6737568 h 6737568"/>
              <a:gd name="connsiteX4" fmla="*/ 3088411 w 6014877"/>
              <a:gd name="connsiteY4" fmla="*/ 0 h 6737568"/>
              <a:gd name="connsiteX0" fmla="*/ 3088411 w 6014877"/>
              <a:gd name="connsiteY0" fmla="*/ 0 h 6737568"/>
              <a:gd name="connsiteX1" fmla="*/ 6014877 w 6014877"/>
              <a:gd name="connsiteY1" fmla="*/ 0 h 6737568"/>
              <a:gd name="connsiteX2" fmla="*/ 5952057 w 6014877"/>
              <a:gd name="connsiteY2" fmla="*/ 6729413 h 6737568"/>
              <a:gd name="connsiteX3" fmla="*/ 0 w 6014877"/>
              <a:gd name="connsiteY3" fmla="*/ 6737568 h 6737568"/>
              <a:gd name="connsiteX4" fmla="*/ 3088411 w 6014877"/>
              <a:gd name="connsiteY4" fmla="*/ 0 h 6737568"/>
              <a:gd name="connsiteX0" fmla="*/ 2534640 w 6014877"/>
              <a:gd name="connsiteY0" fmla="*/ 11302 h 6737568"/>
              <a:gd name="connsiteX1" fmla="*/ 6014877 w 6014877"/>
              <a:gd name="connsiteY1" fmla="*/ 0 h 6737568"/>
              <a:gd name="connsiteX2" fmla="*/ 5952057 w 6014877"/>
              <a:gd name="connsiteY2" fmla="*/ 6729413 h 6737568"/>
              <a:gd name="connsiteX3" fmla="*/ 0 w 6014877"/>
              <a:gd name="connsiteY3" fmla="*/ 6737568 h 6737568"/>
              <a:gd name="connsiteX4" fmla="*/ 2534640 w 6014877"/>
              <a:gd name="connsiteY4" fmla="*/ 11302 h 6737568"/>
              <a:gd name="connsiteX0" fmla="*/ 2534640 w 5954363"/>
              <a:gd name="connsiteY0" fmla="*/ 0 h 6726266"/>
              <a:gd name="connsiteX1" fmla="*/ 5952719 w 5954363"/>
              <a:gd name="connsiteY1" fmla="*/ 11301 h 6726266"/>
              <a:gd name="connsiteX2" fmla="*/ 5952057 w 5954363"/>
              <a:gd name="connsiteY2" fmla="*/ 6718111 h 6726266"/>
              <a:gd name="connsiteX3" fmla="*/ 0 w 5954363"/>
              <a:gd name="connsiteY3" fmla="*/ 6726266 h 6726266"/>
              <a:gd name="connsiteX4" fmla="*/ 2534640 w 5954363"/>
              <a:gd name="connsiteY4" fmla="*/ 0 h 6726266"/>
              <a:gd name="connsiteX0" fmla="*/ 2534640 w 5952207"/>
              <a:gd name="connsiteY0" fmla="*/ 0 h 6726266"/>
              <a:gd name="connsiteX1" fmla="*/ 5675834 w 5952207"/>
              <a:gd name="connsiteY1" fmla="*/ 118664 h 6726266"/>
              <a:gd name="connsiteX2" fmla="*/ 5952057 w 5952207"/>
              <a:gd name="connsiteY2" fmla="*/ 6718111 h 6726266"/>
              <a:gd name="connsiteX3" fmla="*/ 0 w 5952207"/>
              <a:gd name="connsiteY3" fmla="*/ 6726266 h 6726266"/>
              <a:gd name="connsiteX4" fmla="*/ 2534640 w 5952207"/>
              <a:gd name="connsiteY4" fmla="*/ 0 h 6726266"/>
              <a:gd name="connsiteX0" fmla="*/ 2534640 w 5958370"/>
              <a:gd name="connsiteY0" fmla="*/ 0 h 6726266"/>
              <a:gd name="connsiteX1" fmla="*/ 5958370 w 5958370"/>
              <a:gd name="connsiteY1" fmla="*/ 28253 h 6726266"/>
              <a:gd name="connsiteX2" fmla="*/ 5952057 w 5958370"/>
              <a:gd name="connsiteY2" fmla="*/ 6718111 h 6726266"/>
              <a:gd name="connsiteX3" fmla="*/ 0 w 5958370"/>
              <a:gd name="connsiteY3" fmla="*/ 6726266 h 6726266"/>
              <a:gd name="connsiteX4" fmla="*/ 2534640 w 5958370"/>
              <a:gd name="connsiteY4" fmla="*/ 0 h 6726266"/>
              <a:gd name="connsiteX0" fmla="*/ 2574194 w 5958370"/>
              <a:gd name="connsiteY0" fmla="*/ 50857 h 6698013"/>
              <a:gd name="connsiteX1" fmla="*/ 5958370 w 5958370"/>
              <a:gd name="connsiteY1" fmla="*/ 0 h 6698013"/>
              <a:gd name="connsiteX2" fmla="*/ 5952057 w 5958370"/>
              <a:gd name="connsiteY2" fmla="*/ 6689858 h 6698013"/>
              <a:gd name="connsiteX3" fmla="*/ 0 w 5958370"/>
              <a:gd name="connsiteY3" fmla="*/ 6698013 h 6698013"/>
              <a:gd name="connsiteX4" fmla="*/ 2574194 w 5958370"/>
              <a:gd name="connsiteY4" fmla="*/ 50857 h 6698013"/>
              <a:gd name="connsiteX0" fmla="*/ 2534640 w 5958370"/>
              <a:gd name="connsiteY0" fmla="*/ 0 h 6709314"/>
              <a:gd name="connsiteX1" fmla="*/ 5958370 w 5958370"/>
              <a:gd name="connsiteY1" fmla="*/ 11301 h 6709314"/>
              <a:gd name="connsiteX2" fmla="*/ 5952057 w 5958370"/>
              <a:gd name="connsiteY2" fmla="*/ 6701159 h 6709314"/>
              <a:gd name="connsiteX3" fmla="*/ 0 w 5958370"/>
              <a:gd name="connsiteY3" fmla="*/ 6709314 h 6709314"/>
              <a:gd name="connsiteX4" fmla="*/ 2534640 w 5958370"/>
              <a:gd name="connsiteY4" fmla="*/ 0 h 6709314"/>
              <a:gd name="connsiteX0" fmla="*/ 2545942 w 5969672"/>
              <a:gd name="connsiteY0" fmla="*/ 0 h 6701159"/>
              <a:gd name="connsiteX1" fmla="*/ 5969672 w 5969672"/>
              <a:gd name="connsiteY1" fmla="*/ 11301 h 6701159"/>
              <a:gd name="connsiteX2" fmla="*/ 5963359 w 5969672"/>
              <a:gd name="connsiteY2" fmla="*/ 6701159 h 6701159"/>
              <a:gd name="connsiteX3" fmla="*/ 0 w 5969672"/>
              <a:gd name="connsiteY3" fmla="*/ 6698012 h 6701159"/>
              <a:gd name="connsiteX4" fmla="*/ 2545942 w 5969672"/>
              <a:gd name="connsiteY4" fmla="*/ 0 h 67011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69672" h="6701159">
                <a:moveTo>
                  <a:pt x="2545942" y="0"/>
                </a:moveTo>
                <a:lnTo>
                  <a:pt x="5969672" y="11301"/>
                </a:lnTo>
                <a:cubicBezTo>
                  <a:pt x="5961956" y="2299230"/>
                  <a:pt x="5971075" y="4413230"/>
                  <a:pt x="5963359" y="6701159"/>
                </a:cubicBezTo>
                <a:lnTo>
                  <a:pt x="0" y="6698012"/>
                </a:lnTo>
                <a:lnTo>
                  <a:pt x="2545942" y="0"/>
                </a:lnTo>
                <a:close/>
              </a:path>
            </a:pathLst>
          </a:custGeom>
          <a:gradFill>
            <a:gsLst>
              <a:gs pos="0">
                <a:schemeClr val="accent1"/>
              </a:gs>
              <a:gs pos="100000">
                <a:schemeClr val="accent2"/>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accent4"/>
              </a:solidFill>
            </a:endParaRPr>
          </a:p>
        </p:txBody>
      </p:sp>
      <p:graphicFrame>
        <p:nvGraphicFramePr>
          <p:cNvPr id="3" name="Object 2" hidden="1">
            <a:extLst>
              <a:ext uri="{FF2B5EF4-FFF2-40B4-BE49-F238E27FC236}">
                <a16:creationId xmlns:a16="http://schemas.microsoft.com/office/drawing/2014/main" id="{C18526C9-16E3-4A1D-828A-4692734F055E}"/>
              </a:ext>
            </a:extLst>
          </p:cNvPr>
          <p:cNvGraphicFramePr>
            <a:graphicFrameLocks noChangeAspect="1"/>
          </p:cNvGraphicFramePr>
          <p:nvPr userDrawn="1">
            <p:custDataLst>
              <p:tags r:id="rId2"/>
            </p:custDataLst>
            <p:extLst>
              <p:ext uri="{D42A27DB-BD31-4B8C-83A1-F6EECF244321}">
                <p14:modId xmlns:p14="http://schemas.microsoft.com/office/powerpoint/2010/main" val="417447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564" name="think-cell Slide" r:id="rId5" imgW="473" imgH="474" progId="TCLayout.ActiveDocument.1">
                  <p:embed/>
                </p:oleObj>
              </mc:Choice>
              <mc:Fallback>
                <p:oleObj name="think-cell Slide" r:id="rId5" imgW="473" imgH="474" progId="TCLayout.ActiveDocument.1">
                  <p:embed/>
                  <p:pic>
                    <p:nvPicPr>
                      <p:cNvPr id="3" name="Object 2" hidden="1">
                        <a:extLst>
                          <a:ext uri="{FF2B5EF4-FFF2-40B4-BE49-F238E27FC236}">
                            <a16:creationId xmlns:a16="http://schemas.microsoft.com/office/drawing/2014/main" id="{C18526C9-16E3-4A1D-828A-4692734F055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B2B384D-A05A-4439-838E-B66DA57DCB38}"/>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Verdana" panose="020B0604030504040204" pitchFamily="34" charset="0"/>
              <a:ea typeface="+mj-ea"/>
              <a:cs typeface="+mj-cs"/>
              <a:sym typeface="Verdana" panose="020B0604030504040204" pitchFamily="34" charset="0"/>
            </a:endParaRPr>
          </a:p>
        </p:txBody>
      </p:sp>
      <p:sp>
        <p:nvSpPr>
          <p:cNvPr id="6" name="Marcador de texto 5">
            <a:extLst>
              <a:ext uri="{FF2B5EF4-FFF2-40B4-BE49-F238E27FC236}">
                <a16:creationId xmlns:a16="http://schemas.microsoft.com/office/drawing/2014/main" id="{9EBCB333-58BB-B544-BBAA-8ED40584EC60}"/>
              </a:ext>
            </a:extLst>
          </p:cNvPr>
          <p:cNvSpPr>
            <a:spLocks noGrp="1"/>
          </p:cNvSpPr>
          <p:nvPr>
            <p:ph type="body" sz="quarter" idx="12" hasCustomPrompt="1"/>
          </p:nvPr>
        </p:nvSpPr>
        <p:spPr>
          <a:xfrm>
            <a:off x="9069781" y="1396800"/>
            <a:ext cx="2744180" cy="374127"/>
          </a:xfrm>
          <a:prstGeom prst="rect">
            <a:avLst/>
          </a:prstGeom>
        </p:spPr>
        <p:txBody>
          <a:bodyPr lIns="0" tIns="0" rIns="0" bIns="0"/>
          <a:lstStyle>
            <a:lvl1pPr algn="l">
              <a:buNone/>
              <a:defRPr sz="2000" b="1">
                <a:solidFill>
                  <a:schemeClr val="accent1"/>
                </a:solidFill>
              </a:defRPr>
            </a:lvl1pPr>
            <a:lvl2pPr>
              <a:buNone/>
              <a:defRPr/>
            </a:lvl2pPr>
            <a:lvl3pPr>
              <a:buNone/>
              <a:defRPr/>
            </a:lvl3pPr>
            <a:lvl4pPr>
              <a:buNone/>
              <a:defRPr/>
            </a:lvl4pPr>
            <a:lvl5pPr>
              <a:buNone/>
              <a:defRPr/>
            </a:lvl5pPr>
          </a:lstStyle>
          <a:p>
            <a:pPr lvl="0"/>
            <a:r>
              <a:rPr lang="es-ES" dirty="0"/>
              <a:t>##</a:t>
            </a:r>
            <a:endParaRPr lang="en-GB" dirty="0"/>
          </a:p>
        </p:txBody>
      </p:sp>
      <p:sp>
        <p:nvSpPr>
          <p:cNvPr id="4" name="Marcador de texto 3">
            <a:extLst>
              <a:ext uri="{FF2B5EF4-FFF2-40B4-BE49-F238E27FC236}">
                <a16:creationId xmlns:a16="http://schemas.microsoft.com/office/drawing/2014/main" id="{E8D5A004-570A-094C-B900-71EF2C9421F9}"/>
              </a:ext>
            </a:extLst>
          </p:cNvPr>
          <p:cNvSpPr>
            <a:spLocks noGrp="1"/>
          </p:cNvSpPr>
          <p:nvPr>
            <p:ph type="body" sz="quarter" idx="15" hasCustomPrompt="1"/>
          </p:nvPr>
        </p:nvSpPr>
        <p:spPr>
          <a:xfrm>
            <a:off x="9070480" y="1808139"/>
            <a:ext cx="2744825" cy="320400"/>
          </a:xfrm>
          <a:prstGeom prst="rect">
            <a:avLst/>
          </a:prstGeom>
        </p:spPr>
        <p:txBody>
          <a:bodyPr lIns="0" tIns="0" rIns="0" bIns="0"/>
          <a:lstStyle>
            <a:lvl1pPr algn="l">
              <a:buNone/>
              <a:defRPr sz="1400" b="1">
                <a:solidFill>
                  <a:schemeClr val="tx1"/>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s-ES" dirty="0"/>
              <a:t>Text </a:t>
            </a:r>
            <a:r>
              <a:rPr lang="es-ES" dirty="0" err="1"/>
              <a:t>for</a:t>
            </a:r>
            <a:r>
              <a:rPr lang="es-ES" dirty="0"/>
              <a:t> </a:t>
            </a:r>
            <a:r>
              <a:rPr lang="es-ES" dirty="0" err="1"/>
              <a:t>relevevant</a:t>
            </a:r>
            <a:r>
              <a:rPr lang="es-ES" dirty="0"/>
              <a:t> figure</a:t>
            </a:r>
            <a:endParaRPr lang="en-GB" dirty="0"/>
          </a:p>
        </p:txBody>
      </p:sp>
      <p:sp>
        <p:nvSpPr>
          <p:cNvPr id="8" name="Text Placeholder 7">
            <a:extLst>
              <a:ext uri="{FF2B5EF4-FFF2-40B4-BE49-F238E27FC236}">
                <a16:creationId xmlns:a16="http://schemas.microsoft.com/office/drawing/2014/main" id="{3A15B74D-3758-47B9-82C3-FFA884FCE23F}"/>
              </a:ext>
            </a:extLst>
          </p:cNvPr>
          <p:cNvSpPr>
            <a:spLocks noGrp="1"/>
          </p:cNvSpPr>
          <p:nvPr>
            <p:ph type="body" sz="quarter" idx="18"/>
          </p:nvPr>
        </p:nvSpPr>
        <p:spPr>
          <a:xfrm>
            <a:off x="366523" y="1396800"/>
            <a:ext cx="3352990" cy="3314096"/>
          </a:xfrm>
        </p:spPr>
        <p:txBody>
          <a:bodyPr/>
          <a:lstStyle>
            <a:lvl1pPr>
              <a:defRPr>
                <a:solidFill>
                  <a:schemeClr val="bg1"/>
                </a:solidFill>
              </a:defRPr>
            </a:lvl1pPr>
          </a:lstStyle>
          <a:p>
            <a:pPr lvl="0"/>
            <a:r>
              <a:rPr lang="en-US" dirty="0"/>
              <a:t>Click to edit Master text styles</a:t>
            </a:r>
          </a:p>
        </p:txBody>
      </p:sp>
      <p:sp>
        <p:nvSpPr>
          <p:cNvPr id="18" name="CuadroTexto 64">
            <a:extLst>
              <a:ext uri="{FF2B5EF4-FFF2-40B4-BE49-F238E27FC236}">
                <a16:creationId xmlns:a16="http://schemas.microsoft.com/office/drawing/2014/main" id="{7EEFB272-44BD-4440-81FD-B5BE8200048F}"/>
              </a:ext>
            </a:extLst>
          </p:cNvPr>
          <p:cNvSpPr txBox="1"/>
          <p:nvPr userDrawn="1"/>
        </p:nvSpPr>
        <p:spPr>
          <a:xfrm>
            <a:off x="10882303" y="6449284"/>
            <a:ext cx="936214" cy="138499"/>
          </a:xfrm>
          <a:prstGeom prst="rect">
            <a:avLst/>
          </a:prstGeom>
          <a:noFill/>
        </p:spPr>
        <p:txBody>
          <a:bodyPr wrap="square" lIns="0" tIns="0" rIns="0" bIns="0" rtlCol="0">
            <a:spAutoFit/>
          </a:bodyPr>
          <a:lstStyle/>
          <a:p>
            <a:pPr algn="r"/>
            <a:fld id="{A4EEDD72-1D6A-6B46-BCFA-C211F73E9379}" type="slidenum">
              <a:rPr lang="es-ES" sz="900" b="1" smtClean="0">
                <a:solidFill>
                  <a:schemeClr val="accent1"/>
                </a:solidFill>
                <a:latin typeface="+mj-lt"/>
                <a:ea typeface="Verdana" panose="020B0604030504040204" pitchFamily="34" charset="0"/>
                <a:cs typeface="Verdana" panose="020B0604030504040204" pitchFamily="34" charset="0"/>
              </a:rPr>
              <a:pPr algn="r"/>
              <a:t>‹N›</a:t>
            </a:fld>
            <a:endParaRPr lang="es-ES" sz="900" b="1" dirty="0">
              <a:solidFill>
                <a:schemeClr val="accent1"/>
              </a:solidFill>
              <a:latin typeface="+mj-lt"/>
              <a:ea typeface="Verdana" panose="020B0604030504040204" pitchFamily="34" charset="0"/>
              <a:cs typeface="Verdana" panose="020B0604030504040204" pitchFamily="34" charset="0"/>
            </a:endParaRPr>
          </a:p>
        </p:txBody>
      </p:sp>
      <p:sp>
        <p:nvSpPr>
          <p:cNvPr id="9" name="Title 8">
            <a:extLst>
              <a:ext uri="{FF2B5EF4-FFF2-40B4-BE49-F238E27FC236}">
                <a16:creationId xmlns:a16="http://schemas.microsoft.com/office/drawing/2014/main" id="{965B48A6-C16F-42F8-ABA4-E292AD3ADAB5}"/>
              </a:ext>
            </a:extLst>
          </p:cNvPr>
          <p:cNvSpPr>
            <a:spLocks noGrp="1"/>
          </p:cNvSpPr>
          <p:nvPr>
            <p:ph type="title"/>
          </p:nvPr>
        </p:nvSpPr>
        <p:spPr>
          <a:xfrm>
            <a:off x="368927" y="252000"/>
            <a:ext cx="4034798" cy="905468"/>
          </a:xfrm>
        </p:spPr>
        <p:txBody>
          <a:bodyPr/>
          <a:lstStyle>
            <a:lvl1pPr>
              <a:defRPr>
                <a:solidFill>
                  <a:schemeClr val="bg1"/>
                </a:solidFill>
              </a:defRPr>
            </a:lvl1pPr>
          </a:lstStyle>
          <a:p>
            <a:r>
              <a:rPr lang="en-US" dirty="0"/>
              <a:t>Click to edit Master title style</a:t>
            </a:r>
          </a:p>
        </p:txBody>
      </p:sp>
      <p:pic>
        <p:nvPicPr>
          <p:cNvPr id="21" name="Graphic 10">
            <a:extLst>
              <a:ext uri="{FF2B5EF4-FFF2-40B4-BE49-F238E27FC236}">
                <a16:creationId xmlns:a16="http://schemas.microsoft.com/office/drawing/2014/main" id="{B6011187-AA8E-452B-973C-511891D6AD7A}"/>
              </a:ext>
            </a:extLst>
          </p:cNvPr>
          <p:cNvPicPr>
            <a:picLocks noChangeAspect="1"/>
          </p:cNvPicPr>
          <p:nvPr userDrawn="1"/>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70517" y="6420188"/>
            <a:ext cx="675863" cy="162467"/>
          </a:xfrm>
          <a:prstGeom prst="rect">
            <a:avLst/>
          </a:prstGeom>
        </p:spPr>
      </p:pic>
      <p:sp>
        <p:nvSpPr>
          <p:cNvPr id="10" name="Text Placeholder 9">
            <a:extLst>
              <a:ext uri="{FF2B5EF4-FFF2-40B4-BE49-F238E27FC236}">
                <a16:creationId xmlns:a16="http://schemas.microsoft.com/office/drawing/2014/main" id="{1D6D2B9E-3868-4EC8-B3F9-AFDB67FAB49A}"/>
              </a:ext>
            </a:extLst>
          </p:cNvPr>
          <p:cNvSpPr>
            <a:spLocks noGrp="1"/>
          </p:cNvSpPr>
          <p:nvPr>
            <p:ph type="body" sz="quarter" idx="19"/>
          </p:nvPr>
        </p:nvSpPr>
        <p:spPr>
          <a:xfrm>
            <a:off x="9075577" y="2121777"/>
            <a:ext cx="2749710" cy="361950"/>
          </a:xfrm>
        </p:spPr>
        <p:txBody>
          <a:bodyPr/>
          <a:lstStyle>
            <a:lvl1pPr>
              <a:defRPr sz="1400"/>
            </a:lvl1pPr>
          </a:lstStyle>
          <a:p>
            <a:pPr lvl="0"/>
            <a:r>
              <a:rPr lang="en-US" dirty="0"/>
              <a:t>Click to edit Master text styles</a:t>
            </a:r>
          </a:p>
        </p:txBody>
      </p:sp>
      <p:sp>
        <p:nvSpPr>
          <p:cNvPr id="26" name="Marcador de texto 5">
            <a:extLst>
              <a:ext uri="{FF2B5EF4-FFF2-40B4-BE49-F238E27FC236}">
                <a16:creationId xmlns:a16="http://schemas.microsoft.com/office/drawing/2014/main" id="{4E73268A-D8AC-4A88-8197-ADDA434368FC}"/>
              </a:ext>
            </a:extLst>
          </p:cNvPr>
          <p:cNvSpPr>
            <a:spLocks noGrp="1"/>
          </p:cNvSpPr>
          <p:nvPr>
            <p:ph type="body" sz="quarter" idx="20" hasCustomPrompt="1"/>
          </p:nvPr>
        </p:nvSpPr>
        <p:spPr>
          <a:xfrm>
            <a:off x="9074543" y="2660364"/>
            <a:ext cx="2744180" cy="374127"/>
          </a:xfrm>
          <a:prstGeom prst="rect">
            <a:avLst/>
          </a:prstGeom>
        </p:spPr>
        <p:txBody>
          <a:bodyPr lIns="0" tIns="0" rIns="0" bIns="0"/>
          <a:lstStyle>
            <a:lvl1pPr algn="l">
              <a:buNone/>
              <a:defRPr sz="2000" b="1">
                <a:solidFill>
                  <a:schemeClr val="accent1"/>
                </a:solidFill>
              </a:defRPr>
            </a:lvl1pPr>
            <a:lvl2pPr>
              <a:buNone/>
              <a:defRPr/>
            </a:lvl2pPr>
            <a:lvl3pPr>
              <a:buNone/>
              <a:defRPr/>
            </a:lvl3pPr>
            <a:lvl4pPr>
              <a:buNone/>
              <a:defRPr/>
            </a:lvl4pPr>
            <a:lvl5pPr>
              <a:buNone/>
              <a:defRPr/>
            </a:lvl5pPr>
          </a:lstStyle>
          <a:p>
            <a:pPr lvl="0"/>
            <a:r>
              <a:rPr lang="es-ES" dirty="0"/>
              <a:t>##</a:t>
            </a:r>
            <a:endParaRPr lang="en-GB" dirty="0"/>
          </a:p>
        </p:txBody>
      </p:sp>
      <p:sp>
        <p:nvSpPr>
          <p:cNvPr id="27" name="Marcador de texto 3">
            <a:extLst>
              <a:ext uri="{FF2B5EF4-FFF2-40B4-BE49-F238E27FC236}">
                <a16:creationId xmlns:a16="http://schemas.microsoft.com/office/drawing/2014/main" id="{26650491-2940-408D-AA73-AEEDDD1C0C27}"/>
              </a:ext>
            </a:extLst>
          </p:cNvPr>
          <p:cNvSpPr>
            <a:spLocks noGrp="1"/>
          </p:cNvSpPr>
          <p:nvPr>
            <p:ph type="body" sz="quarter" idx="21" hasCustomPrompt="1"/>
          </p:nvPr>
        </p:nvSpPr>
        <p:spPr>
          <a:xfrm>
            <a:off x="9075242" y="3071703"/>
            <a:ext cx="2744825" cy="320400"/>
          </a:xfrm>
          <a:prstGeom prst="rect">
            <a:avLst/>
          </a:prstGeom>
        </p:spPr>
        <p:txBody>
          <a:bodyPr lIns="0" tIns="0" rIns="0" bIns="0"/>
          <a:lstStyle>
            <a:lvl1pPr algn="l">
              <a:buNone/>
              <a:defRPr sz="1400" b="1">
                <a:solidFill>
                  <a:schemeClr val="tx1"/>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s-ES" dirty="0"/>
              <a:t>Text </a:t>
            </a:r>
            <a:r>
              <a:rPr lang="es-ES" dirty="0" err="1"/>
              <a:t>for</a:t>
            </a:r>
            <a:r>
              <a:rPr lang="es-ES" dirty="0"/>
              <a:t> </a:t>
            </a:r>
            <a:r>
              <a:rPr lang="es-ES" dirty="0" err="1"/>
              <a:t>relevevant</a:t>
            </a:r>
            <a:r>
              <a:rPr lang="es-ES" dirty="0"/>
              <a:t> figure</a:t>
            </a:r>
            <a:endParaRPr lang="en-GB" dirty="0"/>
          </a:p>
        </p:txBody>
      </p:sp>
      <p:sp>
        <p:nvSpPr>
          <p:cNvPr id="28" name="Text Placeholder 9">
            <a:extLst>
              <a:ext uri="{FF2B5EF4-FFF2-40B4-BE49-F238E27FC236}">
                <a16:creationId xmlns:a16="http://schemas.microsoft.com/office/drawing/2014/main" id="{3A99E160-9CB7-46F7-BFA5-4D8D9B20F972}"/>
              </a:ext>
            </a:extLst>
          </p:cNvPr>
          <p:cNvSpPr>
            <a:spLocks noGrp="1"/>
          </p:cNvSpPr>
          <p:nvPr>
            <p:ph type="body" sz="quarter" idx="22"/>
          </p:nvPr>
        </p:nvSpPr>
        <p:spPr>
          <a:xfrm>
            <a:off x="9080339" y="3385341"/>
            <a:ext cx="2749710" cy="361950"/>
          </a:xfrm>
        </p:spPr>
        <p:txBody>
          <a:bodyPr/>
          <a:lstStyle>
            <a:lvl1pPr>
              <a:defRPr sz="1400"/>
            </a:lvl1pPr>
          </a:lstStyle>
          <a:p>
            <a:pPr lvl="0"/>
            <a:r>
              <a:rPr lang="en-US" dirty="0"/>
              <a:t>Click to edit Master text styles</a:t>
            </a:r>
          </a:p>
        </p:txBody>
      </p:sp>
      <p:sp>
        <p:nvSpPr>
          <p:cNvPr id="29" name="Marcador de texto 5">
            <a:extLst>
              <a:ext uri="{FF2B5EF4-FFF2-40B4-BE49-F238E27FC236}">
                <a16:creationId xmlns:a16="http://schemas.microsoft.com/office/drawing/2014/main" id="{42EE6536-0BB8-4A6D-9D22-EA3B9FA16FBD}"/>
              </a:ext>
            </a:extLst>
          </p:cNvPr>
          <p:cNvSpPr>
            <a:spLocks noGrp="1"/>
          </p:cNvSpPr>
          <p:nvPr>
            <p:ph type="body" sz="quarter" idx="23" hasCustomPrompt="1"/>
          </p:nvPr>
        </p:nvSpPr>
        <p:spPr>
          <a:xfrm>
            <a:off x="9074749" y="3910288"/>
            <a:ext cx="2744180" cy="374127"/>
          </a:xfrm>
          <a:prstGeom prst="rect">
            <a:avLst/>
          </a:prstGeom>
        </p:spPr>
        <p:txBody>
          <a:bodyPr lIns="0" tIns="0" rIns="0" bIns="0"/>
          <a:lstStyle>
            <a:lvl1pPr algn="l">
              <a:buNone/>
              <a:defRPr sz="2000" b="1">
                <a:solidFill>
                  <a:schemeClr val="accent1"/>
                </a:solidFill>
              </a:defRPr>
            </a:lvl1pPr>
            <a:lvl2pPr>
              <a:buNone/>
              <a:defRPr/>
            </a:lvl2pPr>
            <a:lvl3pPr>
              <a:buNone/>
              <a:defRPr/>
            </a:lvl3pPr>
            <a:lvl4pPr>
              <a:buNone/>
              <a:defRPr/>
            </a:lvl4pPr>
            <a:lvl5pPr>
              <a:buNone/>
              <a:defRPr/>
            </a:lvl5pPr>
          </a:lstStyle>
          <a:p>
            <a:pPr lvl="0"/>
            <a:r>
              <a:rPr lang="es-ES" dirty="0"/>
              <a:t>##</a:t>
            </a:r>
            <a:endParaRPr lang="en-GB" dirty="0"/>
          </a:p>
        </p:txBody>
      </p:sp>
      <p:sp>
        <p:nvSpPr>
          <p:cNvPr id="30" name="Marcador de texto 3">
            <a:extLst>
              <a:ext uri="{FF2B5EF4-FFF2-40B4-BE49-F238E27FC236}">
                <a16:creationId xmlns:a16="http://schemas.microsoft.com/office/drawing/2014/main" id="{E53787EC-9BC5-4F7F-9E55-20D2FEB06520}"/>
              </a:ext>
            </a:extLst>
          </p:cNvPr>
          <p:cNvSpPr>
            <a:spLocks noGrp="1"/>
          </p:cNvSpPr>
          <p:nvPr>
            <p:ph type="body" sz="quarter" idx="24" hasCustomPrompt="1"/>
          </p:nvPr>
        </p:nvSpPr>
        <p:spPr>
          <a:xfrm>
            <a:off x="9075448" y="4321627"/>
            <a:ext cx="2744825" cy="320400"/>
          </a:xfrm>
          <a:prstGeom prst="rect">
            <a:avLst/>
          </a:prstGeom>
        </p:spPr>
        <p:txBody>
          <a:bodyPr lIns="0" tIns="0" rIns="0" bIns="0"/>
          <a:lstStyle>
            <a:lvl1pPr algn="l">
              <a:buNone/>
              <a:defRPr sz="1400" b="1">
                <a:solidFill>
                  <a:schemeClr val="tx1"/>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s-ES" dirty="0"/>
              <a:t>Text </a:t>
            </a:r>
            <a:r>
              <a:rPr lang="es-ES" dirty="0" err="1"/>
              <a:t>for</a:t>
            </a:r>
            <a:r>
              <a:rPr lang="es-ES" dirty="0"/>
              <a:t> </a:t>
            </a:r>
            <a:r>
              <a:rPr lang="es-ES" dirty="0" err="1"/>
              <a:t>relevevant</a:t>
            </a:r>
            <a:r>
              <a:rPr lang="es-ES" dirty="0"/>
              <a:t> figure</a:t>
            </a:r>
            <a:endParaRPr lang="en-GB" dirty="0"/>
          </a:p>
        </p:txBody>
      </p:sp>
      <p:sp>
        <p:nvSpPr>
          <p:cNvPr id="31" name="Text Placeholder 9">
            <a:extLst>
              <a:ext uri="{FF2B5EF4-FFF2-40B4-BE49-F238E27FC236}">
                <a16:creationId xmlns:a16="http://schemas.microsoft.com/office/drawing/2014/main" id="{AF5E5ABC-8A90-431B-8681-F770DC35B27A}"/>
              </a:ext>
            </a:extLst>
          </p:cNvPr>
          <p:cNvSpPr>
            <a:spLocks noGrp="1"/>
          </p:cNvSpPr>
          <p:nvPr>
            <p:ph type="body" sz="quarter" idx="25"/>
          </p:nvPr>
        </p:nvSpPr>
        <p:spPr>
          <a:xfrm>
            <a:off x="9080545" y="4635265"/>
            <a:ext cx="2749710" cy="361950"/>
          </a:xfrm>
        </p:spPr>
        <p:txBody>
          <a:bodyPr/>
          <a:lstStyle>
            <a:lvl1pPr>
              <a:defRPr sz="1400"/>
            </a:lvl1pPr>
          </a:lstStyle>
          <a:p>
            <a:pPr lvl="0"/>
            <a:r>
              <a:rPr lang="en-US" dirty="0"/>
              <a:t>Click to edit Master text styles</a:t>
            </a:r>
          </a:p>
        </p:txBody>
      </p:sp>
      <p:sp>
        <p:nvSpPr>
          <p:cNvPr id="32" name="Marcador de texto 5">
            <a:extLst>
              <a:ext uri="{FF2B5EF4-FFF2-40B4-BE49-F238E27FC236}">
                <a16:creationId xmlns:a16="http://schemas.microsoft.com/office/drawing/2014/main" id="{D1EAAC23-31AB-400D-B902-A13EC10EAFDC}"/>
              </a:ext>
            </a:extLst>
          </p:cNvPr>
          <p:cNvSpPr>
            <a:spLocks noGrp="1"/>
          </p:cNvSpPr>
          <p:nvPr>
            <p:ph type="body" sz="quarter" idx="26" hasCustomPrompt="1"/>
          </p:nvPr>
        </p:nvSpPr>
        <p:spPr>
          <a:xfrm>
            <a:off x="9074955" y="5159695"/>
            <a:ext cx="2744180" cy="374127"/>
          </a:xfrm>
          <a:prstGeom prst="rect">
            <a:avLst/>
          </a:prstGeom>
        </p:spPr>
        <p:txBody>
          <a:bodyPr lIns="0" tIns="0" rIns="0" bIns="0"/>
          <a:lstStyle>
            <a:lvl1pPr algn="l">
              <a:buNone/>
              <a:defRPr sz="2000" b="1">
                <a:solidFill>
                  <a:schemeClr val="accent1"/>
                </a:solidFill>
              </a:defRPr>
            </a:lvl1pPr>
            <a:lvl2pPr>
              <a:buNone/>
              <a:defRPr/>
            </a:lvl2pPr>
            <a:lvl3pPr>
              <a:buNone/>
              <a:defRPr/>
            </a:lvl3pPr>
            <a:lvl4pPr>
              <a:buNone/>
              <a:defRPr/>
            </a:lvl4pPr>
            <a:lvl5pPr>
              <a:buNone/>
              <a:defRPr/>
            </a:lvl5pPr>
          </a:lstStyle>
          <a:p>
            <a:pPr lvl="0"/>
            <a:r>
              <a:rPr lang="es-ES" dirty="0"/>
              <a:t>##</a:t>
            </a:r>
            <a:endParaRPr lang="en-GB" dirty="0"/>
          </a:p>
        </p:txBody>
      </p:sp>
      <p:sp>
        <p:nvSpPr>
          <p:cNvPr id="33" name="Marcador de texto 3">
            <a:extLst>
              <a:ext uri="{FF2B5EF4-FFF2-40B4-BE49-F238E27FC236}">
                <a16:creationId xmlns:a16="http://schemas.microsoft.com/office/drawing/2014/main" id="{A9BE9442-5EA2-4FE1-814F-10C81CE0E23E}"/>
              </a:ext>
            </a:extLst>
          </p:cNvPr>
          <p:cNvSpPr>
            <a:spLocks noGrp="1"/>
          </p:cNvSpPr>
          <p:nvPr>
            <p:ph type="body" sz="quarter" idx="27" hasCustomPrompt="1"/>
          </p:nvPr>
        </p:nvSpPr>
        <p:spPr>
          <a:xfrm>
            <a:off x="9075654" y="5571034"/>
            <a:ext cx="2744825" cy="320400"/>
          </a:xfrm>
          <a:prstGeom prst="rect">
            <a:avLst/>
          </a:prstGeom>
        </p:spPr>
        <p:txBody>
          <a:bodyPr lIns="0" tIns="0" rIns="0" bIns="0"/>
          <a:lstStyle>
            <a:lvl1pPr algn="l">
              <a:buNone/>
              <a:defRPr sz="1400" b="1">
                <a:solidFill>
                  <a:schemeClr val="tx1"/>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s-ES" dirty="0"/>
              <a:t>Text </a:t>
            </a:r>
            <a:r>
              <a:rPr lang="es-ES" dirty="0" err="1"/>
              <a:t>for</a:t>
            </a:r>
            <a:r>
              <a:rPr lang="es-ES" dirty="0"/>
              <a:t> </a:t>
            </a:r>
            <a:r>
              <a:rPr lang="es-ES" dirty="0" err="1"/>
              <a:t>relevevant</a:t>
            </a:r>
            <a:r>
              <a:rPr lang="es-ES" dirty="0"/>
              <a:t> figure</a:t>
            </a:r>
            <a:endParaRPr lang="en-GB" dirty="0"/>
          </a:p>
        </p:txBody>
      </p:sp>
      <p:sp>
        <p:nvSpPr>
          <p:cNvPr id="34" name="Text Placeholder 9">
            <a:extLst>
              <a:ext uri="{FF2B5EF4-FFF2-40B4-BE49-F238E27FC236}">
                <a16:creationId xmlns:a16="http://schemas.microsoft.com/office/drawing/2014/main" id="{4DD1878A-DCCC-4F22-8B0F-E794A9D0F7EC}"/>
              </a:ext>
            </a:extLst>
          </p:cNvPr>
          <p:cNvSpPr>
            <a:spLocks noGrp="1"/>
          </p:cNvSpPr>
          <p:nvPr>
            <p:ph type="body" sz="quarter" idx="28"/>
          </p:nvPr>
        </p:nvSpPr>
        <p:spPr>
          <a:xfrm>
            <a:off x="9080751" y="5884672"/>
            <a:ext cx="2749710" cy="361950"/>
          </a:xfrm>
        </p:spPr>
        <p:txBody>
          <a:bodyPr/>
          <a:lstStyle>
            <a:lvl1pPr>
              <a:defRPr sz="1400"/>
            </a:lvl1pPr>
          </a:lstStyle>
          <a:p>
            <a:pPr lvl="0"/>
            <a:r>
              <a:rPr lang="en-US" dirty="0"/>
              <a:t>Click to edit Master text styles</a:t>
            </a:r>
          </a:p>
        </p:txBody>
      </p:sp>
      <p:sp>
        <p:nvSpPr>
          <p:cNvPr id="48" name="Marcador de texto 5">
            <a:extLst>
              <a:ext uri="{FF2B5EF4-FFF2-40B4-BE49-F238E27FC236}">
                <a16:creationId xmlns:a16="http://schemas.microsoft.com/office/drawing/2014/main" id="{75583949-C529-4C09-B042-7C3C5F9C9EDE}"/>
              </a:ext>
            </a:extLst>
          </p:cNvPr>
          <p:cNvSpPr>
            <a:spLocks noGrp="1"/>
          </p:cNvSpPr>
          <p:nvPr>
            <p:ph type="body" sz="quarter" idx="29" hasCustomPrompt="1"/>
          </p:nvPr>
        </p:nvSpPr>
        <p:spPr>
          <a:xfrm>
            <a:off x="6105607" y="1403562"/>
            <a:ext cx="2744180" cy="374127"/>
          </a:xfrm>
          <a:prstGeom prst="rect">
            <a:avLst/>
          </a:prstGeom>
        </p:spPr>
        <p:txBody>
          <a:bodyPr lIns="0" tIns="0" rIns="0" bIns="0"/>
          <a:lstStyle>
            <a:lvl1pPr algn="l">
              <a:buNone/>
              <a:defRPr sz="2000" b="1">
                <a:solidFill>
                  <a:schemeClr val="accent1"/>
                </a:solidFill>
              </a:defRPr>
            </a:lvl1pPr>
            <a:lvl2pPr>
              <a:buNone/>
              <a:defRPr/>
            </a:lvl2pPr>
            <a:lvl3pPr>
              <a:buNone/>
              <a:defRPr/>
            </a:lvl3pPr>
            <a:lvl4pPr>
              <a:buNone/>
              <a:defRPr/>
            </a:lvl4pPr>
            <a:lvl5pPr>
              <a:buNone/>
              <a:defRPr/>
            </a:lvl5pPr>
          </a:lstStyle>
          <a:p>
            <a:pPr lvl="0"/>
            <a:r>
              <a:rPr lang="es-ES" dirty="0"/>
              <a:t>##</a:t>
            </a:r>
            <a:endParaRPr lang="en-GB" dirty="0"/>
          </a:p>
        </p:txBody>
      </p:sp>
      <p:sp>
        <p:nvSpPr>
          <p:cNvPr id="49" name="Marcador de texto 3">
            <a:extLst>
              <a:ext uri="{FF2B5EF4-FFF2-40B4-BE49-F238E27FC236}">
                <a16:creationId xmlns:a16="http://schemas.microsoft.com/office/drawing/2014/main" id="{63B4B398-881C-4857-8877-82CB89E09DCA}"/>
              </a:ext>
            </a:extLst>
          </p:cNvPr>
          <p:cNvSpPr>
            <a:spLocks noGrp="1"/>
          </p:cNvSpPr>
          <p:nvPr>
            <p:ph type="body" sz="quarter" idx="30" hasCustomPrompt="1"/>
          </p:nvPr>
        </p:nvSpPr>
        <p:spPr>
          <a:xfrm>
            <a:off x="6100519" y="1814901"/>
            <a:ext cx="2744825" cy="320400"/>
          </a:xfrm>
          <a:prstGeom prst="rect">
            <a:avLst/>
          </a:prstGeom>
        </p:spPr>
        <p:txBody>
          <a:bodyPr lIns="0" tIns="0" rIns="0" bIns="0"/>
          <a:lstStyle>
            <a:lvl1pPr algn="l">
              <a:buNone/>
              <a:defRPr sz="1400" b="1">
                <a:solidFill>
                  <a:schemeClr val="tx1"/>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s-ES" dirty="0"/>
              <a:t>Text </a:t>
            </a:r>
            <a:r>
              <a:rPr lang="es-ES" dirty="0" err="1"/>
              <a:t>for</a:t>
            </a:r>
            <a:r>
              <a:rPr lang="es-ES" dirty="0"/>
              <a:t> </a:t>
            </a:r>
            <a:r>
              <a:rPr lang="es-ES" dirty="0" err="1"/>
              <a:t>relevevant</a:t>
            </a:r>
            <a:r>
              <a:rPr lang="es-ES" dirty="0"/>
              <a:t> figure</a:t>
            </a:r>
            <a:endParaRPr lang="en-GB" dirty="0"/>
          </a:p>
        </p:txBody>
      </p:sp>
      <p:sp>
        <p:nvSpPr>
          <p:cNvPr id="50" name="Text Placeholder 9">
            <a:extLst>
              <a:ext uri="{FF2B5EF4-FFF2-40B4-BE49-F238E27FC236}">
                <a16:creationId xmlns:a16="http://schemas.microsoft.com/office/drawing/2014/main" id="{98DE17F0-A69A-4172-95E4-B494F2D3A6D8}"/>
              </a:ext>
            </a:extLst>
          </p:cNvPr>
          <p:cNvSpPr>
            <a:spLocks noGrp="1"/>
          </p:cNvSpPr>
          <p:nvPr>
            <p:ph type="body" sz="quarter" idx="31"/>
          </p:nvPr>
        </p:nvSpPr>
        <p:spPr>
          <a:xfrm>
            <a:off x="6105616" y="2128539"/>
            <a:ext cx="2749710" cy="361950"/>
          </a:xfrm>
        </p:spPr>
        <p:txBody>
          <a:bodyPr/>
          <a:lstStyle>
            <a:lvl1pPr>
              <a:defRPr sz="1400"/>
            </a:lvl1pPr>
          </a:lstStyle>
          <a:p>
            <a:pPr lvl="0"/>
            <a:r>
              <a:rPr lang="en-US" dirty="0"/>
              <a:t>Click to edit Master text styles</a:t>
            </a:r>
          </a:p>
        </p:txBody>
      </p:sp>
      <p:sp>
        <p:nvSpPr>
          <p:cNvPr id="51" name="Marcador de texto 5">
            <a:extLst>
              <a:ext uri="{FF2B5EF4-FFF2-40B4-BE49-F238E27FC236}">
                <a16:creationId xmlns:a16="http://schemas.microsoft.com/office/drawing/2014/main" id="{914D8FBF-3A87-468E-A40B-AA99D1D5808C}"/>
              </a:ext>
            </a:extLst>
          </p:cNvPr>
          <p:cNvSpPr>
            <a:spLocks noGrp="1"/>
          </p:cNvSpPr>
          <p:nvPr>
            <p:ph type="body" sz="quarter" idx="32" hasCustomPrompt="1"/>
          </p:nvPr>
        </p:nvSpPr>
        <p:spPr>
          <a:xfrm>
            <a:off x="6104582" y="2667126"/>
            <a:ext cx="2744180" cy="374127"/>
          </a:xfrm>
          <a:prstGeom prst="rect">
            <a:avLst/>
          </a:prstGeom>
        </p:spPr>
        <p:txBody>
          <a:bodyPr lIns="0" tIns="0" rIns="0" bIns="0"/>
          <a:lstStyle>
            <a:lvl1pPr algn="l">
              <a:buNone/>
              <a:defRPr sz="2000" b="1">
                <a:solidFill>
                  <a:schemeClr val="accent1"/>
                </a:solidFill>
              </a:defRPr>
            </a:lvl1pPr>
            <a:lvl2pPr>
              <a:buNone/>
              <a:defRPr/>
            </a:lvl2pPr>
            <a:lvl3pPr>
              <a:buNone/>
              <a:defRPr/>
            </a:lvl3pPr>
            <a:lvl4pPr>
              <a:buNone/>
              <a:defRPr/>
            </a:lvl4pPr>
            <a:lvl5pPr>
              <a:buNone/>
              <a:defRPr/>
            </a:lvl5pPr>
          </a:lstStyle>
          <a:p>
            <a:pPr lvl="0"/>
            <a:r>
              <a:rPr lang="es-ES" dirty="0"/>
              <a:t>##</a:t>
            </a:r>
            <a:endParaRPr lang="en-GB" dirty="0"/>
          </a:p>
        </p:txBody>
      </p:sp>
      <p:sp>
        <p:nvSpPr>
          <p:cNvPr id="52" name="Marcador de texto 3">
            <a:extLst>
              <a:ext uri="{FF2B5EF4-FFF2-40B4-BE49-F238E27FC236}">
                <a16:creationId xmlns:a16="http://schemas.microsoft.com/office/drawing/2014/main" id="{BD5D359A-AE2C-48D0-B082-CFA494582601}"/>
              </a:ext>
            </a:extLst>
          </p:cNvPr>
          <p:cNvSpPr>
            <a:spLocks noGrp="1"/>
          </p:cNvSpPr>
          <p:nvPr>
            <p:ph type="body" sz="quarter" idx="33" hasCustomPrompt="1"/>
          </p:nvPr>
        </p:nvSpPr>
        <p:spPr>
          <a:xfrm>
            <a:off x="6099494" y="3078465"/>
            <a:ext cx="2744825" cy="320400"/>
          </a:xfrm>
          <a:prstGeom prst="rect">
            <a:avLst/>
          </a:prstGeom>
        </p:spPr>
        <p:txBody>
          <a:bodyPr lIns="0" tIns="0" rIns="0" bIns="0"/>
          <a:lstStyle>
            <a:lvl1pPr algn="l">
              <a:buNone/>
              <a:defRPr sz="1400" b="1">
                <a:solidFill>
                  <a:schemeClr val="tx1"/>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s-ES" dirty="0"/>
              <a:t>Text </a:t>
            </a:r>
            <a:r>
              <a:rPr lang="es-ES" dirty="0" err="1"/>
              <a:t>for</a:t>
            </a:r>
            <a:r>
              <a:rPr lang="es-ES" dirty="0"/>
              <a:t> </a:t>
            </a:r>
            <a:r>
              <a:rPr lang="es-ES" dirty="0" err="1"/>
              <a:t>relevevant</a:t>
            </a:r>
            <a:r>
              <a:rPr lang="es-ES" dirty="0"/>
              <a:t> figure</a:t>
            </a:r>
            <a:endParaRPr lang="en-GB" dirty="0"/>
          </a:p>
        </p:txBody>
      </p:sp>
      <p:sp>
        <p:nvSpPr>
          <p:cNvPr id="53" name="Text Placeholder 9">
            <a:extLst>
              <a:ext uri="{FF2B5EF4-FFF2-40B4-BE49-F238E27FC236}">
                <a16:creationId xmlns:a16="http://schemas.microsoft.com/office/drawing/2014/main" id="{CE1082A1-F559-4E25-ADC5-E6999B47F962}"/>
              </a:ext>
            </a:extLst>
          </p:cNvPr>
          <p:cNvSpPr>
            <a:spLocks noGrp="1"/>
          </p:cNvSpPr>
          <p:nvPr>
            <p:ph type="body" sz="quarter" idx="34"/>
          </p:nvPr>
        </p:nvSpPr>
        <p:spPr>
          <a:xfrm>
            <a:off x="6104591" y="3392103"/>
            <a:ext cx="2749710" cy="361950"/>
          </a:xfrm>
        </p:spPr>
        <p:txBody>
          <a:bodyPr/>
          <a:lstStyle>
            <a:lvl1pPr>
              <a:defRPr sz="1400"/>
            </a:lvl1pPr>
          </a:lstStyle>
          <a:p>
            <a:pPr lvl="0"/>
            <a:r>
              <a:rPr lang="en-US" dirty="0"/>
              <a:t>Click to edit Master text styles</a:t>
            </a:r>
          </a:p>
        </p:txBody>
      </p:sp>
      <p:sp>
        <p:nvSpPr>
          <p:cNvPr id="54" name="Marcador de texto 5">
            <a:extLst>
              <a:ext uri="{FF2B5EF4-FFF2-40B4-BE49-F238E27FC236}">
                <a16:creationId xmlns:a16="http://schemas.microsoft.com/office/drawing/2014/main" id="{72448981-D561-47B3-A524-E6DC7ADEDD23}"/>
              </a:ext>
            </a:extLst>
          </p:cNvPr>
          <p:cNvSpPr>
            <a:spLocks noGrp="1"/>
          </p:cNvSpPr>
          <p:nvPr>
            <p:ph type="body" sz="quarter" idx="35" hasCustomPrompt="1"/>
          </p:nvPr>
        </p:nvSpPr>
        <p:spPr>
          <a:xfrm>
            <a:off x="6104788" y="3917050"/>
            <a:ext cx="2744180" cy="374127"/>
          </a:xfrm>
          <a:prstGeom prst="rect">
            <a:avLst/>
          </a:prstGeom>
        </p:spPr>
        <p:txBody>
          <a:bodyPr lIns="0" tIns="0" rIns="0" bIns="0"/>
          <a:lstStyle>
            <a:lvl1pPr algn="l">
              <a:buNone/>
              <a:defRPr sz="2000" b="1">
                <a:solidFill>
                  <a:schemeClr val="accent1"/>
                </a:solidFill>
              </a:defRPr>
            </a:lvl1pPr>
            <a:lvl2pPr>
              <a:buNone/>
              <a:defRPr/>
            </a:lvl2pPr>
            <a:lvl3pPr>
              <a:buNone/>
              <a:defRPr/>
            </a:lvl3pPr>
            <a:lvl4pPr>
              <a:buNone/>
              <a:defRPr/>
            </a:lvl4pPr>
            <a:lvl5pPr>
              <a:buNone/>
              <a:defRPr/>
            </a:lvl5pPr>
          </a:lstStyle>
          <a:p>
            <a:pPr lvl="0"/>
            <a:r>
              <a:rPr lang="es-ES" dirty="0"/>
              <a:t>##</a:t>
            </a:r>
            <a:endParaRPr lang="en-GB" dirty="0"/>
          </a:p>
        </p:txBody>
      </p:sp>
      <p:sp>
        <p:nvSpPr>
          <p:cNvPr id="55" name="Marcador de texto 3">
            <a:extLst>
              <a:ext uri="{FF2B5EF4-FFF2-40B4-BE49-F238E27FC236}">
                <a16:creationId xmlns:a16="http://schemas.microsoft.com/office/drawing/2014/main" id="{773C2F13-312E-4121-B74D-61A3E51D73C2}"/>
              </a:ext>
            </a:extLst>
          </p:cNvPr>
          <p:cNvSpPr>
            <a:spLocks noGrp="1"/>
          </p:cNvSpPr>
          <p:nvPr>
            <p:ph type="body" sz="quarter" idx="36" hasCustomPrompt="1"/>
          </p:nvPr>
        </p:nvSpPr>
        <p:spPr>
          <a:xfrm>
            <a:off x="6105487" y="4328389"/>
            <a:ext cx="2744825" cy="320400"/>
          </a:xfrm>
          <a:prstGeom prst="rect">
            <a:avLst/>
          </a:prstGeom>
        </p:spPr>
        <p:txBody>
          <a:bodyPr lIns="0" tIns="0" rIns="0" bIns="0"/>
          <a:lstStyle>
            <a:lvl1pPr algn="l">
              <a:buNone/>
              <a:defRPr sz="1400" b="1">
                <a:solidFill>
                  <a:schemeClr val="tx1"/>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s-ES" dirty="0"/>
              <a:t>Text </a:t>
            </a:r>
            <a:r>
              <a:rPr lang="es-ES" dirty="0" err="1"/>
              <a:t>for</a:t>
            </a:r>
            <a:r>
              <a:rPr lang="es-ES" dirty="0"/>
              <a:t> </a:t>
            </a:r>
            <a:r>
              <a:rPr lang="es-ES" dirty="0" err="1"/>
              <a:t>relevevant</a:t>
            </a:r>
            <a:r>
              <a:rPr lang="es-ES" dirty="0"/>
              <a:t> figure</a:t>
            </a:r>
            <a:endParaRPr lang="en-GB" dirty="0"/>
          </a:p>
        </p:txBody>
      </p:sp>
      <p:sp>
        <p:nvSpPr>
          <p:cNvPr id="56" name="Text Placeholder 9">
            <a:extLst>
              <a:ext uri="{FF2B5EF4-FFF2-40B4-BE49-F238E27FC236}">
                <a16:creationId xmlns:a16="http://schemas.microsoft.com/office/drawing/2014/main" id="{331A76C6-929B-4A03-880B-274526D3ADAF}"/>
              </a:ext>
            </a:extLst>
          </p:cNvPr>
          <p:cNvSpPr>
            <a:spLocks noGrp="1"/>
          </p:cNvSpPr>
          <p:nvPr>
            <p:ph type="body" sz="quarter" idx="37"/>
          </p:nvPr>
        </p:nvSpPr>
        <p:spPr>
          <a:xfrm>
            <a:off x="6104797" y="4642027"/>
            <a:ext cx="2749710" cy="361950"/>
          </a:xfrm>
        </p:spPr>
        <p:txBody>
          <a:bodyPr/>
          <a:lstStyle>
            <a:lvl1pPr>
              <a:defRPr sz="1400"/>
            </a:lvl1pPr>
          </a:lstStyle>
          <a:p>
            <a:pPr lvl="0"/>
            <a:r>
              <a:rPr lang="en-US" dirty="0"/>
              <a:t>Click to edit Master text styles</a:t>
            </a:r>
          </a:p>
        </p:txBody>
      </p:sp>
      <p:sp>
        <p:nvSpPr>
          <p:cNvPr id="57" name="Marcador de texto 5">
            <a:extLst>
              <a:ext uri="{FF2B5EF4-FFF2-40B4-BE49-F238E27FC236}">
                <a16:creationId xmlns:a16="http://schemas.microsoft.com/office/drawing/2014/main" id="{7553EF5A-9391-42F5-8ED9-95A7DE3A3547}"/>
              </a:ext>
            </a:extLst>
          </p:cNvPr>
          <p:cNvSpPr>
            <a:spLocks noGrp="1"/>
          </p:cNvSpPr>
          <p:nvPr>
            <p:ph type="body" sz="quarter" idx="38" hasCustomPrompt="1"/>
          </p:nvPr>
        </p:nvSpPr>
        <p:spPr>
          <a:xfrm>
            <a:off x="6104994" y="5166457"/>
            <a:ext cx="2744180" cy="374127"/>
          </a:xfrm>
          <a:prstGeom prst="rect">
            <a:avLst/>
          </a:prstGeom>
        </p:spPr>
        <p:txBody>
          <a:bodyPr lIns="0" tIns="0" rIns="0" bIns="0"/>
          <a:lstStyle>
            <a:lvl1pPr algn="l">
              <a:buNone/>
              <a:defRPr sz="2000" b="1">
                <a:solidFill>
                  <a:schemeClr val="accent1"/>
                </a:solidFill>
              </a:defRPr>
            </a:lvl1pPr>
            <a:lvl2pPr>
              <a:buNone/>
              <a:defRPr/>
            </a:lvl2pPr>
            <a:lvl3pPr>
              <a:buNone/>
              <a:defRPr/>
            </a:lvl3pPr>
            <a:lvl4pPr>
              <a:buNone/>
              <a:defRPr/>
            </a:lvl4pPr>
            <a:lvl5pPr>
              <a:buNone/>
              <a:defRPr/>
            </a:lvl5pPr>
          </a:lstStyle>
          <a:p>
            <a:pPr lvl="0"/>
            <a:r>
              <a:rPr lang="es-ES" dirty="0"/>
              <a:t>##</a:t>
            </a:r>
            <a:endParaRPr lang="en-GB" dirty="0"/>
          </a:p>
        </p:txBody>
      </p:sp>
      <p:sp>
        <p:nvSpPr>
          <p:cNvPr id="58" name="Marcador de texto 3">
            <a:extLst>
              <a:ext uri="{FF2B5EF4-FFF2-40B4-BE49-F238E27FC236}">
                <a16:creationId xmlns:a16="http://schemas.microsoft.com/office/drawing/2014/main" id="{7AE3F577-227A-4C20-BF45-BEF6A92A838C}"/>
              </a:ext>
            </a:extLst>
          </p:cNvPr>
          <p:cNvSpPr>
            <a:spLocks noGrp="1"/>
          </p:cNvSpPr>
          <p:nvPr>
            <p:ph type="body" sz="quarter" idx="39" hasCustomPrompt="1"/>
          </p:nvPr>
        </p:nvSpPr>
        <p:spPr>
          <a:xfrm>
            <a:off x="6099906" y="5577796"/>
            <a:ext cx="2744825" cy="320400"/>
          </a:xfrm>
          <a:prstGeom prst="rect">
            <a:avLst/>
          </a:prstGeom>
        </p:spPr>
        <p:txBody>
          <a:bodyPr lIns="0" tIns="0" rIns="0" bIns="0"/>
          <a:lstStyle>
            <a:lvl1pPr algn="l">
              <a:buNone/>
              <a:defRPr sz="1400" b="1">
                <a:solidFill>
                  <a:schemeClr val="tx1"/>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s-ES" dirty="0"/>
              <a:t>Text </a:t>
            </a:r>
            <a:r>
              <a:rPr lang="es-ES" dirty="0" err="1"/>
              <a:t>for</a:t>
            </a:r>
            <a:r>
              <a:rPr lang="es-ES" dirty="0"/>
              <a:t> </a:t>
            </a:r>
            <a:r>
              <a:rPr lang="es-ES" dirty="0" err="1"/>
              <a:t>relevevant</a:t>
            </a:r>
            <a:r>
              <a:rPr lang="es-ES" dirty="0"/>
              <a:t> figure</a:t>
            </a:r>
            <a:endParaRPr lang="en-GB" dirty="0"/>
          </a:p>
        </p:txBody>
      </p:sp>
      <p:sp>
        <p:nvSpPr>
          <p:cNvPr id="59" name="Text Placeholder 9">
            <a:extLst>
              <a:ext uri="{FF2B5EF4-FFF2-40B4-BE49-F238E27FC236}">
                <a16:creationId xmlns:a16="http://schemas.microsoft.com/office/drawing/2014/main" id="{EDCE2999-CF2A-4AEB-87B8-A725EAC6D702}"/>
              </a:ext>
            </a:extLst>
          </p:cNvPr>
          <p:cNvSpPr>
            <a:spLocks noGrp="1"/>
          </p:cNvSpPr>
          <p:nvPr>
            <p:ph type="body" sz="quarter" idx="40"/>
          </p:nvPr>
        </p:nvSpPr>
        <p:spPr>
          <a:xfrm>
            <a:off x="6105003" y="5891434"/>
            <a:ext cx="2749710" cy="361950"/>
          </a:xfrm>
        </p:spPr>
        <p:txBody>
          <a:bodyPr/>
          <a:lstStyle>
            <a:lvl1pPr>
              <a:defRPr sz="1400"/>
            </a:lvl1pPr>
          </a:lstStyle>
          <a:p>
            <a:pPr lvl="0"/>
            <a:r>
              <a:rPr lang="en-US" dirty="0"/>
              <a:t>Click to edit Master text styles</a:t>
            </a:r>
          </a:p>
        </p:txBody>
      </p:sp>
      <p:sp>
        <p:nvSpPr>
          <p:cNvPr id="35" name="Rectangle 34">
            <a:extLst>
              <a:ext uri="{FF2B5EF4-FFF2-40B4-BE49-F238E27FC236}">
                <a16:creationId xmlns:a16="http://schemas.microsoft.com/office/drawing/2014/main" id="{66FF3C82-A032-4626-A55F-54B6BA7A59E5}"/>
              </a:ext>
            </a:extLst>
          </p:cNvPr>
          <p:cNvSpPr/>
          <p:nvPr userDrawn="1"/>
        </p:nvSpPr>
        <p:spPr>
          <a:xfrm>
            <a:off x="3051745"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6" name="Rectangle 35">
            <a:extLst>
              <a:ext uri="{FF2B5EF4-FFF2-40B4-BE49-F238E27FC236}">
                <a16:creationId xmlns:a16="http://schemas.microsoft.com/office/drawing/2014/main" id="{E2D10A43-0C1B-4180-A178-FD576C2DA0BA}"/>
              </a:ext>
            </a:extLst>
          </p:cNvPr>
          <p:cNvSpPr/>
          <p:nvPr userDrawn="1"/>
        </p:nvSpPr>
        <p:spPr>
          <a:xfrm>
            <a:off x="7490"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7" name="Rectangle 36">
            <a:extLst>
              <a:ext uri="{FF2B5EF4-FFF2-40B4-BE49-F238E27FC236}">
                <a16:creationId xmlns:a16="http://schemas.microsoft.com/office/drawing/2014/main" id="{71A702BE-3B17-4B3F-8E48-4FDCB1B3376B}"/>
              </a:ext>
            </a:extLst>
          </p:cNvPr>
          <p:cNvSpPr/>
          <p:nvPr userDrawn="1"/>
        </p:nvSpPr>
        <p:spPr>
          <a:xfrm>
            <a:off x="9149414"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8" name="Rectangle 37">
            <a:extLst>
              <a:ext uri="{FF2B5EF4-FFF2-40B4-BE49-F238E27FC236}">
                <a16:creationId xmlns:a16="http://schemas.microsoft.com/office/drawing/2014/main" id="{8EDA31E3-283B-4E5D-89EA-3DC2C0FFD32D}"/>
              </a:ext>
            </a:extLst>
          </p:cNvPr>
          <p:cNvSpPr/>
          <p:nvPr userDrawn="1"/>
        </p:nvSpPr>
        <p:spPr>
          <a:xfrm>
            <a:off x="6105159"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Tree>
    <p:extLst>
      <p:ext uri="{BB962C8B-B14F-4D97-AF65-F5344CB8AC3E}">
        <p14:creationId xmlns:p14="http://schemas.microsoft.com/office/powerpoint/2010/main" val="17845694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me lin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E587BE-F6AF-499A-812B-F6A5E822BF9C}"/>
              </a:ext>
            </a:extLst>
          </p:cNvPr>
          <p:cNvSpPr>
            <a:spLocks noGrp="1"/>
          </p:cNvSpPr>
          <p:nvPr>
            <p:ph type="title"/>
          </p:nvPr>
        </p:nvSpPr>
        <p:spPr/>
        <p:txBody>
          <a:bodyPr/>
          <a:lstStyle/>
          <a:p>
            <a:r>
              <a:rPr lang="en-US"/>
              <a:t>Click to edit Master title style</a:t>
            </a:r>
          </a:p>
        </p:txBody>
      </p:sp>
      <p:sp>
        <p:nvSpPr>
          <p:cNvPr id="3" name="Marcador de texto 2">
            <a:extLst>
              <a:ext uri="{FF2B5EF4-FFF2-40B4-BE49-F238E27FC236}">
                <a16:creationId xmlns:a16="http://schemas.microsoft.com/office/drawing/2014/main" id="{4733E61F-A2E3-419A-8F67-857EA928B66F}"/>
              </a:ext>
            </a:extLst>
          </p:cNvPr>
          <p:cNvSpPr>
            <a:spLocks noGrp="1"/>
          </p:cNvSpPr>
          <p:nvPr>
            <p:ph type="body" idx="10" hasCustomPrompt="1"/>
          </p:nvPr>
        </p:nvSpPr>
        <p:spPr>
          <a:xfrm>
            <a:off x="368791" y="722639"/>
            <a:ext cx="7776000" cy="324000"/>
          </a:xfrm>
          <a:prstGeom prst="rect">
            <a:avLst/>
          </a:prstGeom>
        </p:spPr>
        <p:txBody>
          <a:bodyPr lIns="0" tIns="0" rIns="0" bIns="0" anchor="t"/>
          <a:lstStyle>
            <a:lvl1pPr marL="0" indent="0">
              <a:lnSpc>
                <a:spcPct val="100000"/>
              </a:lnSpc>
              <a:spcBef>
                <a:spcPts val="0"/>
              </a:spcBef>
              <a:buNone/>
              <a:defRPr sz="2000" b="0">
                <a:solidFill>
                  <a:srgbClr val="000000"/>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err="1"/>
              <a:t>Subtitle</a:t>
            </a:r>
            <a:endParaRPr lang="es-ES" dirty="0"/>
          </a:p>
        </p:txBody>
      </p:sp>
      <p:cxnSp>
        <p:nvCxnSpPr>
          <p:cNvPr id="6" name="Straight Connector 5">
            <a:extLst>
              <a:ext uri="{FF2B5EF4-FFF2-40B4-BE49-F238E27FC236}">
                <a16:creationId xmlns:a16="http://schemas.microsoft.com/office/drawing/2014/main" id="{9A45737E-0F71-4DBA-B4EC-BAFD0D60BEF4}"/>
              </a:ext>
            </a:extLst>
          </p:cNvPr>
          <p:cNvCxnSpPr>
            <a:cxnSpLocks/>
          </p:cNvCxnSpPr>
          <p:nvPr userDrawn="1"/>
        </p:nvCxnSpPr>
        <p:spPr>
          <a:xfrm flipV="1">
            <a:off x="-97762" y="3439067"/>
            <a:ext cx="12387524" cy="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Marcador de texto 5">
            <a:extLst>
              <a:ext uri="{FF2B5EF4-FFF2-40B4-BE49-F238E27FC236}">
                <a16:creationId xmlns:a16="http://schemas.microsoft.com/office/drawing/2014/main" id="{509D62C0-8146-4813-8C7C-5131B67C4086}"/>
              </a:ext>
            </a:extLst>
          </p:cNvPr>
          <p:cNvSpPr>
            <a:spLocks noGrp="1"/>
          </p:cNvSpPr>
          <p:nvPr>
            <p:ph type="body" sz="quarter" idx="29" hasCustomPrompt="1"/>
          </p:nvPr>
        </p:nvSpPr>
        <p:spPr>
          <a:xfrm>
            <a:off x="371474" y="2631363"/>
            <a:ext cx="2227041" cy="374127"/>
          </a:xfrm>
          <a:prstGeom prst="rect">
            <a:avLst/>
          </a:prstGeom>
        </p:spPr>
        <p:txBody>
          <a:bodyPr lIns="0" tIns="0" rIns="0" bIns="0"/>
          <a:lstStyle>
            <a:lvl1pPr algn="ctr">
              <a:buNone/>
              <a:defRPr sz="2800" b="1">
                <a:solidFill>
                  <a:schemeClr val="accent1"/>
                </a:solidFill>
              </a:defRPr>
            </a:lvl1pPr>
            <a:lvl2pPr>
              <a:buNone/>
              <a:defRPr/>
            </a:lvl2pPr>
            <a:lvl3pPr>
              <a:buNone/>
              <a:defRPr/>
            </a:lvl3pPr>
            <a:lvl4pPr>
              <a:buNone/>
              <a:defRPr/>
            </a:lvl4pPr>
            <a:lvl5pPr>
              <a:buNone/>
              <a:defRPr/>
            </a:lvl5pPr>
          </a:lstStyle>
          <a:p>
            <a:pPr lvl="0"/>
            <a:r>
              <a:rPr lang="es-ES" dirty="0"/>
              <a:t>##</a:t>
            </a:r>
            <a:endParaRPr lang="en-GB" dirty="0"/>
          </a:p>
        </p:txBody>
      </p:sp>
      <p:sp>
        <p:nvSpPr>
          <p:cNvPr id="15" name="Marcador de texto 3">
            <a:extLst>
              <a:ext uri="{FF2B5EF4-FFF2-40B4-BE49-F238E27FC236}">
                <a16:creationId xmlns:a16="http://schemas.microsoft.com/office/drawing/2014/main" id="{4D6FC8DA-5B19-48CA-BC77-7BA6E257513A}"/>
              </a:ext>
            </a:extLst>
          </p:cNvPr>
          <p:cNvSpPr>
            <a:spLocks noGrp="1"/>
          </p:cNvSpPr>
          <p:nvPr>
            <p:ph type="body" sz="quarter" idx="30" hasCustomPrompt="1"/>
          </p:nvPr>
        </p:nvSpPr>
        <p:spPr>
          <a:xfrm>
            <a:off x="371871" y="3872645"/>
            <a:ext cx="2219893" cy="320399"/>
          </a:xfrm>
          <a:prstGeom prst="rect">
            <a:avLst/>
          </a:prstGeom>
        </p:spPr>
        <p:txBody>
          <a:bodyPr lIns="0" tIns="0" rIns="0" bIns="0"/>
          <a:lstStyle>
            <a:lvl1pPr algn="ctr">
              <a:buNone/>
              <a:defRPr sz="1400" b="1">
                <a:solidFill>
                  <a:schemeClr val="tx1"/>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s-ES" dirty="0"/>
              <a:t>Text </a:t>
            </a:r>
            <a:r>
              <a:rPr lang="es-ES" dirty="0" err="1"/>
              <a:t>for</a:t>
            </a:r>
            <a:r>
              <a:rPr lang="es-ES" dirty="0"/>
              <a:t> figure</a:t>
            </a:r>
            <a:endParaRPr lang="en-GB" dirty="0"/>
          </a:p>
        </p:txBody>
      </p:sp>
      <p:sp>
        <p:nvSpPr>
          <p:cNvPr id="16" name="Text Placeholder 9">
            <a:extLst>
              <a:ext uri="{FF2B5EF4-FFF2-40B4-BE49-F238E27FC236}">
                <a16:creationId xmlns:a16="http://schemas.microsoft.com/office/drawing/2014/main" id="{DBA501E3-D13B-45DB-957E-B15D2A7FE45C}"/>
              </a:ext>
            </a:extLst>
          </p:cNvPr>
          <p:cNvSpPr>
            <a:spLocks noGrp="1"/>
          </p:cNvSpPr>
          <p:nvPr>
            <p:ph type="body" sz="quarter" idx="31"/>
          </p:nvPr>
        </p:nvSpPr>
        <p:spPr>
          <a:xfrm>
            <a:off x="374672" y="4210612"/>
            <a:ext cx="2223844" cy="361949"/>
          </a:xfrm>
        </p:spPr>
        <p:txBody>
          <a:bodyPr/>
          <a:lstStyle>
            <a:lvl1pPr algn="ctr">
              <a:defRPr sz="1400"/>
            </a:lvl1pPr>
          </a:lstStyle>
          <a:p>
            <a:pPr lvl="0"/>
            <a:r>
              <a:rPr lang="en-US" dirty="0"/>
              <a:t>Click to edit Master text styles</a:t>
            </a:r>
          </a:p>
        </p:txBody>
      </p:sp>
      <p:sp>
        <p:nvSpPr>
          <p:cNvPr id="17" name="Marcador de texto 5">
            <a:extLst>
              <a:ext uri="{FF2B5EF4-FFF2-40B4-BE49-F238E27FC236}">
                <a16:creationId xmlns:a16="http://schemas.microsoft.com/office/drawing/2014/main" id="{C6039575-3F5F-4A87-BB3D-F2032E7320A2}"/>
              </a:ext>
            </a:extLst>
          </p:cNvPr>
          <p:cNvSpPr>
            <a:spLocks noGrp="1"/>
          </p:cNvSpPr>
          <p:nvPr>
            <p:ph type="body" sz="quarter" idx="32" hasCustomPrompt="1"/>
          </p:nvPr>
        </p:nvSpPr>
        <p:spPr>
          <a:xfrm>
            <a:off x="3421026" y="3879190"/>
            <a:ext cx="2227041" cy="374127"/>
          </a:xfrm>
          <a:prstGeom prst="rect">
            <a:avLst/>
          </a:prstGeom>
        </p:spPr>
        <p:txBody>
          <a:bodyPr lIns="0" tIns="0" rIns="0" bIns="0"/>
          <a:lstStyle>
            <a:lvl1pPr algn="ctr">
              <a:buNone/>
              <a:defRPr sz="2800" b="1">
                <a:solidFill>
                  <a:schemeClr val="accent1"/>
                </a:solidFill>
              </a:defRPr>
            </a:lvl1pPr>
            <a:lvl2pPr>
              <a:buNone/>
              <a:defRPr/>
            </a:lvl2pPr>
            <a:lvl3pPr>
              <a:buNone/>
              <a:defRPr/>
            </a:lvl3pPr>
            <a:lvl4pPr>
              <a:buNone/>
              <a:defRPr/>
            </a:lvl4pPr>
            <a:lvl5pPr>
              <a:buNone/>
              <a:defRPr/>
            </a:lvl5pPr>
          </a:lstStyle>
          <a:p>
            <a:pPr lvl="0"/>
            <a:r>
              <a:rPr lang="es-ES" dirty="0"/>
              <a:t>##</a:t>
            </a:r>
            <a:endParaRPr lang="en-GB" dirty="0"/>
          </a:p>
        </p:txBody>
      </p:sp>
      <p:sp>
        <p:nvSpPr>
          <p:cNvPr id="20" name="Marcador de texto 5">
            <a:extLst>
              <a:ext uri="{FF2B5EF4-FFF2-40B4-BE49-F238E27FC236}">
                <a16:creationId xmlns:a16="http://schemas.microsoft.com/office/drawing/2014/main" id="{39970C0F-E84B-4DE3-A4E8-CB31DAD22A24}"/>
              </a:ext>
            </a:extLst>
          </p:cNvPr>
          <p:cNvSpPr>
            <a:spLocks noGrp="1"/>
          </p:cNvSpPr>
          <p:nvPr>
            <p:ph type="body" sz="quarter" idx="35" hasCustomPrompt="1"/>
          </p:nvPr>
        </p:nvSpPr>
        <p:spPr>
          <a:xfrm>
            <a:off x="6502101" y="2647750"/>
            <a:ext cx="2227041" cy="374127"/>
          </a:xfrm>
          <a:prstGeom prst="rect">
            <a:avLst/>
          </a:prstGeom>
        </p:spPr>
        <p:txBody>
          <a:bodyPr lIns="0" tIns="0" rIns="0" bIns="0"/>
          <a:lstStyle>
            <a:lvl1pPr algn="ctr">
              <a:buNone/>
              <a:defRPr sz="2800" b="1">
                <a:solidFill>
                  <a:schemeClr val="accent1"/>
                </a:solidFill>
              </a:defRPr>
            </a:lvl1pPr>
            <a:lvl2pPr>
              <a:buNone/>
              <a:defRPr/>
            </a:lvl2pPr>
            <a:lvl3pPr>
              <a:buNone/>
              <a:defRPr/>
            </a:lvl3pPr>
            <a:lvl4pPr>
              <a:buNone/>
              <a:defRPr/>
            </a:lvl4pPr>
            <a:lvl5pPr>
              <a:buNone/>
              <a:defRPr/>
            </a:lvl5pPr>
          </a:lstStyle>
          <a:p>
            <a:pPr lvl="0"/>
            <a:r>
              <a:rPr lang="es-ES" dirty="0"/>
              <a:t>##</a:t>
            </a:r>
            <a:endParaRPr lang="en-GB" dirty="0"/>
          </a:p>
        </p:txBody>
      </p:sp>
      <p:sp>
        <p:nvSpPr>
          <p:cNvPr id="21" name="Marcador de texto 3">
            <a:extLst>
              <a:ext uri="{FF2B5EF4-FFF2-40B4-BE49-F238E27FC236}">
                <a16:creationId xmlns:a16="http://schemas.microsoft.com/office/drawing/2014/main" id="{5A4CCFE5-0C66-4FDD-B59F-1E53E0614A93}"/>
              </a:ext>
            </a:extLst>
          </p:cNvPr>
          <p:cNvSpPr>
            <a:spLocks noGrp="1"/>
          </p:cNvSpPr>
          <p:nvPr>
            <p:ph type="body" sz="quarter" idx="36" hasCustomPrompt="1"/>
          </p:nvPr>
        </p:nvSpPr>
        <p:spPr>
          <a:xfrm>
            <a:off x="6502498" y="3878120"/>
            <a:ext cx="2219893" cy="320399"/>
          </a:xfrm>
          <a:prstGeom prst="rect">
            <a:avLst/>
          </a:prstGeom>
        </p:spPr>
        <p:txBody>
          <a:bodyPr lIns="0" tIns="0" rIns="0" bIns="0"/>
          <a:lstStyle>
            <a:lvl1pPr algn="ctr">
              <a:buNone/>
              <a:defRPr sz="1400" b="1">
                <a:solidFill>
                  <a:schemeClr val="tx1"/>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s-ES" dirty="0"/>
              <a:t>Text </a:t>
            </a:r>
            <a:r>
              <a:rPr lang="es-ES" dirty="0" err="1"/>
              <a:t>for</a:t>
            </a:r>
            <a:r>
              <a:rPr lang="es-ES" dirty="0"/>
              <a:t> figure</a:t>
            </a:r>
            <a:endParaRPr lang="en-GB" dirty="0"/>
          </a:p>
        </p:txBody>
      </p:sp>
      <p:sp>
        <p:nvSpPr>
          <p:cNvPr id="22" name="Text Placeholder 9">
            <a:extLst>
              <a:ext uri="{FF2B5EF4-FFF2-40B4-BE49-F238E27FC236}">
                <a16:creationId xmlns:a16="http://schemas.microsoft.com/office/drawing/2014/main" id="{7742AC64-A027-45A4-8ECB-39498CF172C5}"/>
              </a:ext>
            </a:extLst>
          </p:cNvPr>
          <p:cNvSpPr>
            <a:spLocks noGrp="1"/>
          </p:cNvSpPr>
          <p:nvPr>
            <p:ph type="body" sz="quarter" idx="37"/>
          </p:nvPr>
        </p:nvSpPr>
        <p:spPr>
          <a:xfrm>
            <a:off x="6505299" y="4216087"/>
            <a:ext cx="2223844" cy="361949"/>
          </a:xfrm>
        </p:spPr>
        <p:txBody>
          <a:bodyPr/>
          <a:lstStyle>
            <a:lvl1pPr algn="ctr">
              <a:defRPr sz="1400"/>
            </a:lvl1pPr>
          </a:lstStyle>
          <a:p>
            <a:pPr lvl="0"/>
            <a:r>
              <a:rPr lang="en-US" dirty="0"/>
              <a:t>Click to edit Master text styles</a:t>
            </a:r>
          </a:p>
        </p:txBody>
      </p:sp>
      <p:sp>
        <p:nvSpPr>
          <p:cNvPr id="23" name="Marcador de texto 5">
            <a:extLst>
              <a:ext uri="{FF2B5EF4-FFF2-40B4-BE49-F238E27FC236}">
                <a16:creationId xmlns:a16="http://schemas.microsoft.com/office/drawing/2014/main" id="{58C7D2FF-D07E-4824-ABC6-88E5F22AAFAE}"/>
              </a:ext>
            </a:extLst>
          </p:cNvPr>
          <p:cNvSpPr>
            <a:spLocks noGrp="1"/>
          </p:cNvSpPr>
          <p:nvPr>
            <p:ph type="body" sz="quarter" idx="38" hasCustomPrompt="1"/>
          </p:nvPr>
        </p:nvSpPr>
        <p:spPr>
          <a:xfrm>
            <a:off x="9593484" y="3879190"/>
            <a:ext cx="2227041" cy="374127"/>
          </a:xfrm>
          <a:prstGeom prst="rect">
            <a:avLst/>
          </a:prstGeom>
        </p:spPr>
        <p:txBody>
          <a:bodyPr lIns="0" tIns="0" rIns="0" bIns="0"/>
          <a:lstStyle>
            <a:lvl1pPr algn="ctr">
              <a:buNone/>
              <a:defRPr sz="2800" b="1">
                <a:solidFill>
                  <a:schemeClr val="accent1"/>
                </a:solidFill>
              </a:defRPr>
            </a:lvl1pPr>
            <a:lvl2pPr>
              <a:buNone/>
              <a:defRPr/>
            </a:lvl2pPr>
            <a:lvl3pPr>
              <a:buNone/>
              <a:defRPr/>
            </a:lvl3pPr>
            <a:lvl4pPr>
              <a:buNone/>
              <a:defRPr/>
            </a:lvl4pPr>
            <a:lvl5pPr>
              <a:buNone/>
              <a:defRPr/>
            </a:lvl5pPr>
          </a:lstStyle>
          <a:p>
            <a:pPr lvl="0"/>
            <a:r>
              <a:rPr lang="es-ES" dirty="0"/>
              <a:t>##</a:t>
            </a:r>
            <a:endParaRPr lang="en-GB" dirty="0"/>
          </a:p>
        </p:txBody>
      </p:sp>
      <p:sp>
        <p:nvSpPr>
          <p:cNvPr id="26" name="Marcador de texto 3">
            <a:extLst>
              <a:ext uri="{FF2B5EF4-FFF2-40B4-BE49-F238E27FC236}">
                <a16:creationId xmlns:a16="http://schemas.microsoft.com/office/drawing/2014/main" id="{7C86B625-AAFF-400F-BA59-2CDB5907F807}"/>
              </a:ext>
            </a:extLst>
          </p:cNvPr>
          <p:cNvSpPr>
            <a:spLocks noGrp="1"/>
          </p:cNvSpPr>
          <p:nvPr>
            <p:ph type="body" sz="quarter" idx="39" hasCustomPrompt="1"/>
          </p:nvPr>
        </p:nvSpPr>
        <p:spPr>
          <a:xfrm>
            <a:off x="3463255" y="2305489"/>
            <a:ext cx="2219893" cy="320399"/>
          </a:xfrm>
          <a:prstGeom prst="rect">
            <a:avLst/>
          </a:prstGeom>
        </p:spPr>
        <p:txBody>
          <a:bodyPr lIns="0" tIns="0" rIns="0" bIns="0"/>
          <a:lstStyle>
            <a:lvl1pPr algn="ctr">
              <a:buNone/>
              <a:defRPr sz="1400" b="1">
                <a:solidFill>
                  <a:schemeClr val="tx1"/>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s-ES" dirty="0"/>
              <a:t>Text </a:t>
            </a:r>
            <a:r>
              <a:rPr lang="es-ES" dirty="0" err="1"/>
              <a:t>for</a:t>
            </a:r>
            <a:r>
              <a:rPr lang="es-ES" dirty="0"/>
              <a:t> figure</a:t>
            </a:r>
            <a:endParaRPr lang="en-GB" dirty="0"/>
          </a:p>
        </p:txBody>
      </p:sp>
      <p:sp>
        <p:nvSpPr>
          <p:cNvPr id="27" name="Text Placeholder 9">
            <a:extLst>
              <a:ext uri="{FF2B5EF4-FFF2-40B4-BE49-F238E27FC236}">
                <a16:creationId xmlns:a16="http://schemas.microsoft.com/office/drawing/2014/main" id="{BE5BEF22-5783-4E3B-8A65-82CC583150A8}"/>
              </a:ext>
            </a:extLst>
          </p:cNvPr>
          <p:cNvSpPr>
            <a:spLocks noGrp="1"/>
          </p:cNvSpPr>
          <p:nvPr>
            <p:ph type="body" sz="quarter" idx="40"/>
          </p:nvPr>
        </p:nvSpPr>
        <p:spPr>
          <a:xfrm>
            <a:off x="3466056" y="2643541"/>
            <a:ext cx="2223844" cy="361949"/>
          </a:xfrm>
        </p:spPr>
        <p:txBody>
          <a:bodyPr/>
          <a:lstStyle>
            <a:lvl1pPr algn="ctr">
              <a:defRPr sz="1400"/>
            </a:lvl1pPr>
          </a:lstStyle>
          <a:p>
            <a:pPr lvl="0"/>
            <a:r>
              <a:rPr lang="en-US" dirty="0"/>
              <a:t>Click to edit Master text styles</a:t>
            </a:r>
          </a:p>
        </p:txBody>
      </p:sp>
      <p:sp>
        <p:nvSpPr>
          <p:cNvPr id="28" name="Marcador de texto 3">
            <a:extLst>
              <a:ext uri="{FF2B5EF4-FFF2-40B4-BE49-F238E27FC236}">
                <a16:creationId xmlns:a16="http://schemas.microsoft.com/office/drawing/2014/main" id="{48429FFF-6B30-451C-95C3-7C60E9781D26}"/>
              </a:ext>
            </a:extLst>
          </p:cNvPr>
          <p:cNvSpPr>
            <a:spLocks noGrp="1"/>
          </p:cNvSpPr>
          <p:nvPr>
            <p:ph type="body" sz="quarter" idx="41" hasCustomPrompt="1"/>
          </p:nvPr>
        </p:nvSpPr>
        <p:spPr>
          <a:xfrm>
            <a:off x="9593882" y="2310964"/>
            <a:ext cx="2219893" cy="320399"/>
          </a:xfrm>
          <a:prstGeom prst="rect">
            <a:avLst/>
          </a:prstGeom>
        </p:spPr>
        <p:txBody>
          <a:bodyPr lIns="0" tIns="0" rIns="0" bIns="0"/>
          <a:lstStyle>
            <a:lvl1pPr algn="ctr">
              <a:buNone/>
              <a:defRPr sz="1400" b="1">
                <a:solidFill>
                  <a:schemeClr val="tx1"/>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s-ES" dirty="0"/>
              <a:t>Text </a:t>
            </a:r>
            <a:r>
              <a:rPr lang="es-ES" dirty="0" err="1"/>
              <a:t>for</a:t>
            </a:r>
            <a:r>
              <a:rPr lang="es-ES" dirty="0"/>
              <a:t> figure</a:t>
            </a:r>
            <a:endParaRPr lang="en-GB" dirty="0"/>
          </a:p>
        </p:txBody>
      </p:sp>
      <p:sp>
        <p:nvSpPr>
          <p:cNvPr id="29" name="Text Placeholder 9">
            <a:extLst>
              <a:ext uri="{FF2B5EF4-FFF2-40B4-BE49-F238E27FC236}">
                <a16:creationId xmlns:a16="http://schemas.microsoft.com/office/drawing/2014/main" id="{D94BD13C-6DF3-4DA5-A07F-9768F0F9AF0E}"/>
              </a:ext>
            </a:extLst>
          </p:cNvPr>
          <p:cNvSpPr>
            <a:spLocks noGrp="1"/>
          </p:cNvSpPr>
          <p:nvPr>
            <p:ph type="body" sz="quarter" idx="42"/>
          </p:nvPr>
        </p:nvSpPr>
        <p:spPr>
          <a:xfrm>
            <a:off x="9596683" y="2649016"/>
            <a:ext cx="2223844" cy="361949"/>
          </a:xfrm>
        </p:spPr>
        <p:txBody>
          <a:bodyPr/>
          <a:lstStyle>
            <a:lvl1pPr algn="ctr">
              <a:defRPr sz="1400"/>
            </a:lvl1pPr>
          </a:lstStyle>
          <a:p>
            <a:pPr lvl="0"/>
            <a:r>
              <a:rPr lang="en-US" dirty="0"/>
              <a:t>Click to edit Master text styles</a:t>
            </a:r>
          </a:p>
        </p:txBody>
      </p:sp>
      <p:sp>
        <p:nvSpPr>
          <p:cNvPr id="18" name="Rectangle 17">
            <a:extLst>
              <a:ext uri="{FF2B5EF4-FFF2-40B4-BE49-F238E27FC236}">
                <a16:creationId xmlns:a16="http://schemas.microsoft.com/office/drawing/2014/main" id="{2B6650AD-B4D3-4217-B9DD-AD1D9FF4C047}"/>
              </a:ext>
            </a:extLst>
          </p:cNvPr>
          <p:cNvSpPr/>
          <p:nvPr userDrawn="1"/>
        </p:nvSpPr>
        <p:spPr>
          <a:xfrm>
            <a:off x="3051745"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9" name="Rectangle 18">
            <a:extLst>
              <a:ext uri="{FF2B5EF4-FFF2-40B4-BE49-F238E27FC236}">
                <a16:creationId xmlns:a16="http://schemas.microsoft.com/office/drawing/2014/main" id="{E78D93E8-3726-47BB-899F-4BAAFCA86C46}"/>
              </a:ext>
            </a:extLst>
          </p:cNvPr>
          <p:cNvSpPr/>
          <p:nvPr userDrawn="1"/>
        </p:nvSpPr>
        <p:spPr>
          <a:xfrm>
            <a:off x="7490"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4" name="Rectangle 23">
            <a:extLst>
              <a:ext uri="{FF2B5EF4-FFF2-40B4-BE49-F238E27FC236}">
                <a16:creationId xmlns:a16="http://schemas.microsoft.com/office/drawing/2014/main" id="{82D2B328-3A95-49C5-87A5-59D724A85893}"/>
              </a:ext>
            </a:extLst>
          </p:cNvPr>
          <p:cNvSpPr/>
          <p:nvPr userDrawn="1"/>
        </p:nvSpPr>
        <p:spPr>
          <a:xfrm>
            <a:off x="9149414"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5" name="Rectangle 24">
            <a:extLst>
              <a:ext uri="{FF2B5EF4-FFF2-40B4-BE49-F238E27FC236}">
                <a16:creationId xmlns:a16="http://schemas.microsoft.com/office/drawing/2014/main" id="{6A9E65F8-870B-498F-B593-CAEE6D290873}"/>
              </a:ext>
            </a:extLst>
          </p:cNvPr>
          <p:cNvSpPr/>
          <p:nvPr userDrawn="1"/>
        </p:nvSpPr>
        <p:spPr>
          <a:xfrm>
            <a:off x="6105159"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Tree>
    <p:extLst>
      <p:ext uri="{BB962C8B-B14F-4D97-AF65-F5344CB8AC3E}">
        <p14:creationId xmlns:p14="http://schemas.microsoft.com/office/powerpoint/2010/main" val="296766969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Progress slid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E587BE-F6AF-499A-812B-F6A5E822BF9C}"/>
              </a:ext>
            </a:extLst>
          </p:cNvPr>
          <p:cNvSpPr>
            <a:spLocks noGrp="1"/>
          </p:cNvSpPr>
          <p:nvPr>
            <p:ph type="title"/>
          </p:nvPr>
        </p:nvSpPr>
        <p:spPr/>
        <p:txBody>
          <a:bodyPr/>
          <a:lstStyle/>
          <a:p>
            <a:r>
              <a:rPr lang="en-US"/>
              <a:t>Click to edit Master title style</a:t>
            </a:r>
          </a:p>
        </p:txBody>
      </p:sp>
      <p:sp>
        <p:nvSpPr>
          <p:cNvPr id="3" name="Marcador de texto 2">
            <a:extLst>
              <a:ext uri="{FF2B5EF4-FFF2-40B4-BE49-F238E27FC236}">
                <a16:creationId xmlns:a16="http://schemas.microsoft.com/office/drawing/2014/main" id="{4733E61F-A2E3-419A-8F67-857EA928B66F}"/>
              </a:ext>
            </a:extLst>
          </p:cNvPr>
          <p:cNvSpPr>
            <a:spLocks noGrp="1"/>
          </p:cNvSpPr>
          <p:nvPr>
            <p:ph type="body" idx="10" hasCustomPrompt="1"/>
          </p:nvPr>
        </p:nvSpPr>
        <p:spPr>
          <a:xfrm>
            <a:off x="368791" y="722639"/>
            <a:ext cx="7776000" cy="324000"/>
          </a:xfrm>
          <a:prstGeom prst="rect">
            <a:avLst/>
          </a:prstGeom>
        </p:spPr>
        <p:txBody>
          <a:bodyPr lIns="0" tIns="0" rIns="0" bIns="0" anchor="t"/>
          <a:lstStyle>
            <a:lvl1pPr marL="0" indent="0">
              <a:lnSpc>
                <a:spcPct val="100000"/>
              </a:lnSpc>
              <a:spcBef>
                <a:spcPts val="0"/>
              </a:spcBef>
              <a:buNone/>
              <a:defRPr sz="2000" b="0">
                <a:solidFill>
                  <a:srgbClr val="000000"/>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err="1"/>
              <a:t>Subtitle</a:t>
            </a:r>
            <a:endParaRPr lang="es-ES" dirty="0"/>
          </a:p>
        </p:txBody>
      </p:sp>
      <p:sp>
        <p:nvSpPr>
          <p:cNvPr id="14" name="Marcador de texto 5">
            <a:extLst>
              <a:ext uri="{FF2B5EF4-FFF2-40B4-BE49-F238E27FC236}">
                <a16:creationId xmlns:a16="http://schemas.microsoft.com/office/drawing/2014/main" id="{509D62C0-8146-4813-8C7C-5131B67C4086}"/>
              </a:ext>
            </a:extLst>
          </p:cNvPr>
          <p:cNvSpPr>
            <a:spLocks noGrp="1"/>
          </p:cNvSpPr>
          <p:nvPr>
            <p:ph type="body" sz="quarter" idx="29" hasCustomPrompt="1"/>
          </p:nvPr>
        </p:nvSpPr>
        <p:spPr>
          <a:xfrm>
            <a:off x="699049" y="4210146"/>
            <a:ext cx="495300" cy="320400"/>
          </a:xfrm>
          <a:prstGeom prst="rect">
            <a:avLst/>
          </a:prstGeom>
        </p:spPr>
        <p:txBody>
          <a:bodyPr lIns="0" tIns="0" rIns="0" bIns="0"/>
          <a:lstStyle>
            <a:lvl1pPr algn="ctr">
              <a:buNone/>
              <a:defRPr sz="2000" b="1">
                <a:solidFill>
                  <a:schemeClr val="accent1"/>
                </a:solidFill>
              </a:defRPr>
            </a:lvl1pPr>
            <a:lvl2pPr>
              <a:buNone/>
              <a:defRPr/>
            </a:lvl2pPr>
            <a:lvl3pPr>
              <a:buNone/>
              <a:defRPr/>
            </a:lvl3pPr>
            <a:lvl4pPr>
              <a:buNone/>
              <a:defRPr/>
            </a:lvl4pPr>
            <a:lvl5pPr>
              <a:buNone/>
              <a:defRPr/>
            </a:lvl5pPr>
          </a:lstStyle>
          <a:p>
            <a:pPr lvl="0"/>
            <a:r>
              <a:rPr lang="es-ES" dirty="0"/>
              <a:t>#</a:t>
            </a:r>
            <a:endParaRPr lang="en-GB" dirty="0"/>
          </a:p>
        </p:txBody>
      </p:sp>
      <p:sp>
        <p:nvSpPr>
          <p:cNvPr id="15" name="Marcador de texto 3">
            <a:extLst>
              <a:ext uri="{FF2B5EF4-FFF2-40B4-BE49-F238E27FC236}">
                <a16:creationId xmlns:a16="http://schemas.microsoft.com/office/drawing/2014/main" id="{4D6FC8DA-5B19-48CA-BC77-7BA6E257513A}"/>
              </a:ext>
            </a:extLst>
          </p:cNvPr>
          <p:cNvSpPr>
            <a:spLocks noGrp="1"/>
          </p:cNvSpPr>
          <p:nvPr>
            <p:ph type="body" sz="quarter" idx="30" hasCustomPrompt="1"/>
          </p:nvPr>
        </p:nvSpPr>
        <p:spPr>
          <a:xfrm>
            <a:off x="252525" y="3620467"/>
            <a:ext cx="1388349" cy="320398"/>
          </a:xfrm>
          <a:prstGeom prst="rect">
            <a:avLst/>
          </a:prstGeom>
        </p:spPr>
        <p:txBody>
          <a:bodyPr lIns="0" tIns="0" rIns="0" bIns="0"/>
          <a:lstStyle>
            <a:lvl1pPr algn="ctr">
              <a:buNone/>
              <a:defRPr sz="1400" b="1">
                <a:solidFill>
                  <a:schemeClr val="tx1"/>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s-ES" dirty="0" err="1"/>
              <a:t>Title</a:t>
            </a:r>
            <a:endParaRPr lang="en-GB" dirty="0"/>
          </a:p>
        </p:txBody>
      </p:sp>
      <p:cxnSp>
        <p:nvCxnSpPr>
          <p:cNvPr id="18" name="Straight Connector 17">
            <a:extLst>
              <a:ext uri="{FF2B5EF4-FFF2-40B4-BE49-F238E27FC236}">
                <a16:creationId xmlns:a16="http://schemas.microsoft.com/office/drawing/2014/main" id="{4D200E36-3CA8-45C7-AFCB-DBF275CF01F0}"/>
              </a:ext>
            </a:extLst>
          </p:cNvPr>
          <p:cNvCxnSpPr/>
          <p:nvPr userDrawn="1"/>
        </p:nvCxnSpPr>
        <p:spPr>
          <a:xfrm>
            <a:off x="1299304" y="4370346"/>
            <a:ext cx="1854250" cy="0"/>
          </a:xfrm>
          <a:prstGeom prst="line">
            <a:avLst/>
          </a:prstGeom>
        </p:spPr>
        <p:style>
          <a:lnRef idx="1">
            <a:schemeClr val="accent1"/>
          </a:lnRef>
          <a:fillRef idx="0">
            <a:schemeClr val="accent1"/>
          </a:fillRef>
          <a:effectRef idx="0">
            <a:schemeClr val="accent1"/>
          </a:effectRef>
          <a:fontRef idx="minor">
            <a:schemeClr val="tx1"/>
          </a:fontRef>
        </p:style>
      </p:cxnSp>
      <p:sp>
        <p:nvSpPr>
          <p:cNvPr id="30" name="Marcador de texto 5">
            <a:extLst>
              <a:ext uri="{FF2B5EF4-FFF2-40B4-BE49-F238E27FC236}">
                <a16:creationId xmlns:a16="http://schemas.microsoft.com/office/drawing/2014/main" id="{2D7DB811-7665-4BF5-8C97-D7668C13ACE4}"/>
              </a:ext>
            </a:extLst>
          </p:cNvPr>
          <p:cNvSpPr>
            <a:spLocks noGrp="1"/>
          </p:cNvSpPr>
          <p:nvPr>
            <p:ph type="body" sz="quarter" idx="31" hasCustomPrompt="1"/>
          </p:nvPr>
        </p:nvSpPr>
        <p:spPr>
          <a:xfrm>
            <a:off x="3258509" y="4210146"/>
            <a:ext cx="495300" cy="320400"/>
          </a:xfrm>
          <a:prstGeom prst="rect">
            <a:avLst/>
          </a:prstGeom>
        </p:spPr>
        <p:txBody>
          <a:bodyPr lIns="0" tIns="0" rIns="0" bIns="0"/>
          <a:lstStyle>
            <a:lvl1pPr algn="ctr">
              <a:buNone/>
              <a:defRPr sz="2000" b="1">
                <a:solidFill>
                  <a:schemeClr val="accent1"/>
                </a:solidFill>
              </a:defRPr>
            </a:lvl1pPr>
            <a:lvl2pPr>
              <a:buNone/>
              <a:defRPr/>
            </a:lvl2pPr>
            <a:lvl3pPr>
              <a:buNone/>
              <a:defRPr/>
            </a:lvl3pPr>
            <a:lvl4pPr>
              <a:buNone/>
              <a:defRPr/>
            </a:lvl4pPr>
            <a:lvl5pPr>
              <a:buNone/>
              <a:defRPr/>
            </a:lvl5pPr>
          </a:lstStyle>
          <a:p>
            <a:pPr lvl="0"/>
            <a:r>
              <a:rPr lang="es-ES" dirty="0"/>
              <a:t>#</a:t>
            </a:r>
            <a:endParaRPr lang="en-GB" dirty="0"/>
          </a:p>
        </p:txBody>
      </p:sp>
      <p:sp>
        <p:nvSpPr>
          <p:cNvPr id="31" name="Marcador de texto 3">
            <a:extLst>
              <a:ext uri="{FF2B5EF4-FFF2-40B4-BE49-F238E27FC236}">
                <a16:creationId xmlns:a16="http://schemas.microsoft.com/office/drawing/2014/main" id="{27876FA5-8964-41A0-A8BD-136BF40832EE}"/>
              </a:ext>
            </a:extLst>
          </p:cNvPr>
          <p:cNvSpPr>
            <a:spLocks noGrp="1"/>
          </p:cNvSpPr>
          <p:nvPr>
            <p:ph type="body" sz="quarter" idx="32" hasCustomPrompt="1"/>
          </p:nvPr>
        </p:nvSpPr>
        <p:spPr>
          <a:xfrm>
            <a:off x="2825566" y="3620467"/>
            <a:ext cx="1388349" cy="320398"/>
          </a:xfrm>
          <a:prstGeom prst="rect">
            <a:avLst/>
          </a:prstGeom>
        </p:spPr>
        <p:txBody>
          <a:bodyPr lIns="0" tIns="0" rIns="0" bIns="0"/>
          <a:lstStyle>
            <a:lvl1pPr algn="ctr">
              <a:buNone/>
              <a:defRPr sz="1400" b="1">
                <a:solidFill>
                  <a:schemeClr val="tx1"/>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s-ES" dirty="0" err="1"/>
              <a:t>Title</a:t>
            </a:r>
            <a:endParaRPr lang="en-GB" dirty="0"/>
          </a:p>
        </p:txBody>
      </p:sp>
      <p:cxnSp>
        <p:nvCxnSpPr>
          <p:cNvPr id="38" name="Straight Connector 37">
            <a:extLst>
              <a:ext uri="{FF2B5EF4-FFF2-40B4-BE49-F238E27FC236}">
                <a16:creationId xmlns:a16="http://schemas.microsoft.com/office/drawing/2014/main" id="{44905BD1-86A9-4409-AFED-838051B1A99B}"/>
              </a:ext>
            </a:extLst>
          </p:cNvPr>
          <p:cNvCxnSpPr/>
          <p:nvPr userDrawn="1"/>
        </p:nvCxnSpPr>
        <p:spPr>
          <a:xfrm>
            <a:off x="3856146" y="4362450"/>
            <a:ext cx="1854250" cy="0"/>
          </a:xfrm>
          <a:prstGeom prst="line">
            <a:avLst/>
          </a:prstGeom>
        </p:spPr>
        <p:style>
          <a:lnRef idx="1">
            <a:schemeClr val="accent1"/>
          </a:lnRef>
          <a:fillRef idx="0">
            <a:schemeClr val="accent1"/>
          </a:fillRef>
          <a:effectRef idx="0">
            <a:schemeClr val="accent1"/>
          </a:effectRef>
          <a:fontRef idx="minor">
            <a:schemeClr val="tx1"/>
          </a:fontRef>
        </p:style>
      </p:cxnSp>
      <p:sp>
        <p:nvSpPr>
          <p:cNvPr id="39" name="Text Placeholder 7">
            <a:extLst>
              <a:ext uri="{FF2B5EF4-FFF2-40B4-BE49-F238E27FC236}">
                <a16:creationId xmlns:a16="http://schemas.microsoft.com/office/drawing/2014/main" id="{10E7F1FD-52CC-4B8C-A3C1-5E978C671FDA}"/>
              </a:ext>
            </a:extLst>
          </p:cNvPr>
          <p:cNvSpPr>
            <a:spLocks noGrp="1"/>
          </p:cNvSpPr>
          <p:nvPr>
            <p:ph type="body" sz="quarter" idx="12"/>
          </p:nvPr>
        </p:nvSpPr>
        <p:spPr>
          <a:xfrm>
            <a:off x="368791" y="1396800"/>
            <a:ext cx="11451734" cy="1240037"/>
          </a:xfrm>
        </p:spPr>
        <p:txBody>
          <a:bodyPr/>
          <a:lstStyle/>
          <a:p>
            <a:pPr lvl="0"/>
            <a:r>
              <a:rPr lang="en-US" dirty="0"/>
              <a:t>Click to edit Master text styles</a:t>
            </a:r>
          </a:p>
        </p:txBody>
      </p:sp>
      <p:cxnSp>
        <p:nvCxnSpPr>
          <p:cNvPr id="44" name="Straight Connector 43">
            <a:extLst>
              <a:ext uri="{FF2B5EF4-FFF2-40B4-BE49-F238E27FC236}">
                <a16:creationId xmlns:a16="http://schemas.microsoft.com/office/drawing/2014/main" id="{5B51C280-3EB7-406B-836D-8DA5E1830FCF}"/>
              </a:ext>
            </a:extLst>
          </p:cNvPr>
          <p:cNvCxnSpPr/>
          <p:nvPr userDrawn="1"/>
        </p:nvCxnSpPr>
        <p:spPr>
          <a:xfrm>
            <a:off x="6429187" y="4348122"/>
            <a:ext cx="185425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2D83DB61-67A2-4F15-BBCF-516AEEE25B45}"/>
              </a:ext>
            </a:extLst>
          </p:cNvPr>
          <p:cNvCxnSpPr/>
          <p:nvPr userDrawn="1"/>
        </p:nvCxnSpPr>
        <p:spPr>
          <a:xfrm>
            <a:off x="8998574" y="4349750"/>
            <a:ext cx="1854250" cy="0"/>
          </a:xfrm>
          <a:prstGeom prst="line">
            <a:avLst/>
          </a:prstGeom>
        </p:spPr>
        <p:style>
          <a:lnRef idx="1">
            <a:schemeClr val="accent1"/>
          </a:lnRef>
          <a:fillRef idx="0">
            <a:schemeClr val="accent1"/>
          </a:fillRef>
          <a:effectRef idx="0">
            <a:schemeClr val="accent1"/>
          </a:effectRef>
          <a:fontRef idx="minor">
            <a:schemeClr val="tx1"/>
          </a:fontRef>
        </p:style>
      </p:cxnSp>
      <p:sp>
        <p:nvSpPr>
          <p:cNvPr id="52" name="Marcador de texto 5">
            <a:extLst>
              <a:ext uri="{FF2B5EF4-FFF2-40B4-BE49-F238E27FC236}">
                <a16:creationId xmlns:a16="http://schemas.microsoft.com/office/drawing/2014/main" id="{2008D7D2-1808-47F1-8AAE-62518B01CC34}"/>
              </a:ext>
            </a:extLst>
          </p:cNvPr>
          <p:cNvSpPr>
            <a:spLocks noGrp="1"/>
          </p:cNvSpPr>
          <p:nvPr>
            <p:ph type="body" sz="quarter" idx="33" hasCustomPrompt="1"/>
          </p:nvPr>
        </p:nvSpPr>
        <p:spPr>
          <a:xfrm>
            <a:off x="5848350" y="4210146"/>
            <a:ext cx="495300" cy="320400"/>
          </a:xfrm>
          <a:prstGeom prst="rect">
            <a:avLst/>
          </a:prstGeom>
        </p:spPr>
        <p:txBody>
          <a:bodyPr lIns="0" tIns="0" rIns="0" bIns="0"/>
          <a:lstStyle>
            <a:lvl1pPr algn="ctr">
              <a:buNone/>
              <a:defRPr sz="2000" b="1">
                <a:solidFill>
                  <a:schemeClr val="accent1"/>
                </a:solidFill>
              </a:defRPr>
            </a:lvl1pPr>
            <a:lvl2pPr>
              <a:buNone/>
              <a:defRPr/>
            </a:lvl2pPr>
            <a:lvl3pPr>
              <a:buNone/>
              <a:defRPr/>
            </a:lvl3pPr>
            <a:lvl4pPr>
              <a:buNone/>
              <a:defRPr/>
            </a:lvl4pPr>
            <a:lvl5pPr>
              <a:buNone/>
              <a:defRPr/>
            </a:lvl5pPr>
          </a:lstStyle>
          <a:p>
            <a:pPr lvl="0"/>
            <a:r>
              <a:rPr lang="es-ES" dirty="0"/>
              <a:t>#</a:t>
            </a:r>
            <a:endParaRPr lang="en-GB" dirty="0"/>
          </a:p>
        </p:txBody>
      </p:sp>
      <p:sp>
        <p:nvSpPr>
          <p:cNvPr id="53" name="Marcador de texto 3">
            <a:extLst>
              <a:ext uri="{FF2B5EF4-FFF2-40B4-BE49-F238E27FC236}">
                <a16:creationId xmlns:a16="http://schemas.microsoft.com/office/drawing/2014/main" id="{88C16204-C174-43C4-BB28-9DAC2D32575E}"/>
              </a:ext>
            </a:extLst>
          </p:cNvPr>
          <p:cNvSpPr>
            <a:spLocks noGrp="1"/>
          </p:cNvSpPr>
          <p:nvPr>
            <p:ph type="body" sz="quarter" idx="34" hasCustomPrompt="1"/>
          </p:nvPr>
        </p:nvSpPr>
        <p:spPr>
          <a:xfrm>
            <a:off x="5415407" y="3620467"/>
            <a:ext cx="1388349" cy="320398"/>
          </a:xfrm>
          <a:prstGeom prst="rect">
            <a:avLst/>
          </a:prstGeom>
        </p:spPr>
        <p:txBody>
          <a:bodyPr lIns="0" tIns="0" rIns="0" bIns="0"/>
          <a:lstStyle>
            <a:lvl1pPr algn="ctr">
              <a:buNone/>
              <a:defRPr sz="1400" b="1">
                <a:solidFill>
                  <a:schemeClr val="tx1"/>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s-ES" dirty="0" err="1"/>
              <a:t>Title</a:t>
            </a:r>
            <a:endParaRPr lang="en-GB" dirty="0"/>
          </a:p>
        </p:txBody>
      </p:sp>
      <p:sp>
        <p:nvSpPr>
          <p:cNvPr id="54" name="Marcador de texto 5">
            <a:extLst>
              <a:ext uri="{FF2B5EF4-FFF2-40B4-BE49-F238E27FC236}">
                <a16:creationId xmlns:a16="http://schemas.microsoft.com/office/drawing/2014/main" id="{40C66C69-82C9-4C90-BB4A-C8545B37E889}"/>
              </a:ext>
            </a:extLst>
          </p:cNvPr>
          <p:cNvSpPr>
            <a:spLocks noGrp="1"/>
          </p:cNvSpPr>
          <p:nvPr>
            <p:ph type="body" sz="quarter" idx="35" hasCustomPrompt="1"/>
          </p:nvPr>
        </p:nvSpPr>
        <p:spPr>
          <a:xfrm>
            <a:off x="8379774" y="4210146"/>
            <a:ext cx="495300" cy="320400"/>
          </a:xfrm>
          <a:prstGeom prst="rect">
            <a:avLst/>
          </a:prstGeom>
        </p:spPr>
        <p:txBody>
          <a:bodyPr lIns="0" tIns="0" rIns="0" bIns="0"/>
          <a:lstStyle>
            <a:lvl1pPr algn="ctr">
              <a:buNone/>
              <a:defRPr sz="2000" b="1">
                <a:solidFill>
                  <a:schemeClr val="accent1"/>
                </a:solidFill>
              </a:defRPr>
            </a:lvl1pPr>
            <a:lvl2pPr>
              <a:buNone/>
              <a:defRPr/>
            </a:lvl2pPr>
            <a:lvl3pPr>
              <a:buNone/>
              <a:defRPr/>
            </a:lvl3pPr>
            <a:lvl4pPr>
              <a:buNone/>
              <a:defRPr/>
            </a:lvl4pPr>
            <a:lvl5pPr>
              <a:buNone/>
              <a:defRPr/>
            </a:lvl5pPr>
          </a:lstStyle>
          <a:p>
            <a:pPr lvl="0"/>
            <a:r>
              <a:rPr lang="es-ES" dirty="0"/>
              <a:t>#</a:t>
            </a:r>
            <a:endParaRPr lang="en-GB" dirty="0"/>
          </a:p>
        </p:txBody>
      </p:sp>
      <p:sp>
        <p:nvSpPr>
          <p:cNvPr id="55" name="Marcador de texto 3">
            <a:extLst>
              <a:ext uri="{FF2B5EF4-FFF2-40B4-BE49-F238E27FC236}">
                <a16:creationId xmlns:a16="http://schemas.microsoft.com/office/drawing/2014/main" id="{722BE844-C92F-4763-84AF-F4C4A8F1ED4F}"/>
              </a:ext>
            </a:extLst>
          </p:cNvPr>
          <p:cNvSpPr>
            <a:spLocks noGrp="1"/>
          </p:cNvSpPr>
          <p:nvPr>
            <p:ph type="body" sz="quarter" idx="36" hasCustomPrompt="1"/>
          </p:nvPr>
        </p:nvSpPr>
        <p:spPr>
          <a:xfrm>
            <a:off x="7946831" y="3620467"/>
            <a:ext cx="1388349" cy="320398"/>
          </a:xfrm>
          <a:prstGeom prst="rect">
            <a:avLst/>
          </a:prstGeom>
        </p:spPr>
        <p:txBody>
          <a:bodyPr lIns="0" tIns="0" rIns="0" bIns="0"/>
          <a:lstStyle>
            <a:lvl1pPr algn="ctr">
              <a:buNone/>
              <a:defRPr sz="1400" b="1">
                <a:solidFill>
                  <a:schemeClr val="tx1"/>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s-ES" dirty="0" err="1"/>
              <a:t>Title</a:t>
            </a:r>
            <a:endParaRPr lang="en-GB" dirty="0"/>
          </a:p>
        </p:txBody>
      </p:sp>
      <p:sp>
        <p:nvSpPr>
          <p:cNvPr id="56" name="Marcador de texto 5">
            <a:extLst>
              <a:ext uri="{FF2B5EF4-FFF2-40B4-BE49-F238E27FC236}">
                <a16:creationId xmlns:a16="http://schemas.microsoft.com/office/drawing/2014/main" id="{FE6823A7-BFA7-4AE7-9188-680F405BFC39}"/>
              </a:ext>
            </a:extLst>
          </p:cNvPr>
          <p:cNvSpPr>
            <a:spLocks noGrp="1"/>
          </p:cNvSpPr>
          <p:nvPr>
            <p:ph type="body" sz="quarter" idx="37" hasCustomPrompt="1"/>
          </p:nvPr>
        </p:nvSpPr>
        <p:spPr>
          <a:xfrm>
            <a:off x="10948106" y="4210146"/>
            <a:ext cx="495300" cy="320400"/>
          </a:xfrm>
          <a:prstGeom prst="rect">
            <a:avLst/>
          </a:prstGeom>
        </p:spPr>
        <p:txBody>
          <a:bodyPr lIns="0" tIns="0" rIns="0" bIns="0"/>
          <a:lstStyle>
            <a:lvl1pPr algn="ctr">
              <a:buNone/>
              <a:defRPr sz="2000" b="1">
                <a:solidFill>
                  <a:schemeClr val="accent1"/>
                </a:solidFill>
              </a:defRPr>
            </a:lvl1pPr>
            <a:lvl2pPr>
              <a:buNone/>
              <a:defRPr/>
            </a:lvl2pPr>
            <a:lvl3pPr>
              <a:buNone/>
              <a:defRPr/>
            </a:lvl3pPr>
            <a:lvl4pPr>
              <a:buNone/>
              <a:defRPr/>
            </a:lvl4pPr>
            <a:lvl5pPr>
              <a:buNone/>
              <a:defRPr/>
            </a:lvl5pPr>
          </a:lstStyle>
          <a:p>
            <a:pPr lvl="0"/>
            <a:r>
              <a:rPr lang="es-ES" dirty="0"/>
              <a:t>#</a:t>
            </a:r>
            <a:endParaRPr lang="en-GB" dirty="0"/>
          </a:p>
        </p:txBody>
      </p:sp>
      <p:sp>
        <p:nvSpPr>
          <p:cNvPr id="57" name="Marcador de texto 3">
            <a:extLst>
              <a:ext uri="{FF2B5EF4-FFF2-40B4-BE49-F238E27FC236}">
                <a16:creationId xmlns:a16="http://schemas.microsoft.com/office/drawing/2014/main" id="{1FDC6618-99C6-41B3-8064-503ED5E59672}"/>
              </a:ext>
            </a:extLst>
          </p:cNvPr>
          <p:cNvSpPr>
            <a:spLocks noGrp="1"/>
          </p:cNvSpPr>
          <p:nvPr>
            <p:ph type="body" sz="quarter" idx="38" hasCustomPrompt="1"/>
          </p:nvPr>
        </p:nvSpPr>
        <p:spPr>
          <a:xfrm>
            <a:off x="10515560" y="3620467"/>
            <a:ext cx="1388349" cy="320398"/>
          </a:xfrm>
          <a:prstGeom prst="rect">
            <a:avLst/>
          </a:prstGeom>
        </p:spPr>
        <p:txBody>
          <a:bodyPr lIns="0" tIns="0" rIns="0" bIns="0"/>
          <a:lstStyle>
            <a:lvl1pPr algn="ctr">
              <a:buNone/>
              <a:defRPr sz="1400" b="1">
                <a:solidFill>
                  <a:schemeClr val="tx1"/>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s-ES" dirty="0" err="1"/>
              <a:t>Title</a:t>
            </a:r>
            <a:endParaRPr lang="en-GB" dirty="0"/>
          </a:p>
        </p:txBody>
      </p:sp>
      <p:sp>
        <p:nvSpPr>
          <p:cNvPr id="19" name="Rectangle 18">
            <a:extLst>
              <a:ext uri="{FF2B5EF4-FFF2-40B4-BE49-F238E27FC236}">
                <a16:creationId xmlns:a16="http://schemas.microsoft.com/office/drawing/2014/main" id="{8CED1EE1-6879-445F-BCAF-5985760D29E3}"/>
              </a:ext>
            </a:extLst>
          </p:cNvPr>
          <p:cNvSpPr/>
          <p:nvPr userDrawn="1"/>
        </p:nvSpPr>
        <p:spPr>
          <a:xfrm>
            <a:off x="3051745"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0" name="Rectangle 19">
            <a:extLst>
              <a:ext uri="{FF2B5EF4-FFF2-40B4-BE49-F238E27FC236}">
                <a16:creationId xmlns:a16="http://schemas.microsoft.com/office/drawing/2014/main" id="{1C93FDA3-B358-4C04-AEEF-F50613B83723}"/>
              </a:ext>
            </a:extLst>
          </p:cNvPr>
          <p:cNvSpPr/>
          <p:nvPr userDrawn="1"/>
        </p:nvSpPr>
        <p:spPr>
          <a:xfrm>
            <a:off x="7490"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1" name="Rectangle 20">
            <a:extLst>
              <a:ext uri="{FF2B5EF4-FFF2-40B4-BE49-F238E27FC236}">
                <a16:creationId xmlns:a16="http://schemas.microsoft.com/office/drawing/2014/main" id="{7B98246E-2436-48B2-A545-87A1047730C5}"/>
              </a:ext>
            </a:extLst>
          </p:cNvPr>
          <p:cNvSpPr/>
          <p:nvPr userDrawn="1"/>
        </p:nvSpPr>
        <p:spPr>
          <a:xfrm>
            <a:off x="9149414"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2" name="Rectangle 21">
            <a:extLst>
              <a:ext uri="{FF2B5EF4-FFF2-40B4-BE49-F238E27FC236}">
                <a16:creationId xmlns:a16="http://schemas.microsoft.com/office/drawing/2014/main" id="{27ACF4EB-A139-435B-8B55-1665AAE25031}"/>
              </a:ext>
            </a:extLst>
          </p:cNvPr>
          <p:cNvSpPr/>
          <p:nvPr userDrawn="1"/>
        </p:nvSpPr>
        <p:spPr>
          <a:xfrm>
            <a:off x="6105159"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Tree>
    <p:extLst>
      <p:ext uri="{BB962C8B-B14F-4D97-AF65-F5344CB8AC3E}">
        <p14:creationId xmlns:p14="http://schemas.microsoft.com/office/powerpoint/2010/main" val="63230402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Text 3/4 right with Pictur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18526C9-16E3-4A1D-828A-4692734F055E}"/>
              </a:ext>
            </a:extLst>
          </p:cNvPr>
          <p:cNvGraphicFramePr>
            <a:graphicFrameLocks noChangeAspect="1"/>
          </p:cNvGraphicFramePr>
          <p:nvPr userDrawn="1">
            <p:custDataLst>
              <p:tags r:id="rId2"/>
            </p:custDataLst>
            <p:extLst>
              <p:ext uri="{D42A27DB-BD31-4B8C-83A1-F6EECF244321}">
                <p14:modId xmlns:p14="http://schemas.microsoft.com/office/powerpoint/2010/main" val="1992469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588" name="think-cell Slide" r:id="rId5" imgW="473" imgH="474" progId="TCLayout.ActiveDocument.1">
                  <p:embed/>
                </p:oleObj>
              </mc:Choice>
              <mc:Fallback>
                <p:oleObj name="think-cell Slide" r:id="rId5" imgW="473" imgH="474" progId="TCLayout.ActiveDocument.1">
                  <p:embed/>
                  <p:pic>
                    <p:nvPicPr>
                      <p:cNvPr id="3" name="Object 2" hidden="1">
                        <a:extLst>
                          <a:ext uri="{FF2B5EF4-FFF2-40B4-BE49-F238E27FC236}">
                            <a16:creationId xmlns:a16="http://schemas.microsoft.com/office/drawing/2014/main" id="{C18526C9-16E3-4A1D-828A-4692734F055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B2B384D-A05A-4439-838E-B66DA57DCB38}"/>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0" i="0" baseline="0" dirty="0">
              <a:latin typeface="Verdana" panose="020B0604030504040204" pitchFamily="34" charset="0"/>
              <a:ea typeface="+mj-ea"/>
              <a:cs typeface="+mj-cs"/>
              <a:sym typeface="Verdana" panose="020B0604030504040204" pitchFamily="34" charset="0"/>
            </a:endParaRPr>
          </a:p>
        </p:txBody>
      </p:sp>
      <p:sp>
        <p:nvSpPr>
          <p:cNvPr id="2" name="Rectángulo 1">
            <a:extLst>
              <a:ext uri="{FF2B5EF4-FFF2-40B4-BE49-F238E27FC236}">
                <a16:creationId xmlns:a16="http://schemas.microsoft.com/office/drawing/2014/main" id="{BF29E734-210D-BC45-815B-FC427C40A195}"/>
              </a:ext>
            </a:extLst>
          </p:cNvPr>
          <p:cNvSpPr/>
          <p:nvPr userDrawn="1"/>
        </p:nvSpPr>
        <p:spPr>
          <a:xfrm>
            <a:off x="0" y="0"/>
            <a:ext cx="3718800" cy="6858000"/>
          </a:xfrm>
          <a:prstGeom prst="rect">
            <a:avLst/>
          </a:prstGeom>
          <a:gradFill>
            <a:gsLst>
              <a:gs pos="0">
                <a:schemeClr val="accent1"/>
              </a:gs>
              <a:gs pos="100000">
                <a:schemeClr val="accent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accent4"/>
              </a:solidFill>
            </a:endParaRPr>
          </a:p>
        </p:txBody>
      </p:sp>
      <p:sp>
        <p:nvSpPr>
          <p:cNvPr id="15" name="Marcador de texto 2">
            <a:extLst>
              <a:ext uri="{FF2B5EF4-FFF2-40B4-BE49-F238E27FC236}">
                <a16:creationId xmlns:a16="http://schemas.microsoft.com/office/drawing/2014/main" id="{B0631F3F-D69C-4938-9C2D-8DBA1DF60BB1}"/>
              </a:ext>
            </a:extLst>
          </p:cNvPr>
          <p:cNvSpPr>
            <a:spLocks noGrp="1"/>
          </p:cNvSpPr>
          <p:nvPr>
            <p:ph type="body" idx="10" hasCustomPrompt="1"/>
          </p:nvPr>
        </p:nvSpPr>
        <p:spPr>
          <a:xfrm>
            <a:off x="4399200" y="722639"/>
            <a:ext cx="7416000" cy="324000"/>
          </a:xfrm>
          <a:prstGeom prst="rect">
            <a:avLst/>
          </a:prstGeom>
        </p:spPr>
        <p:txBody>
          <a:bodyPr lIns="0" tIns="0" rIns="0" bIns="0" anchor="t"/>
          <a:lstStyle>
            <a:lvl1pPr marL="0" indent="0">
              <a:lnSpc>
                <a:spcPct val="100000"/>
              </a:lnSpc>
              <a:spcBef>
                <a:spcPts val="0"/>
              </a:spcBef>
              <a:buNone/>
              <a:defRPr sz="2000" b="0">
                <a:solidFill>
                  <a:srgbClr val="000000"/>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err="1"/>
              <a:t>Subtitle</a:t>
            </a:r>
            <a:endParaRPr lang="es-ES" dirty="0"/>
          </a:p>
        </p:txBody>
      </p:sp>
      <p:sp>
        <p:nvSpPr>
          <p:cNvPr id="8" name="Text Placeholder 7">
            <a:extLst>
              <a:ext uri="{FF2B5EF4-FFF2-40B4-BE49-F238E27FC236}">
                <a16:creationId xmlns:a16="http://schemas.microsoft.com/office/drawing/2014/main" id="{3A15B74D-3758-47B9-82C3-FFA884FCE23F}"/>
              </a:ext>
            </a:extLst>
          </p:cNvPr>
          <p:cNvSpPr>
            <a:spLocks noGrp="1"/>
          </p:cNvSpPr>
          <p:nvPr>
            <p:ph type="body" sz="quarter" idx="18"/>
          </p:nvPr>
        </p:nvSpPr>
        <p:spPr>
          <a:xfrm>
            <a:off x="4399200" y="1396801"/>
            <a:ext cx="7416000" cy="1240038"/>
          </a:xfrm>
        </p:spPr>
        <p:txBody>
          <a:bodyPr/>
          <a:lstStyle>
            <a:lvl2pPr marL="0" indent="0">
              <a:buNone/>
              <a:defRPr/>
            </a:lvl2pPr>
          </a:lstStyle>
          <a:p>
            <a:pPr lvl="0"/>
            <a:r>
              <a:rPr lang="en-US" dirty="0"/>
              <a:t>Click to edit Master text styles</a:t>
            </a:r>
          </a:p>
          <a:p>
            <a:pPr lvl="1"/>
            <a:endParaRPr lang="en-US" dirty="0"/>
          </a:p>
        </p:txBody>
      </p:sp>
      <p:sp>
        <p:nvSpPr>
          <p:cNvPr id="18" name="CuadroTexto 64">
            <a:extLst>
              <a:ext uri="{FF2B5EF4-FFF2-40B4-BE49-F238E27FC236}">
                <a16:creationId xmlns:a16="http://schemas.microsoft.com/office/drawing/2014/main" id="{7EEFB272-44BD-4440-81FD-B5BE8200048F}"/>
              </a:ext>
            </a:extLst>
          </p:cNvPr>
          <p:cNvSpPr txBox="1"/>
          <p:nvPr userDrawn="1"/>
        </p:nvSpPr>
        <p:spPr>
          <a:xfrm>
            <a:off x="10882303" y="6449284"/>
            <a:ext cx="936214" cy="138499"/>
          </a:xfrm>
          <a:prstGeom prst="rect">
            <a:avLst/>
          </a:prstGeom>
          <a:noFill/>
        </p:spPr>
        <p:txBody>
          <a:bodyPr wrap="square" lIns="0" tIns="0" rIns="0" bIns="0" rtlCol="0">
            <a:spAutoFit/>
          </a:bodyPr>
          <a:lstStyle/>
          <a:p>
            <a:pPr algn="r"/>
            <a:fld id="{A4EEDD72-1D6A-6B46-BCFA-C211F73E9379}" type="slidenum">
              <a:rPr lang="es-ES" sz="900" b="1" smtClean="0">
                <a:solidFill>
                  <a:srgbClr val="DA291C"/>
                </a:solidFill>
                <a:latin typeface="+mj-lt"/>
                <a:ea typeface="Verdana" panose="020B0604030504040204" pitchFamily="34" charset="0"/>
                <a:cs typeface="Verdana" panose="020B0604030504040204" pitchFamily="34" charset="0"/>
              </a:rPr>
              <a:pPr algn="r"/>
              <a:t>‹N›</a:t>
            </a:fld>
            <a:endParaRPr lang="es-ES" sz="900" b="1" dirty="0">
              <a:solidFill>
                <a:srgbClr val="DA291C"/>
              </a:solidFill>
              <a:latin typeface="+mj-lt"/>
              <a:ea typeface="Verdana" panose="020B0604030504040204" pitchFamily="34" charset="0"/>
              <a:cs typeface="Verdana" panose="020B0604030504040204" pitchFamily="34" charset="0"/>
            </a:endParaRPr>
          </a:p>
        </p:txBody>
      </p:sp>
      <p:sp>
        <p:nvSpPr>
          <p:cNvPr id="9" name="Title 8">
            <a:extLst>
              <a:ext uri="{FF2B5EF4-FFF2-40B4-BE49-F238E27FC236}">
                <a16:creationId xmlns:a16="http://schemas.microsoft.com/office/drawing/2014/main" id="{965B48A6-C16F-42F8-ABA4-E292AD3ADAB5}"/>
              </a:ext>
            </a:extLst>
          </p:cNvPr>
          <p:cNvSpPr>
            <a:spLocks noGrp="1"/>
          </p:cNvSpPr>
          <p:nvPr>
            <p:ph type="title"/>
          </p:nvPr>
        </p:nvSpPr>
        <p:spPr>
          <a:xfrm>
            <a:off x="4399200" y="252000"/>
            <a:ext cx="7416000" cy="432000"/>
          </a:xfrm>
        </p:spPr>
        <p:txBody>
          <a:bodyPr/>
          <a:lstStyle/>
          <a:p>
            <a:r>
              <a:rPr lang="en-US"/>
              <a:t>Click to edit Master title style</a:t>
            </a:r>
          </a:p>
        </p:txBody>
      </p:sp>
      <p:sp>
        <p:nvSpPr>
          <p:cNvPr id="24" name="Marcador de posición de imagen 2">
            <a:extLst>
              <a:ext uri="{FF2B5EF4-FFF2-40B4-BE49-F238E27FC236}">
                <a16:creationId xmlns:a16="http://schemas.microsoft.com/office/drawing/2014/main" id="{263E57D1-5D12-4810-ABBA-4AD821FCD289}"/>
              </a:ext>
            </a:extLst>
          </p:cNvPr>
          <p:cNvSpPr>
            <a:spLocks noGrp="1"/>
          </p:cNvSpPr>
          <p:nvPr>
            <p:ph type="pic" sz="quarter" idx="12" hasCustomPrompt="1"/>
          </p:nvPr>
        </p:nvSpPr>
        <p:spPr>
          <a:xfrm>
            <a:off x="0" y="0"/>
            <a:ext cx="3718800" cy="6858000"/>
          </a:xfrm>
          <a:prstGeom prst="rect">
            <a:avLst/>
          </a:prstGeom>
        </p:spPr>
        <p:txBody>
          <a:bodyPr anchor="ctr"/>
          <a:lstStyle>
            <a:lvl1pPr marL="228600" marR="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a:solidFill>
                  <a:srgbClr val="FFFFFF"/>
                </a:solidFill>
              </a:defRPr>
            </a:lvl1pPr>
          </a:lstStyle>
          <a:p>
            <a:pPr marL="228600" marR="0" lvl="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Drag picture to placeholder </a:t>
            </a:r>
            <a:br>
              <a:rPr lang="en-US" dirty="0"/>
            </a:br>
            <a:r>
              <a:rPr lang="en-US" dirty="0"/>
              <a:t>or click icon to add</a:t>
            </a:r>
          </a:p>
        </p:txBody>
      </p:sp>
      <p:pic>
        <p:nvPicPr>
          <p:cNvPr id="14" name="Graphic 10">
            <a:extLst>
              <a:ext uri="{FF2B5EF4-FFF2-40B4-BE49-F238E27FC236}">
                <a16:creationId xmlns:a16="http://schemas.microsoft.com/office/drawing/2014/main" id="{76EEEB64-79A9-4166-8CB0-4B981D781095}"/>
              </a:ext>
            </a:extLst>
          </p:cNvPr>
          <p:cNvPicPr>
            <a:picLocks noChangeAspect="1"/>
          </p:cNvPicPr>
          <p:nvPr userDrawn="1"/>
        </p:nvPicPr>
        <p:blipFill>
          <a:blip r:embed="rId7" cstate="email">
            <a:lum bright="100000"/>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70517" y="6420188"/>
            <a:ext cx="675863" cy="162467"/>
          </a:xfrm>
          <a:prstGeom prst="rect">
            <a:avLst/>
          </a:prstGeom>
        </p:spPr>
      </p:pic>
      <p:sp>
        <p:nvSpPr>
          <p:cNvPr id="16" name="Footer Placeholder 4">
            <a:extLst>
              <a:ext uri="{FF2B5EF4-FFF2-40B4-BE49-F238E27FC236}">
                <a16:creationId xmlns:a16="http://schemas.microsoft.com/office/drawing/2014/main" id="{E5FF7957-66DF-4AF5-A6A1-EF86C313B74B}"/>
              </a:ext>
            </a:extLst>
          </p:cNvPr>
          <p:cNvSpPr txBox="1"/>
          <p:nvPr userDrawn="1"/>
        </p:nvSpPr>
        <p:spPr>
          <a:xfrm>
            <a:off x="5361433" y="6449284"/>
            <a:ext cx="1475068" cy="133372"/>
          </a:xfrm>
          <a:prstGeom prst="rect">
            <a:avLst/>
          </a:prstGeom>
        </p:spPr>
        <p:txBody>
          <a:bodyPr vert="horz" lIns="0" tIns="0" rIns="0" bIns="0" rtlCol="0" anchor="t" anchorCtr="0">
            <a:noAutofit/>
          </a:bodyPr>
          <a:lstStyle>
            <a:defPPr>
              <a:defRPr lang="es-ES"/>
            </a:defPPr>
            <a:lvl1pPr marL="0" algn="l" defTabSz="914400" rtl="0" eaLnBrk="1" latinLnBrk="0" hangingPunct="1">
              <a:defRPr sz="9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dirty="0">
                <a:solidFill>
                  <a:schemeClr val="tx2"/>
                </a:solidFill>
                <a:ea typeface="Arial" charset="0"/>
                <a:cs typeface="Arial" charset="0"/>
              </a:rPr>
              <a:t>Adecco.com</a:t>
            </a:r>
          </a:p>
        </p:txBody>
      </p:sp>
      <p:sp>
        <p:nvSpPr>
          <p:cNvPr id="12" name="Text Placeholder 12" descr="Body text will be presented like this">
            <a:extLst>
              <a:ext uri="{FF2B5EF4-FFF2-40B4-BE49-F238E27FC236}">
                <a16:creationId xmlns:a16="http://schemas.microsoft.com/office/drawing/2014/main" id="{8EC6BA17-CB59-478E-B795-D23AFC84618D}"/>
              </a:ext>
            </a:extLst>
          </p:cNvPr>
          <p:cNvSpPr>
            <a:spLocks noGrp="1"/>
          </p:cNvSpPr>
          <p:nvPr>
            <p:ph type="body" sz="quarter" idx="14" hasCustomPrompt="1"/>
          </p:nvPr>
        </p:nvSpPr>
        <p:spPr>
          <a:xfrm>
            <a:off x="5063923" y="3558477"/>
            <a:ext cx="6754593" cy="872838"/>
          </a:xfrm>
          <a:prstGeom prst="rect">
            <a:avLst/>
          </a:prstGeom>
        </p:spPr>
        <p:txBody>
          <a:bodyPr wrap="square" lIns="0" tIns="0" rIns="0" bIns="0"/>
          <a:lstStyle>
            <a:lvl1pPr marL="0" indent="0" algn="l">
              <a:lnSpc>
                <a:spcPct val="110000"/>
              </a:lnSpc>
              <a:spcBef>
                <a:spcPts val="0"/>
              </a:spcBef>
              <a:buNone/>
              <a:defRPr sz="1400" b="0">
                <a:latin typeface="+mn-lt"/>
              </a:defRPr>
            </a:lvl1pPr>
            <a:lvl2pPr marL="0" indent="0">
              <a:lnSpc>
                <a:spcPct val="120000"/>
              </a:lnSpc>
              <a:defRPr sz="1200"/>
            </a:lvl2pPr>
            <a:lvl3pPr>
              <a:defRPr sz="1600"/>
            </a:lvl3pPr>
            <a:lvl4pPr>
              <a:defRPr sz="1600"/>
            </a:lvl4pPr>
            <a:lvl5pPr>
              <a:defRPr sz="1600"/>
            </a:lvl5pPr>
          </a:lstStyle>
          <a:p>
            <a:pPr lvl="0"/>
            <a:r>
              <a:rPr lang="en-US" dirty="0"/>
              <a:t>Click to edit Master text styles</a:t>
            </a:r>
          </a:p>
        </p:txBody>
      </p:sp>
      <p:sp>
        <p:nvSpPr>
          <p:cNvPr id="13" name="Marcador de texto 5">
            <a:extLst>
              <a:ext uri="{FF2B5EF4-FFF2-40B4-BE49-F238E27FC236}">
                <a16:creationId xmlns:a16="http://schemas.microsoft.com/office/drawing/2014/main" id="{7F7496EB-4618-4C68-A5B2-6B7F593F47A5}"/>
              </a:ext>
            </a:extLst>
          </p:cNvPr>
          <p:cNvSpPr>
            <a:spLocks noGrp="1"/>
          </p:cNvSpPr>
          <p:nvPr>
            <p:ph type="body" sz="quarter" idx="28" hasCustomPrompt="1"/>
          </p:nvPr>
        </p:nvSpPr>
        <p:spPr>
          <a:xfrm>
            <a:off x="5063923" y="3191276"/>
            <a:ext cx="6754593" cy="322607"/>
          </a:xfrm>
          <a:prstGeom prst="rect">
            <a:avLst/>
          </a:prstGeom>
        </p:spPr>
        <p:txBody>
          <a:bodyPr lIns="0" tIns="0" rIns="0" bIns="0"/>
          <a:lstStyle>
            <a:lvl1pPr marL="0" indent="0" algn="l">
              <a:lnSpc>
                <a:spcPct val="110000"/>
              </a:lnSpc>
              <a:buNone/>
              <a:defRPr sz="1600" b="1">
                <a:latin typeface="+mj-lt"/>
              </a:defRPr>
            </a:lvl1pPr>
            <a:lvl2pPr indent="0">
              <a:lnSpc>
                <a:spcPct val="110000"/>
              </a:lnSpc>
              <a:buNone/>
              <a:defRPr sz="1000" b="1">
                <a:latin typeface="+mj-lt"/>
              </a:defRPr>
            </a:lvl2pPr>
            <a:lvl3pPr indent="0">
              <a:lnSpc>
                <a:spcPct val="110000"/>
              </a:lnSpc>
              <a:buNone/>
              <a:defRPr sz="1000" b="1">
                <a:latin typeface="+mj-lt"/>
              </a:defRPr>
            </a:lvl3pPr>
            <a:lvl4pPr indent="0">
              <a:lnSpc>
                <a:spcPct val="110000"/>
              </a:lnSpc>
              <a:buNone/>
              <a:defRPr sz="1000" b="1">
                <a:latin typeface="+mj-lt"/>
              </a:defRPr>
            </a:lvl4pPr>
            <a:lvl5pPr indent="0">
              <a:lnSpc>
                <a:spcPct val="110000"/>
              </a:lnSpc>
              <a:buNone/>
              <a:defRPr sz="1000" b="1">
                <a:latin typeface="+mj-lt"/>
              </a:defRPr>
            </a:lvl5pPr>
          </a:lstStyle>
          <a:p>
            <a:pPr lvl="0"/>
            <a:r>
              <a:rPr lang="es-ES" dirty="0" err="1"/>
              <a:t>Title</a:t>
            </a:r>
            <a:endParaRPr lang="en-GB" dirty="0"/>
          </a:p>
        </p:txBody>
      </p:sp>
      <p:sp>
        <p:nvSpPr>
          <p:cNvPr id="17" name="Text Placeholder 12" descr="Body text will be presented like this">
            <a:extLst>
              <a:ext uri="{FF2B5EF4-FFF2-40B4-BE49-F238E27FC236}">
                <a16:creationId xmlns:a16="http://schemas.microsoft.com/office/drawing/2014/main" id="{AF2B001E-7118-42BA-9C03-EBCFFF37317B}"/>
              </a:ext>
            </a:extLst>
          </p:cNvPr>
          <p:cNvSpPr>
            <a:spLocks noGrp="1"/>
          </p:cNvSpPr>
          <p:nvPr>
            <p:ph type="body" sz="quarter" idx="29" hasCustomPrompt="1"/>
          </p:nvPr>
        </p:nvSpPr>
        <p:spPr>
          <a:xfrm>
            <a:off x="5063923" y="5102252"/>
            <a:ext cx="6754593" cy="872838"/>
          </a:xfrm>
          <a:prstGeom prst="rect">
            <a:avLst/>
          </a:prstGeom>
        </p:spPr>
        <p:txBody>
          <a:bodyPr wrap="square" lIns="0" tIns="0" rIns="0" bIns="0"/>
          <a:lstStyle>
            <a:lvl1pPr marL="0" indent="0" algn="l">
              <a:lnSpc>
                <a:spcPct val="110000"/>
              </a:lnSpc>
              <a:spcBef>
                <a:spcPts val="0"/>
              </a:spcBef>
              <a:buNone/>
              <a:defRPr sz="1400" b="0">
                <a:latin typeface="+mn-lt"/>
              </a:defRPr>
            </a:lvl1pPr>
            <a:lvl2pPr marL="0" indent="0">
              <a:lnSpc>
                <a:spcPct val="120000"/>
              </a:lnSpc>
              <a:defRPr sz="1200"/>
            </a:lvl2pPr>
            <a:lvl3pPr>
              <a:defRPr sz="1600"/>
            </a:lvl3pPr>
            <a:lvl4pPr>
              <a:defRPr sz="1600"/>
            </a:lvl4pPr>
            <a:lvl5pPr>
              <a:defRPr sz="1600"/>
            </a:lvl5pPr>
          </a:lstStyle>
          <a:p>
            <a:pPr lvl="0"/>
            <a:r>
              <a:rPr lang="en-US" dirty="0"/>
              <a:t>Click to edit Master text styles</a:t>
            </a:r>
          </a:p>
        </p:txBody>
      </p:sp>
      <p:sp>
        <p:nvSpPr>
          <p:cNvPr id="19" name="Marcador de texto 5">
            <a:extLst>
              <a:ext uri="{FF2B5EF4-FFF2-40B4-BE49-F238E27FC236}">
                <a16:creationId xmlns:a16="http://schemas.microsoft.com/office/drawing/2014/main" id="{0623F10C-8B2C-4175-9222-F44C753DDF3E}"/>
              </a:ext>
            </a:extLst>
          </p:cNvPr>
          <p:cNvSpPr>
            <a:spLocks noGrp="1"/>
          </p:cNvSpPr>
          <p:nvPr>
            <p:ph type="body" sz="quarter" idx="30" hasCustomPrompt="1"/>
          </p:nvPr>
        </p:nvSpPr>
        <p:spPr>
          <a:xfrm>
            <a:off x="5063923" y="4735051"/>
            <a:ext cx="6754593" cy="322607"/>
          </a:xfrm>
          <a:prstGeom prst="rect">
            <a:avLst/>
          </a:prstGeom>
        </p:spPr>
        <p:txBody>
          <a:bodyPr lIns="0" tIns="0" rIns="0" bIns="0"/>
          <a:lstStyle>
            <a:lvl1pPr marL="0" indent="0" algn="l">
              <a:lnSpc>
                <a:spcPct val="110000"/>
              </a:lnSpc>
              <a:buNone/>
              <a:defRPr sz="1600" b="1">
                <a:latin typeface="+mj-lt"/>
              </a:defRPr>
            </a:lvl1pPr>
            <a:lvl2pPr indent="0">
              <a:lnSpc>
                <a:spcPct val="110000"/>
              </a:lnSpc>
              <a:buNone/>
              <a:defRPr sz="1000" b="1">
                <a:latin typeface="+mj-lt"/>
              </a:defRPr>
            </a:lvl2pPr>
            <a:lvl3pPr indent="0">
              <a:lnSpc>
                <a:spcPct val="110000"/>
              </a:lnSpc>
              <a:buNone/>
              <a:defRPr sz="1000" b="1">
                <a:latin typeface="+mj-lt"/>
              </a:defRPr>
            </a:lvl3pPr>
            <a:lvl4pPr indent="0">
              <a:lnSpc>
                <a:spcPct val="110000"/>
              </a:lnSpc>
              <a:buNone/>
              <a:defRPr sz="1000" b="1">
                <a:latin typeface="+mj-lt"/>
              </a:defRPr>
            </a:lvl4pPr>
            <a:lvl5pPr indent="0">
              <a:lnSpc>
                <a:spcPct val="110000"/>
              </a:lnSpc>
              <a:buNone/>
              <a:defRPr sz="1000" b="1">
                <a:latin typeface="+mj-lt"/>
              </a:defRPr>
            </a:lvl5pPr>
          </a:lstStyle>
          <a:p>
            <a:pPr lvl="0"/>
            <a:r>
              <a:rPr lang="es-ES" dirty="0" err="1"/>
              <a:t>Title</a:t>
            </a:r>
            <a:endParaRPr lang="en-GB" dirty="0"/>
          </a:p>
        </p:txBody>
      </p:sp>
      <p:sp>
        <p:nvSpPr>
          <p:cNvPr id="20" name="Rectangle 19">
            <a:extLst>
              <a:ext uri="{FF2B5EF4-FFF2-40B4-BE49-F238E27FC236}">
                <a16:creationId xmlns:a16="http://schemas.microsoft.com/office/drawing/2014/main" id="{80DE4F07-2C0A-4C2E-A7CB-ABAD42A476B7}"/>
              </a:ext>
            </a:extLst>
          </p:cNvPr>
          <p:cNvSpPr/>
          <p:nvPr userDrawn="1"/>
        </p:nvSpPr>
        <p:spPr>
          <a:xfrm>
            <a:off x="3051745"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1" name="Rectangle 20">
            <a:extLst>
              <a:ext uri="{FF2B5EF4-FFF2-40B4-BE49-F238E27FC236}">
                <a16:creationId xmlns:a16="http://schemas.microsoft.com/office/drawing/2014/main" id="{B1CBCAA8-70D3-4BD2-A62F-B92059DEFA61}"/>
              </a:ext>
            </a:extLst>
          </p:cNvPr>
          <p:cNvSpPr/>
          <p:nvPr userDrawn="1"/>
        </p:nvSpPr>
        <p:spPr>
          <a:xfrm>
            <a:off x="7490"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2" name="Rectangle 21">
            <a:extLst>
              <a:ext uri="{FF2B5EF4-FFF2-40B4-BE49-F238E27FC236}">
                <a16:creationId xmlns:a16="http://schemas.microsoft.com/office/drawing/2014/main" id="{60CC4860-2A8E-4842-BFA3-9A84AE89E74E}"/>
              </a:ext>
            </a:extLst>
          </p:cNvPr>
          <p:cNvSpPr/>
          <p:nvPr userDrawn="1"/>
        </p:nvSpPr>
        <p:spPr>
          <a:xfrm>
            <a:off x="9149414"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3" name="Rectangle 22">
            <a:extLst>
              <a:ext uri="{FF2B5EF4-FFF2-40B4-BE49-F238E27FC236}">
                <a16:creationId xmlns:a16="http://schemas.microsoft.com/office/drawing/2014/main" id="{975C91F8-8AC2-4475-B6A3-A9CE0380D0E6}"/>
              </a:ext>
            </a:extLst>
          </p:cNvPr>
          <p:cNvSpPr/>
          <p:nvPr userDrawn="1"/>
        </p:nvSpPr>
        <p:spPr>
          <a:xfrm>
            <a:off x="6105159"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Tree>
    <p:extLst>
      <p:ext uri="{BB962C8B-B14F-4D97-AF65-F5344CB8AC3E}">
        <p14:creationId xmlns:p14="http://schemas.microsoft.com/office/powerpoint/2010/main" val="226186584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D3511B-C5A8-4ED9-BAA0-0D23EFDCE651}"/>
              </a:ext>
            </a:extLst>
          </p:cNvPr>
          <p:cNvGraphicFramePr>
            <a:graphicFrameLocks noChangeAspect="1"/>
          </p:cNvGraphicFramePr>
          <p:nvPr userDrawn="1">
            <p:custDataLst>
              <p:tags r:id="rId2"/>
            </p:custDataLst>
            <p:extLst>
              <p:ext uri="{D42A27DB-BD31-4B8C-83A1-F6EECF244321}">
                <p14:modId xmlns:p14="http://schemas.microsoft.com/office/powerpoint/2010/main" val="21975750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6" name="think-cell Slide" r:id="rId4" imgW="473" imgH="474" progId="TCLayout.ActiveDocument.1">
                  <p:embed/>
                </p:oleObj>
              </mc:Choice>
              <mc:Fallback>
                <p:oleObj name="think-cell Slide" r:id="rId4" imgW="473" imgH="474" progId="TCLayout.ActiveDocument.1">
                  <p:embed/>
                  <p:pic>
                    <p:nvPicPr>
                      <p:cNvPr id="2" name="Object 1" hidden="1">
                        <a:extLst>
                          <a:ext uri="{FF2B5EF4-FFF2-40B4-BE49-F238E27FC236}">
                            <a16:creationId xmlns:a16="http://schemas.microsoft.com/office/drawing/2014/main" id="{1DD3511B-C5A8-4ED9-BAA0-0D23EFDCE6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324676604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1_Text 3/4 left with Pictur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18526C9-16E3-4A1D-828A-4692734F055E}"/>
              </a:ext>
            </a:extLst>
          </p:cNvPr>
          <p:cNvGraphicFramePr>
            <a:graphicFrameLocks noChangeAspect="1"/>
          </p:cNvGraphicFramePr>
          <p:nvPr userDrawn="1">
            <p:custDataLst>
              <p:tags r:id="rId2"/>
            </p:custDataLst>
            <p:extLst>
              <p:ext uri="{D42A27DB-BD31-4B8C-83A1-F6EECF244321}">
                <p14:modId xmlns:p14="http://schemas.microsoft.com/office/powerpoint/2010/main" val="6261207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612" name="think-cell Slide" r:id="rId5" imgW="473" imgH="474" progId="TCLayout.ActiveDocument.1">
                  <p:embed/>
                </p:oleObj>
              </mc:Choice>
              <mc:Fallback>
                <p:oleObj name="think-cell Slide" r:id="rId5" imgW="473" imgH="474" progId="TCLayout.ActiveDocument.1">
                  <p:embed/>
                  <p:pic>
                    <p:nvPicPr>
                      <p:cNvPr id="3" name="Object 2" hidden="1">
                        <a:extLst>
                          <a:ext uri="{FF2B5EF4-FFF2-40B4-BE49-F238E27FC236}">
                            <a16:creationId xmlns:a16="http://schemas.microsoft.com/office/drawing/2014/main" id="{C18526C9-16E3-4A1D-828A-4692734F055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B2B384D-A05A-4439-838E-B66DA57DCB38}"/>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0" i="0" baseline="0" dirty="0">
              <a:latin typeface="Verdana" panose="020B0604030504040204" pitchFamily="34" charset="0"/>
              <a:ea typeface="+mj-ea"/>
              <a:cs typeface="+mj-cs"/>
              <a:sym typeface="Verdana" panose="020B0604030504040204" pitchFamily="34" charset="0"/>
            </a:endParaRPr>
          </a:p>
        </p:txBody>
      </p:sp>
      <p:sp>
        <p:nvSpPr>
          <p:cNvPr id="2" name="Rectángulo 1">
            <a:extLst>
              <a:ext uri="{FF2B5EF4-FFF2-40B4-BE49-F238E27FC236}">
                <a16:creationId xmlns:a16="http://schemas.microsoft.com/office/drawing/2014/main" id="{BF29E734-210D-BC45-815B-FC427C40A195}"/>
              </a:ext>
            </a:extLst>
          </p:cNvPr>
          <p:cNvSpPr/>
          <p:nvPr userDrawn="1"/>
        </p:nvSpPr>
        <p:spPr>
          <a:xfrm>
            <a:off x="8435975" y="0"/>
            <a:ext cx="3762095" cy="6858000"/>
          </a:xfrm>
          <a:prstGeom prst="rect">
            <a:avLst/>
          </a:prstGeom>
          <a:gradFill>
            <a:gsLst>
              <a:gs pos="0">
                <a:schemeClr val="accent1"/>
              </a:gs>
              <a:gs pos="100000">
                <a:schemeClr val="accent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accent4"/>
              </a:solidFill>
            </a:endParaRPr>
          </a:p>
        </p:txBody>
      </p:sp>
      <p:sp>
        <p:nvSpPr>
          <p:cNvPr id="15" name="Marcador de texto 2">
            <a:extLst>
              <a:ext uri="{FF2B5EF4-FFF2-40B4-BE49-F238E27FC236}">
                <a16:creationId xmlns:a16="http://schemas.microsoft.com/office/drawing/2014/main" id="{B0631F3F-D69C-4938-9C2D-8DBA1DF60BB1}"/>
              </a:ext>
            </a:extLst>
          </p:cNvPr>
          <p:cNvSpPr>
            <a:spLocks noGrp="1"/>
          </p:cNvSpPr>
          <p:nvPr>
            <p:ph type="body" idx="10" hasCustomPrompt="1"/>
          </p:nvPr>
        </p:nvSpPr>
        <p:spPr>
          <a:xfrm>
            <a:off x="372275" y="722639"/>
            <a:ext cx="7416000" cy="324000"/>
          </a:xfrm>
          <a:prstGeom prst="rect">
            <a:avLst/>
          </a:prstGeom>
        </p:spPr>
        <p:txBody>
          <a:bodyPr lIns="0" tIns="0" rIns="0" bIns="0" anchor="t"/>
          <a:lstStyle>
            <a:lvl1pPr marL="0" indent="0">
              <a:lnSpc>
                <a:spcPct val="100000"/>
              </a:lnSpc>
              <a:spcBef>
                <a:spcPts val="0"/>
              </a:spcBef>
              <a:buNone/>
              <a:defRPr sz="2000" b="0">
                <a:solidFill>
                  <a:srgbClr val="000000"/>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err="1"/>
              <a:t>Subtitle</a:t>
            </a:r>
            <a:endParaRPr lang="es-ES" dirty="0"/>
          </a:p>
        </p:txBody>
      </p:sp>
      <p:sp>
        <p:nvSpPr>
          <p:cNvPr id="8" name="Text Placeholder 7">
            <a:extLst>
              <a:ext uri="{FF2B5EF4-FFF2-40B4-BE49-F238E27FC236}">
                <a16:creationId xmlns:a16="http://schemas.microsoft.com/office/drawing/2014/main" id="{3A15B74D-3758-47B9-82C3-FFA884FCE23F}"/>
              </a:ext>
            </a:extLst>
          </p:cNvPr>
          <p:cNvSpPr>
            <a:spLocks noGrp="1"/>
          </p:cNvSpPr>
          <p:nvPr>
            <p:ph type="body" sz="quarter" idx="18"/>
          </p:nvPr>
        </p:nvSpPr>
        <p:spPr>
          <a:xfrm>
            <a:off x="372275" y="1396801"/>
            <a:ext cx="7416000" cy="1240038"/>
          </a:xfrm>
        </p:spPr>
        <p:txBody>
          <a:bodyPr/>
          <a:lstStyle>
            <a:lvl2pPr marL="0" indent="0">
              <a:buNone/>
              <a:defRPr/>
            </a:lvl2pPr>
          </a:lstStyle>
          <a:p>
            <a:pPr lvl="0"/>
            <a:r>
              <a:rPr lang="en-US" dirty="0"/>
              <a:t>Click to edit Master text styles</a:t>
            </a:r>
          </a:p>
          <a:p>
            <a:pPr lvl="1"/>
            <a:endParaRPr lang="en-US" dirty="0"/>
          </a:p>
        </p:txBody>
      </p:sp>
      <p:sp>
        <p:nvSpPr>
          <p:cNvPr id="9" name="Title 8">
            <a:extLst>
              <a:ext uri="{FF2B5EF4-FFF2-40B4-BE49-F238E27FC236}">
                <a16:creationId xmlns:a16="http://schemas.microsoft.com/office/drawing/2014/main" id="{965B48A6-C16F-42F8-ABA4-E292AD3ADAB5}"/>
              </a:ext>
            </a:extLst>
          </p:cNvPr>
          <p:cNvSpPr>
            <a:spLocks noGrp="1"/>
          </p:cNvSpPr>
          <p:nvPr>
            <p:ph type="title"/>
          </p:nvPr>
        </p:nvSpPr>
        <p:spPr>
          <a:xfrm>
            <a:off x="372275" y="252000"/>
            <a:ext cx="7416000" cy="432000"/>
          </a:xfrm>
        </p:spPr>
        <p:txBody>
          <a:bodyPr/>
          <a:lstStyle/>
          <a:p>
            <a:r>
              <a:rPr lang="en-US"/>
              <a:t>Click to edit Master title style</a:t>
            </a:r>
          </a:p>
        </p:txBody>
      </p:sp>
      <p:sp>
        <p:nvSpPr>
          <p:cNvPr id="24" name="Marcador de posición de imagen 2">
            <a:extLst>
              <a:ext uri="{FF2B5EF4-FFF2-40B4-BE49-F238E27FC236}">
                <a16:creationId xmlns:a16="http://schemas.microsoft.com/office/drawing/2014/main" id="{263E57D1-5D12-4810-ABBA-4AD821FCD289}"/>
              </a:ext>
            </a:extLst>
          </p:cNvPr>
          <p:cNvSpPr>
            <a:spLocks noGrp="1"/>
          </p:cNvSpPr>
          <p:nvPr>
            <p:ph type="pic" sz="quarter" idx="12" hasCustomPrompt="1"/>
          </p:nvPr>
        </p:nvSpPr>
        <p:spPr>
          <a:xfrm>
            <a:off x="8435975" y="0"/>
            <a:ext cx="3756025" cy="6858000"/>
          </a:xfrm>
          <a:prstGeom prst="rect">
            <a:avLst/>
          </a:prstGeom>
        </p:spPr>
        <p:txBody>
          <a:bodyPr anchor="ctr"/>
          <a:lstStyle>
            <a:lvl1pPr marL="228600" marR="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a:solidFill>
                  <a:srgbClr val="FFFFFF"/>
                </a:solidFill>
              </a:defRPr>
            </a:lvl1pPr>
          </a:lstStyle>
          <a:p>
            <a:pPr marL="228600" marR="0" lvl="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Drag picture to placeholder </a:t>
            </a:r>
            <a:br>
              <a:rPr lang="en-US" dirty="0"/>
            </a:br>
            <a:r>
              <a:rPr lang="en-US" dirty="0"/>
              <a:t>or click icon to add</a:t>
            </a:r>
          </a:p>
        </p:txBody>
      </p:sp>
      <p:pic>
        <p:nvPicPr>
          <p:cNvPr id="14" name="Graphic 10">
            <a:extLst>
              <a:ext uri="{FF2B5EF4-FFF2-40B4-BE49-F238E27FC236}">
                <a16:creationId xmlns:a16="http://schemas.microsoft.com/office/drawing/2014/main" id="{76EEEB64-79A9-4166-8CB0-4B981D781095}"/>
              </a:ext>
            </a:extLst>
          </p:cNvPr>
          <p:cNvPicPr>
            <a:picLocks noChangeAspect="1"/>
          </p:cNvPicPr>
          <p:nvPr userDrawn="1"/>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70517" y="6420188"/>
            <a:ext cx="675863" cy="162467"/>
          </a:xfrm>
          <a:prstGeom prst="rect">
            <a:avLst/>
          </a:prstGeom>
        </p:spPr>
      </p:pic>
      <p:sp>
        <p:nvSpPr>
          <p:cNvPr id="16" name="Footer Placeholder 4">
            <a:extLst>
              <a:ext uri="{FF2B5EF4-FFF2-40B4-BE49-F238E27FC236}">
                <a16:creationId xmlns:a16="http://schemas.microsoft.com/office/drawing/2014/main" id="{E5FF7957-66DF-4AF5-A6A1-EF86C313B74B}"/>
              </a:ext>
            </a:extLst>
          </p:cNvPr>
          <p:cNvSpPr txBox="1"/>
          <p:nvPr userDrawn="1"/>
        </p:nvSpPr>
        <p:spPr>
          <a:xfrm>
            <a:off x="5361433" y="6449284"/>
            <a:ext cx="1475068" cy="133372"/>
          </a:xfrm>
          <a:prstGeom prst="rect">
            <a:avLst/>
          </a:prstGeom>
        </p:spPr>
        <p:txBody>
          <a:bodyPr vert="horz" lIns="0" tIns="0" rIns="0" bIns="0" rtlCol="0" anchor="t" anchorCtr="0">
            <a:noAutofit/>
          </a:bodyPr>
          <a:lstStyle>
            <a:defPPr>
              <a:defRPr lang="es-ES"/>
            </a:defPPr>
            <a:lvl1pPr marL="0" algn="l" defTabSz="914400" rtl="0" eaLnBrk="1" latinLnBrk="0" hangingPunct="1">
              <a:defRPr sz="9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dirty="0">
                <a:solidFill>
                  <a:schemeClr val="tx2"/>
                </a:solidFill>
                <a:ea typeface="Arial" charset="0"/>
                <a:cs typeface="Arial" charset="0"/>
              </a:rPr>
              <a:t>Adecco.com</a:t>
            </a:r>
          </a:p>
        </p:txBody>
      </p:sp>
      <p:sp>
        <p:nvSpPr>
          <p:cNvPr id="12" name="Text Placeholder 12" descr="Body text will be presented like this">
            <a:extLst>
              <a:ext uri="{FF2B5EF4-FFF2-40B4-BE49-F238E27FC236}">
                <a16:creationId xmlns:a16="http://schemas.microsoft.com/office/drawing/2014/main" id="{8EC6BA17-CB59-478E-B795-D23AFC84618D}"/>
              </a:ext>
            </a:extLst>
          </p:cNvPr>
          <p:cNvSpPr>
            <a:spLocks noGrp="1"/>
          </p:cNvSpPr>
          <p:nvPr>
            <p:ph type="body" sz="quarter" idx="14" hasCustomPrompt="1"/>
          </p:nvPr>
        </p:nvSpPr>
        <p:spPr>
          <a:xfrm>
            <a:off x="947738" y="3558477"/>
            <a:ext cx="6843853" cy="872838"/>
          </a:xfrm>
          <a:prstGeom prst="rect">
            <a:avLst/>
          </a:prstGeom>
        </p:spPr>
        <p:txBody>
          <a:bodyPr wrap="square" lIns="0" tIns="0" rIns="0" bIns="0"/>
          <a:lstStyle>
            <a:lvl1pPr marL="0" indent="0" algn="l">
              <a:lnSpc>
                <a:spcPct val="110000"/>
              </a:lnSpc>
              <a:spcBef>
                <a:spcPts val="0"/>
              </a:spcBef>
              <a:buNone/>
              <a:defRPr sz="1400" b="0">
                <a:latin typeface="+mn-lt"/>
              </a:defRPr>
            </a:lvl1pPr>
            <a:lvl2pPr marL="0" indent="0">
              <a:lnSpc>
                <a:spcPct val="120000"/>
              </a:lnSpc>
              <a:defRPr sz="1200"/>
            </a:lvl2pPr>
            <a:lvl3pPr>
              <a:defRPr sz="1600"/>
            </a:lvl3pPr>
            <a:lvl4pPr>
              <a:defRPr sz="1600"/>
            </a:lvl4pPr>
            <a:lvl5pPr>
              <a:defRPr sz="1600"/>
            </a:lvl5pPr>
          </a:lstStyle>
          <a:p>
            <a:pPr lvl="0"/>
            <a:r>
              <a:rPr lang="en-US" dirty="0"/>
              <a:t>Click to edit Master text styles</a:t>
            </a:r>
          </a:p>
        </p:txBody>
      </p:sp>
      <p:sp>
        <p:nvSpPr>
          <p:cNvPr id="13" name="Marcador de texto 5">
            <a:extLst>
              <a:ext uri="{FF2B5EF4-FFF2-40B4-BE49-F238E27FC236}">
                <a16:creationId xmlns:a16="http://schemas.microsoft.com/office/drawing/2014/main" id="{7F7496EB-4618-4C68-A5B2-6B7F593F47A5}"/>
              </a:ext>
            </a:extLst>
          </p:cNvPr>
          <p:cNvSpPr>
            <a:spLocks noGrp="1"/>
          </p:cNvSpPr>
          <p:nvPr>
            <p:ph type="body" sz="quarter" idx="28" hasCustomPrompt="1"/>
          </p:nvPr>
        </p:nvSpPr>
        <p:spPr>
          <a:xfrm>
            <a:off x="947738" y="3191276"/>
            <a:ext cx="6843853" cy="322607"/>
          </a:xfrm>
          <a:prstGeom prst="rect">
            <a:avLst/>
          </a:prstGeom>
        </p:spPr>
        <p:txBody>
          <a:bodyPr lIns="0" tIns="0" rIns="0" bIns="0"/>
          <a:lstStyle>
            <a:lvl1pPr marL="0" indent="0" algn="l">
              <a:lnSpc>
                <a:spcPct val="110000"/>
              </a:lnSpc>
              <a:buNone/>
              <a:defRPr sz="1600" b="1">
                <a:latin typeface="+mj-lt"/>
              </a:defRPr>
            </a:lvl1pPr>
            <a:lvl2pPr indent="0">
              <a:lnSpc>
                <a:spcPct val="110000"/>
              </a:lnSpc>
              <a:buNone/>
              <a:defRPr sz="1000" b="1">
                <a:latin typeface="+mj-lt"/>
              </a:defRPr>
            </a:lvl2pPr>
            <a:lvl3pPr indent="0">
              <a:lnSpc>
                <a:spcPct val="110000"/>
              </a:lnSpc>
              <a:buNone/>
              <a:defRPr sz="1000" b="1">
                <a:latin typeface="+mj-lt"/>
              </a:defRPr>
            </a:lvl3pPr>
            <a:lvl4pPr indent="0">
              <a:lnSpc>
                <a:spcPct val="110000"/>
              </a:lnSpc>
              <a:buNone/>
              <a:defRPr sz="1000" b="1">
                <a:latin typeface="+mj-lt"/>
              </a:defRPr>
            </a:lvl4pPr>
            <a:lvl5pPr indent="0">
              <a:lnSpc>
                <a:spcPct val="110000"/>
              </a:lnSpc>
              <a:buNone/>
              <a:defRPr sz="1000" b="1">
                <a:latin typeface="+mj-lt"/>
              </a:defRPr>
            </a:lvl5pPr>
          </a:lstStyle>
          <a:p>
            <a:pPr lvl="0"/>
            <a:r>
              <a:rPr lang="es-ES" dirty="0" err="1"/>
              <a:t>Title</a:t>
            </a:r>
            <a:endParaRPr lang="en-GB" dirty="0"/>
          </a:p>
        </p:txBody>
      </p:sp>
      <p:sp>
        <p:nvSpPr>
          <p:cNvPr id="17" name="Text Placeholder 12" descr="Body text will be presented like this">
            <a:extLst>
              <a:ext uri="{FF2B5EF4-FFF2-40B4-BE49-F238E27FC236}">
                <a16:creationId xmlns:a16="http://schemas.microsoft.com/office/drawing/2014/main" id="{AF2B001E-7118-42BA-9C03-EBCFFF37317B}"/>
              </a:ext>
            </a:extLst>
          </p:cNvPr>
          <p:cNvSpPr>
            <a:spLocks noGrp="1"/>
          </p:cNvSpPr>
          <p:nvPr>
            <p:ph type="body" sz="quarter" idx="29" hasCustomPrompt="1"/>
          </p:nvPr>
        </p:nvSpPr>
        <p:spPr>
          <a:xfrm>
            <a:off x="947738" y="5102252"/>
            <a:ext cx="6843853" cy="872838"/>
          </a:xfrm>
          <a:prstGeom prst="rect">
            <a:avLst/>
          </a:prstGeom>
        </p:spPr>
        <p:txBody>
          <a:bodyPr wrap="square" lIns="0" tIns="0" rIns="0" bIns="0"/>
          <a:lstStyle>
            <a:lvl1pPr marL="0" indent="0" algn="l">
              <a:lnSpc>
                <a:spcPct val="110000"/>
              </a:lnSpc>
              <a:spcBef>
                <a:spcPts val="0"/>
              </a:spcBef>
              <a:buNone/>
              <a:defRPr sz="1400" b="0">
                <a:latin typeface="+mn-lt"/>
              </a:defRPr>
            </a:lvl1pPr>
            <a:lvl2pPr marL="0" indent="0">
              <a:lnSpc>
                <a:spcPct val="120000"/>
              </a:lnSpc>
              <a:defRPr sz="1200"/>
            </a:lvl2pPr>
            <a:lvl3pPr>
              <a:defRPr sz="1600"/>
            </a:lvl3pPr>
            <a:lvl4pPr>
              <a:defRPr sz="1600"/>
            </a:lvl4pPr>
            <a:lvl5pPr>
              <a:defRPr sz="1600"/>
            </a:lvl5pPr>
          </a:lstStyle>
          <a:p>
            <a:pPr lvl="0"/>
            <a:r>
              <a:rPr lang="en-US" dirty="0"/>
              <a:t>Click to edit Master text styles</a:t>
            </a:r>
          </a:p>
        </p:txBody>
      </p:sp>
      <p:sp>
        <p:nvSpPr>
          <p:cNvPr id="19" name="Marcador de texto 5">
            <a:extLst>
              <a:ext uri="{FF2B5EF4-FFF2-40B4-BE49-F238E27FC236}">
                <a16:creationId xmlns:a16="http://schemas.microsoft.com/office/drawing/2014/main" id="{0623F10C-8B2C-4175-9222-F44C753DDF3E}"/>
              </a:ext>
            </a:extLst>
          </p:cNvPr>
          <p:cNvSpPr>
            <a:spLocks noGrp="1"/>
          </p:cNvSpPr>
          <p:nvPr>
            <p:ph type="body" sz="quarter" idx="30" hasCustomPrompt="1"/>
          </p:nvPr>
        </p:nvSpPr>
        <p:spPr>
          <a:xfrm>
            <a:off x="947738" y="4735051"/>
            <a:ext cx="6843853" cy="322607"/>
          </a:xfrm>
          <a:prstGeom prst="rect">
            <a:avLst/>
          </a:prstGeom>
        </p:spPr>
        <p:txBody>
          <a:bodyPr lIns="0" tIns="0" rIns="0" bIns="0"/>
          <a:lstStyle>
            <a:lvl1pPr marL="0" indent="0" algn="l">
              <a:lnSpc>
                <a:spcPct val="110000"/>
              </a:lnSpc>
              <a:buNone/>
              <a:defRPr sz="1600" b="1">
                <a:latin typeface="+mj-lt"/>
              </a:defRPr>
            </a:lvl1pPr>
            <a:lvl2pPr indent="0">
              <a:lnSpc>
                <a:spcPct val="110000"/>
              </a:lnSpc>
              <a:buNone/>
              <a:defRPr sz="1000" b="1">
                <a:latin typeface="+mj-lt"/>
              </a:defRPr>
            </a:lvl2pPr>
            <a:lvl3pPr indent="0">
              <a:lnSpc>
                <a:spcPct val="110000"/>
              </a:lnSpc>
              <a:buNone/>
              <a:defRPr sz="1000" b="1">
                <a:latin typeface="+mj-lt"/>
              </a:defRPr>
            </a:lvl3pPr>
            <a:lvl4pPr indent="0">
              <a:lnSpc>
                <a:spcPct val="110000"/>
              </a:lnSpc>
              <a:buNone/>
              <a:defRPr sz="1000" b="1">
                <a:latin typeface="+mj-lt"/>
              </a:defRPr>
            </a:lvl4pPr>
            <a:lvl5pPr indent="0">
              <a:lnSpc>
                <a:spcPct val="110000"/>
              </a:lnSpc>
              <a:buNone/>
              <a:defRPr sz="1000" b="1">
                <a:latin typeface="+mj-lt"/>
              </a:defRPr>
            </a:lvl5pPr>
          </a:lstStyle>
          <a:p>
            <a:pPr lvl="0"/>
            <a:r>
              <a:rPr lang="es-ES" dirty="0" err="1"/>
              <a:t>Title</a:t>
            </a:r>
            <a:endParaRPr lang="en-GB" dirty="0"/>
          </a:p>
        </p:txBody>
      </p:sp>
      <p:sp>
        <p:nvSpPr>
          <p:cNvPr id="20" name="Rectangle 19">
            <a:extLst>
              <a:ext uri="{FF2B5EF4-FFF2-40B4-BE49-F238E27FC236}">
                <a16:creationId xmlns:a16="http://schemas.microsoft.com/office/drawing/2014/main" id="{B3B2C7D2-4A9F-4E6A-98E8-130508F98C67}"/>
              </a:ext>
            </a:extLst>
          </p:cNvPr>
          <p:cNvSpPr/>
          <p:nvPr userDrawn="1"/>
        </p:nvSpPr>
        <p:spPr>
          <a:xfrm>
            <a:off x="3051745"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1" name="Rectangle 20">
            <a:extLst>
              <a:ext uri="{FF2B5EF4-FFF2-40B4-BE49-F238E27FC236}">
                <a16:creationId xmlns:a16="http://schemas.microsoft.com/office/drawing/2014/main" id="{BF3854B3-C158-4995-918E-5135B93C0E51}"/>
              </a:ext>
            </a:extLst>
          </p:cNvPr>
          <p:cNvSpPr/>
          <p:nvPr userDrawn="1"/>
        </p:nvSpPr>
        <p:spPr>
          <a:xfrm>
            <a:off x="7490"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2" name="Rectangle 21">
            <a:extLst>
              <a:ext uri="{FF2B5EF4-FFF2-40B4-BE49-F238E27FC236}">
                <a16:creationId xmlns:a16="http://schemas.microsoft.com/office/drawing/2014/main" id="{96BA0126-C88A-45D3-9F4F-964965D79998}"/>
              </a:ext>
            </a:extLst>
          </p:cNvPr>
          <p:cNvSpPr/>
          <p:nvPr userDrawn="1"/>
        </p:nvSpPr>
        <p:spPr>
          <a:xfrm>
            <a:off x="9149414"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3" name="Rectangle 22">
            <a:extLst>
              <a:ext uri="{FF2B5EF4-FFF2-40B4-BE49-F238E27FC236}">
                <a16:creationId xmlns:a16="http://schemas.microsoft.com/office/drawing/2014/main" id="{80C4DC54-A200-48AF-AF91-E6B924A6F2E3}"/>
              </a:ext>
            </a:extLst>
          </p:cNvPr>
          <p:cNvSpPr/>
          <p:nvPr userDrawn="1"/>
        </p:nvSpPr>
        <p:spPr>
          <a:xfrm>
            <a:off x="6105159"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5" name="CuadroTexto 64">
            <a:extLst>
              <a:ext uri="{FF2B5EF4-FFF2-40B4-BE49-F238E27FC236}">
                <a16:creationId xmlns:a16="http://schemas.microsoft.com/office/drawing/2014/main" id="{A8613F63-CE80-4278-BF0B-6CEA8DFFE4AA}"/>
              </a:ext>
            </a:extLst>
          </p:cNvPr>
          <p:cNvSpPr txBox="1"/>
          <p:nvPr userDrawn="1"/>
        </p:nvSpPr>
        <p:spPr>
          <a:xfrm>
            <a:off x="10882303" y="6449284"/>
            <a:ext cx="936214" cy="138499"/>
          </a:xfrm>
          <a:prstGeom prst="rect">
            <a:avLst/>
          </a:prstGeom>
          <a:noFill/>
        </p:spPr>
        <p:txBody>
          <a:bodyPr wrap="square" lIns="0" tIns="0" rIns="0" bIns="0" rtlCol="0">
            <a:spAutoFit/>
          </a:bodyPr>
          <a:lstStyle/>
          <a:p>
            <a:pPr algn="r"/>
            <a:fld id="{A4EEDD72-1D6A-6B46-BCFA-C211F73E9379}" type="slidenum">
              <a:rPr lang="es-ES" sz="900" b="1" smtClean="0">
                <a:solidFill>
                  <a:srgbClr val="FFFFFF"/>
                </a:solidFill>
                <a:latin typeface="+mj-lt"/>
                <a:ea typeface="Verdana" panose="020B0604030504040204" pitchFamily="34" charset="0"/>
                <a:cs typeface="Verdana" panose="020B0604030504040204" pitchFamily="34" charset="0"/>
              </a:rPr>
              <a:pPr algn="r"/>
              <a:t>‹N›</a:t>
            </a:fld>
            <a:endParaRPr lang="es-ES" sz="900" b="1" dirty="0">
              <a:solidFill>
                <a:srgbClr val="FFFFFF"/>
              </a:solidFill>
              <a:latin typeface="+mj-lt"/>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41698774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2_Text 1/3 right with Picture">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BF29E734-210D-BC45-815B-FC427C40A195}"/>
              </a:ext>
            </a:extLst>
          </p:cNvPr>
          <p:cNvSpPr/>
          <p:nvPr userDrawn="1"/>
        </p:nvSpPr>
        <p:spPr>
          <a:xfrm>
            <a:off x="-1" y="0"/>
            <a:ext cx="4403725" cy="6858000"/>
          </a:xfrm>
          <a:prstGeom prst="rect">
            <a:avLst/>
          </a:prstGeom>
          <a:gradFill>
            <a:gsLst>
              <a:gs pos="0">
                <a:schemeClr val="accent1"/>
              </a:gs>
              <a:gs pos="100000">
                <a:schemeClr val="accent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accent4"/>
              </a:solidFill>
            </a:endParaRPr>
          </a:p>
        </p:txBody>
      </p:sp>
      <p:sp>
        <p:nvSpPr>
          <p:cNvPr id="24" name="Marcador de posición de imagen 2">
            <a:extLst>
              <a:ext uri="{FF2B5EF4-FFF2-40B4-BE49-F238E27FC236}">
                <a16:creationId xmlns:a16="http://schemas.microsoft.com/office/drawing/2014/main" id="{263E57D1-5D12-4810-ABBA-4AD821FCD289}"/>
              </a:ext>
            </a:extLst>
          </p:cNvPr>
          <p:cNvSpPr>
            <a:spLocks noGrp="1"/>
          </p:cNvSpPr>
          <p:nvPr>
            <p:ph type="pic" sz="quarter" idx="12" hasCustomPrompt="1"/>
          </p:nvPr>
        </p:nvSpPr>
        <p:spPr>
          <a:xfrm>
            <a:off x="0" y="0"/>
            <a:ext cx="4403725" cy="6858000"/>
          </a:xfrm>
          <a:prstGeom prst="rect">
            <a:avLst/>
          </a:prstGeom>
        </p:spPr>
        <p:txBody>
          <a:bodyPr anchor="ctr"/>
          <a:lstStyle>
            <a:lvl1pPr marL="228600" marR="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a:solidFill>
                  <a:srgbClr val="FFFFFF"/>
                </a:solidFill>
              </a:defRPr>
            </a:lvl1pPr>
          </a:lstStyle>
          <a:p>
            <a:pPr marL="228600" marR="0" lvl="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Drag picture to placeholder </a:t>
            </a:r>
            <a:br>
              <a:rPr lang="en-US" dirty="0"/>
            </a:br>
            <a:r>
              <a:rPr lang="en-US" dirty="0"/>
              <a:t>or click icon to add</a:t>
            </a:r>
          </a:p>
        </p:txBody>
      </p:sp>
      <p:graphicFrame>
        <p:nvGraphicFramePr>
          <p:cNvPr id="3" name="Object 2" hidden="1">
            <a:extLst>
              <a:ext uri="{FF2B5EF4-FFF2-40B4-BE49-F238E27FC236}">
                <a16:creationId xmlns:a16="http://schemas.microsoft.com/office/drawing/2014/main" id="{C18526C9-16E3-4A1D-828A-4692734F055E}"/>
              </a:ext>
            </a:extLst>
          </p:cNvPr>
          <p:cNvGraphicFramePr>
            <a:graphicFrameLocks noChangeAspect="1"/>
          </p:cNvGraphicFramePr>
          <p:nvPr userDrawn="1">
            <p:custDataLst>
              <p:tags r:id="rId2"/>
            </p:custDataLst>
            <p:extLst>
              <p:ext uri="{D42A27DB-BD31-4B8C-83A1-F6EECF244321}">
                <p14:modId xmlns:p14="http://schemas.microsoft.com/office/powerpoint/2010/main" val="16849096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636" name="think-cell Slide" r:id="rId5" imgW="473" imgH="474" progId="TCLayout.ActiveDocument.1">
                  <p:embed/>
                </p:oleObj>
              </mc:Choice>
              <mc:Fallback>
                <p:oleObj name="think-cell Slide" r:id="rId5" imgW="473" imgH="474" progId="TCLayout.ActiveDocument.1">
                  <p:embed/>
                  <p:pic>
                    <p:nvPicPr>
                      <p:cNvPr id="3" name="Object 2" hidden="1">
                        <a:extLst>
                          <a:ext uri="{FF2B5EF4-FFF2-40B4-BE49-F238E27FC236}">
                            <a16:creationId xmlns:a16="http://schemas.microsoft.com/office/drawing/2014/main" id="{C18526C9-16E3-4A1D-828A-4692734F055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B2B384D-A05A-4439-838E-B66DA57DCB38}"/>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0" i="0" baseline="0" dirty="0">
              <a:latin typeface="Verdana" panose="020B0604030504040204" pitchFamily="34" charset="0"/>
              <a:ea typeface="+mj-ea"/>
              <a:cs typeface="+mj-cs"/>
              <a:sym typeface="Verdana" panose="020B0604030504040204" pitchFamily="34" charset="0"/>
            </a:endParaRPr>
          </a:p>
        </p:txBody>
      </p:sp>
      <p:sp>
        <p:nvSpPr>
          <p:cNvPr id="15" name="Marcador de texto 2">
            <a:extLst>
              <a:ext uri="{FF2B5EF4-FFF2-40B4-BE49-F238E27FC236}">
                <a16:creationId xmlns:a16="http://schemas.microsoft.com/office/drawing/2014/main" id="{B0631F3F-D69C-4938-9C2D-8DBA1DF60BB1}"/>
              </a:ext>
            </a:extLst>
          </p:cNvPr>
          <p:cNvSpPr>
            <a:spLocks noGrp="1"/>
          </p:cNvSpPr>
          <p:nvPr>
            <p:ph type="body" idx="10" hasCustomPrompt="1"/>
          </p:nvPr>
        </p:nvSpPr>
        <p:spPr>
          <a:xfrm>
            <a:off x="4771100" y="722639"/>
            <a:ext cx="7044099" cy="324000"/>
          </a:xfrm>
          <a:prstGeom prst="rect">
            <a:avLst/>
          </a:prstGeom>
        </p:spPr>
        <p:txBody>
          <a:bodyPr lIns="0" tIns="0" rIns="0" bIns="0" anchor="t"/>
          <a:lstStyle>
            <a:lvl1pPr marL="0" indent="0">
              <a:lnSpc>
                <a:spcPct val="100000"/>
              </a:lnSpc>
              <a:spcBef>
                <a:spcPts val="0"/>
              </a:spcBef>
              <a:buNone/>
              <a:defRPr sz="2000" b="0">
                <a:solidFill>
                  <a:srgbClr val="000000"/>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err="1"/>
              <a:t>Subtitle</a:t>
            </a:r>
            <a:endParaRPr lang="es-ES" dirty="0"/>
          </a:p>
        </p:txBody>
      </p:sp>
      <p:sp>
        <p:nvSpPr>
          <p:cNvPr id="18" name="CuadroTexto 64">
            <a:extLst>
              <a:ext uri="{FF2B5EF4-FFF2-40B4-BE49-F238E27FC236}">
                <a16:creationId xmlns:a16="http://schemas.microsoft.com/office/drawing/2014/main" id="{7EEFB272-44BD-4440-81FD-B5BE8200048F}"/>
              </a:ext>
            </a:extLst>
          </p:cNvPr>
          <p:cNvSpPr txBox="1"/>
          <p:nvPr userDrawn="1"/>
        </p:nvSpPr>
        <p:spPr>
          <a:xfrm>
            <a:off x="10882303" y="6449284"/>
            <a:ext cx="936214" cy="138499"/>
          </a:xfrm>
          <a:prstGeom prst="rect">
            <a:avLst/>
          </a:prstGeom>
          <a:noFill/>
        </p:spPr>
        <p:txBody>
          <a:bodyPr wrap="square" lIns="0" tIns="0" rIns="0" bIns="0" rtlCol="0">
            <a:spAutoFit/>
          </a:bodyPr>
          <a:lstStyle/>
          <a:p>
            <a:pPr algn="r"/>
            <a:fld id="{A4EEDD72-1D6A-6B46-BCFA-C211F73E9379}" type="slidenum">
              <a:rPr lang="es-ES" sz="900" b="1" smtClean="0">
                <a:solidFill>
                  <a:srgbClr val="DA291C"/>
                </a:solidFill>
                <a:latin typeface="Verdana" panose="020B0604030504040204" pitchFamily="34" charset="0"/>
                <a:ea typeface="Verdana" panose="020B0604030504040204" pitchFamily="34" charset="0"/>
                <a:cs typeface="Verdana" panose="020B0604030504040204" pitchFamily="34" charset="0"/>
              </a:rPr>
              <a:pPr algn="r"/>
              <a:t>‹N›</a:t>
            </a:fld>
            <a:endParaRPr lang="es-ES" sz="900" b="1" dirty="0">
              <a:solidFill>
                <a:srgbClr val="DA291C"/>
              </a:solidFill>
              <a:latin typeface="Verdana" panose="020B0604030504040204" pitchFamily="34" charset="0"/>
              <a:ea typeface="Verdana" panose="020B0604030504040204" pitchFamily="34" charset="0"/>
              <a:cs typeface="Verdana" panose="020B0604030504040204" pitchFamily="34" charset="0"/>
            </a:endParaRPr>
          </a:p>
        </p:txBody>
      </p:sp>
      <p:sp>
        <p:nvSpPr>
          <p:cNvPr id="9" name="Title 8">
            <a:extLst>
              <a:ext uri="{FF2B5EF4-FFF2-40B4-BE49-F238E27FC236}">
                <a16:creationId xmlns:a16="http://schemas.microsoft.com/office/drawing/2014/main" id="{965B48A6-C16F-42F8-ABA4-E292AD3ADAB5}"/>
              </a:ext>
            </a:extLst>
          </p:cNvPr>
          <p:cNvSpPr>
            <a:spLocks noGrp="1"/>
          </p:cNvSpPr>
          <p:nvPr>
            <p:ph type="title"/>
          </p:nvPr>
        </p:nvSpPr>
        <p:spPr>
          <a:xfrm>
            <a:off x="4771100" y="252000"/>
            <a:ext cx="7044099" cy="432000"/>
          </a:xfrm>
        </p:spPr>
        <p:txBody>
          <a:bodyPr/>
          <a:lstStyle/>
          <a:p>
            <a:r>
              <a:rPr lang="en-US"/>
              <a:t>Click to edit Master title style</a:t>
            </a:r>
          </a:p>
        </p:txBody>
      </p:sp>
      <p:pic>
        <p:nvPicPr>
          <p:cNvPr id="14" name="Graphic 10">
            <a:extLst>
              <a:ext uri="{FF2B5EF4-FFF2-40B4-BE49-F238E27FC236}">
                <a16:creationId xmlns:a16="http://schemas.microsoft.com/office/drawing/2014/main" id="{76EEEB64-79A9-4166-8CB0-4B981D781095}"/>
              </a:ext>
            </a:extLst>
          </p:cNvPr>
          <p:cNvPicPr>
            <a:picLocks noChangeAspect="1"/>
          </p:cNvPicPr>
          <p:nvPr userDrawn="1"/>
        </p:nvPicPr>
        <p:blipFill>
          <a:blip r:embed="rId7" cstate="email">
            <a:lum bright="100000"/>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70517" y="6420188"/>
            <a:ext cx="675863" cy="162467"/>
          </a:xfrm>
          <a:prstGeom prst="rect">
            <a:avLst/>
          </a:prstGeom>
        </p:spPr>
      </p:pic>
      <p:sp>
        <p:nvSpPr>
          <p:cNvPr id="13" name="Text Placeholder 7">
            <a:extLst>
              <a:ext uri="{FF2B5EF4-FFF2-40B4-BE49-F238E27FC236}">
                <a16:creationId xmlns:a16="http://schemas.microsoft.com/office/drawing/2014/main" id="{35F62136-CD61-4120-ACCD-1F1980E4EBDF}"/>
              </a:ext>
            </a:extLst>
          </p:cNvPr>
          <p:cNvSpPr>
            <a:spLocks noGrp="1"/>
          </p:cNvSpPr>
          <p:nvPr>
            <p:ph type="body" sz="quarter" idx="19"/>
          </p:nvPr>
        </p:nvSpPr>
        <p:spPr>
          <a:xfrm>
            <a:off x="9589625" y="1399563"/>
            <a:ext cx="2225574" cy="4752000"/>
          </a:xfrm>
        </p:spPr>
        <p:txBody>
          <a:bodyPr/>
          <a:lstStyle>
            <a:lvl1pPr>
              <a:defRPr sz="1400"/>
            </a:lvl1pPr>
          </a:lstStyle>
          <a:p>
            <a:pPr lvl="0"/>
            <a:r>
              <a:rPr lang="en-US" dirty="0"/>
              <a:t>Click to edit Master text styles</a:t>
            </a:r>
          </a:p>
        </p:txBody>
      </p:sp>
      <p:sp>
        <p:nvSpPr>
          <p:cNvPr id="19" name="Text Placeholder 7">
            <a:extLst>
              <a:ext uri="{FF2B5EF4-FFF2-40B4-BE49-F238E27FC236}">
                <a16:creationId xmlns:a16="http://schemas.microsoft.com/office/drawing/2014/main" id="{21E41751-3A54-44D7-B054-DDA29617390A}"/>
              </a:ext>
            </a:extLst>
          </p:cNvPr>
          <p:cNvSpPr>
            <a:spLocks noGrp="1"/>
          </p:cNvSpPr>
          <p:nvPr>
            <p:ph type="body" sz="quarter" idx="20"/>
          </p:nvPr>
        </p:nvSpPr>
        <p:spPr>
          <a:xfrm>
            <a:off x="4771100" y="1399563"/>
            <a:ext cx="2225574" cy="4752000"/>
          </a:xfrm>
        </p:spPr>
        <p:txBody>
          <a:bodyPr/>
          <a:lstStyle>
            <a:lvl1pPr>
              <a:defRPr sz="1400"/>
            </a:lvl1pPr>
          </a:lstStyle>
          <a:p>
            <a:pPr lvl="0"/>
            <a:r>
              <a:rPr lang="en-US" dirty="0"/>
              <a:t>Click to edit Master text styles</a:t>
            </a:r>
          </a:p>
        </p:txBody>
      </p:sp>
      <p:sp>
        <p:nvSpPr>
          <p:cNvPr id="20" name="Text Placeholder 7">
            <a:extLst>
              <a:ext uri="{FF2B5EF4-FFF2-40B4-BE49-F238E27FC236}">
                <a16:creationId xmlns:a16="http://schemas.microsoft.com/office/drawing/2014/main" id="{B7DE8D1C-C82F-4DB0-9F49-65C3549A59C6}"/>
              </a:ext>
            </a:extLst>
          </p:cNvPr>
          <p:cNvSpPr>
            <a:spLocks noGrp="1"/>
          </p:cNvSpPr>
          <p:nvPr>
            <p:ph type="body" sz="quarter" idx="21"/>
          </p:nvPr>
        </p:nvSpPr>
        <p:spPr>
          <a:xfrm>
            <a:off x="7144994" y="1399563"/>
            <a:ext cx="2225574" cy="4752000"/>
          </a:xfrm>
        </p:spPr>
        <p:txBody>
          <a:bodyPr/>
          <a:lstStyle>
            <a:lvl1pPr>
              <a:defRPr sz="1400"/>
            </a:lvl1pPr>
          </a:lstStyle>
          <a:p>
            <a:pPr lvl="0"/>
            <a:r>
              <a:rPr lang="en-US" dirty="0"/>
              <a:t>Click to edit Master text styles</a:t>
            </a:r>
          </a:p>
        </p:txBody>
      </p:sp>
      <p:sp>
        <p:nvSpPr>
          <p:cNvPr id="22" name="Footer Placeholder 4">
            <a:extLst>
              <a:ext uri="{FF2B5EF4-FFF2-40B4-BE49-F238E27FC236}">
                <a16:creationId xmlns:a16="http://schemas.microsoft.com/office/drawing/2014/main" id="{9553C690-4854-43C5-B086-9B9C36ACFAE5}"/>
              </a:ext>
            </a:extLst>
          </p:cNvPr>
          <p:cNvSpPr txBox="1"/>
          <p:nvPr userDrawn="1"/>
        </p:nvSpPr>
        <p:spPr>
          <a:xfrm>
            <a:off x="5361433" y="6449284"/>
            <a:ext cx="1475068" cy="133372"/>
          </a:xfrm>
          <a:prstGeom prst="rect">
            <a:avLst/>
          </a:prstGeom>
        </p:spPr>
        <p:txBody>
          <a:bodyPr vert="horz" lIns="0" tIns="0" rIns="0" bIns="0" rtlCol="0" anchor="t" anchorCtr="0">
            <a:noAutofit/>
          </a:bodyPr>
          <a:lstStyle>
            <a:defPPr>
              <a:defRPr lang="es-ES"/>
            </a:defPPr>
            <a:lvl1pPr marL="0" algn="l" defTabSz="914400" rtl="0" eaLnBrk="1" latinLnBrk="0" hangingPunct="1">
              <a:defRPr sz="9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dirty="0">
                <a:solidFill>
                  <a:schemeClr val="tx2"/>
                </a:solidFill>
                <a:ea typeface="Arial" charset="0"/>
                <a:cs typeface="Arial" charset="0"/>
              </a:rPr>
              <a:t>Adecco.com</a:t>
            </a:r>
          </a:p>
        </p:txBody>
      </p:sp>
      <p:sp>
        <p:nvSpPr>
          <p:cNvPr id="16" name="Rectangle 15">
            <a:extLst>
              <a:ext uri="{FF2B5EF4-FFF2-40B4-BE49-F238E27FC236}">
                <a16:creationId xmlns:a16="http://schemas.microsoft.com/office/drawing/2014/main" id="{875DF6E5-AA5A-4A2C-B75D-F78E093DA5AD}"/>
              </a:ext>
            </a:extLst>
          </p:cNvPr>
          <p:cNvSpPr/>
          <p:nvPr userDrawn="1"/>
        </p:nvSpPr>
        <p:spPr>
          <a:xfrm>
            <a:off x="3051745"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7" name="Rectangle 16">
            <a:extLst>
              <a:ext uri="{FF2B5EF4-FFF2-40B4-BE49-F238E27FC236}">
                <a16:creationId xmlns:a16="http://schemas.microsoft.com/office/drawing/2014/main" id="{01FDF9FC-4338-4C8F-890D-7FE13C1A4FDF}"/>
              </a:ext>
            </a:extLst>
          </p:cNvPr>
          <p:cNvSpPr/>
          <p:nvPr userDrawn="1"/>
        </p:nvSpPr>
        <p:spPr>
          <a:xfrm>
            <a:off x="7490"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1" name="Rectangle 20">
            <a:extLst>
              <a:ext uri="{FF2B5EF4-FFF2-40B4-BE49-F238E27FC236}">
                <a16:creationId xmlns:a16="http://schemas.microsoft.com/office/drawing/2014/main" id="{43DF3494-2C49-4289-B3E7-ADA9E577B5D6}"/>
              </a:ext>
            </a:extLst>
          </p:cNvPr>
          <p:cNvSpPr/>
          <p:nvPr userDrawn="1"/>
        </p:nvSpPr>
        <p:spPr>
          <a:xfrm>
            <a:off x="9149414"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3" name="Rectangle 22">
            <a:extLst>
              <a:ext uri="{FF2B5EF4-FFF2-40B4-BE49-F238E27FC236}">
                <a16:creationId xmlns:a16="http://schemas.microsoft.com/office/drawing/2014/main" id="{9993FA82-BEE7-43BC-9B51-DB3764809C4F}"/>
              </a:ext>
            </a:extLst>
          </p:cNvPr>
          <p:cNvSpPr/>
          <p:nvPr userDrawn="1"/>
        </p:nvSpPr>
        <p:spPr>
          <a:xfrm>
            <a:off x="6105159"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Tree>
    <p:extLst>
      <p:ext uri="{BB962C8B-B14F-4D97-AF65-F5344CB8AC3E}">
        <p14:creationId xmlns:p14="http://schemas.microsoft.com/office/powerpoint/2010/main" val="159656636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3_Text 1/2 right with Picture">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BF29E734-210D-BC45-815B-FC427C40A195}"/>
              </a:ext>
            </a:extLst>
          </p:cNvPr>
          <p:cNvSpPr/>
          <p:nvPr userDrawn="1"/>
        </p:nvSpPr>
        <p:spPr>
          <a:xfrm>
            <a:off x="6096001" y="0"/>
            <a:ext cx="6096000" cy="6858000"/>
          </a:xfrm>
          <a:prstGeom prst="rect">
            <a:avLst/>
          </a:prstGeom>
          <a:gradFill>
            <a:gsLst>
              <a:gs pos="0">
                <a:schemeClr val="accent1"/>
              </a:gs>
              <a:gs pos="100000">
                <a:schemeClr val="accent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accent4"/>
              </a:solidFill>
            </a:endParaRPr>
          </a:p>
        </p:txBody>
      </p:sp>
      <p:sp>
        <p:nvSpPr>
          <p:cNvPr id="24" name="Marcador de posición de imagen 2">
            <a:extLst>
              <a:ext uri="{FF2B5EF4-FFF2-40B4-BE49-F238E27FC236}">
                <a16:creationId xmlns:a16="http://schemas.microsoft.com/office/drawing/2014/main" id="{263E57D1-5D12-4810-ABBA-4AD821FCD289}"/>
              </a:ext>
            </a:extLst>
          </p:cNvPr>
          <p:cNvSpPr>
            <a:spLocks noGrp="1"/>
          </p:cNvSpPr>
          <p:nvPr>
            <p:ph type="pic" sz="quarter" idx="12" hasCustomPrompt="1"/>
          </p:nvPr>
        </p:nvSpPr>
        <p:spPr>
          <a:xfrm>
            <a:off x="6096002" y="0"/>
            <a:ext cx="6086574" cy="6858000"/>
          </a:xfrm>
          <a:prstGeom prst="rect">
            <a:avLst/>
          </a:prstGeom>
        </p:spPr>
        <p:txBody>
          <a:bodyPr anchor="ctr"/>
          <a:lstStyle>
            <a:lvl1pPr marL="228600" marR="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a:solidFill>
                  <a:srgbClr val="FFFFFF"/>
                </a:solidFill>
              </a:defRPr>
            </a:lvl1pPr>
          </a:lstStyle>
          <a:p>
            <a:pPr marL="228600" marR="0" lvl="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Drag picture to placeholder </a:t>
            </a:r>
            <a:br>
              <a:rPr lang="en-US" dirty="0"/>
            </a:br>
            <a:r>
              <a:rPr lang="en-US" dirty="0"/>
              <a:t>or click icon to add</a:t>
            </a:r>
          </a:p>
        </p:txBody>
      </p:sp>
      <p:graphicFrame>
        <p:nvGraphicFramePr>
          <p:cNvPr id="3" name="Object 2" hidden="1">
            <a:extLst>
              <a:ext uri="{FF2B5EF4-FFF2-40B4-BE49-F238E27FC236}">
                <a16:creationId xmlns:a16="http://schemas.microsoft.com/office/drawing/2014/main" id="{C18526C9-16E3-4A1D-828A-4692734F055E}"/>
              </a:ext>
            </a:extLst>
          </p:cNvPr>
          <p:cNvGraphicFramePr>
            <a:graphicFrameLocks noChangeAspect="1"/>
          </p:cNvGraphicFramePr>
          <p:nvPr userDrawn="1">
            <p:custDataLst>
              <p:tags r:id="rId2"/>
            </p:custDataLst>
            <p:extLst>
              <p:ext uri="{D42A27DB-BD31-4B8C-83A1-F6EECF244321}">
                <p14:modId xmlns:p14="http://schemas.microsoft.com/office/powerpoint/2010/main" val="17198186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660" name="think-cell Slide" r:id="rId5" imgW="473" imgH="474" progId="TCLayout.ActiveDocument.1">
                  <p:embed/>
                </p:oleObj>
              </mc:Choice>
              <mc:Fallback>
                <p:oleObj name="think-cell Slide" r:id="rId5" imgW="473" imgH="474" progId="TCLayout.ActiveDocument.1">
                  <p:embed/>
                  <p:pic>
                    <p:nvPicPr>
                      <p:cNvPr id="3" name="Object 2" hidden="1">
                        <a:extLst>
                          <a:ext uri="{FF2B5EF4-FFF2-40B4-BE49-F238E27FC236}">
                            <a16:creationId xmlns:a16="http://schemas.microsoft.com/office/drawing/2014/main" id="{C18526C9-16E3-4A1D-828A-4692734F055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B2B384D-A05A-4439-838E-B66DA57DCB38}"/>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0" i="0" baseline="0" dirty="0">
              <a:latin typeface="Verdana" panose="020B0604030504040204" pitchFamily="34" charset="0"/>
              <a:ea typeface="+mj-ea"/>
              <a:cs typeface="+mj-cs"/>
              <a:sym typeface="Verdana" panose="020B0604030504040204" pitchFamily="34" charset="0"/>
            </a:endParaRPr>
          </a:p>
        </p:txBody>
      </p:sp>
      <p:sp>
        <p:nvSpPr>
          <p:cNvPr id="15" name="Marcador de texto 2">
            <a:extLst>
              <a:ext uri="{FF2B5EF4-FFF2-40B4-BE49-F238E27FC236}">
                <a16:creationId xmlns:a16="http://schemas.microsoft.com/office/drawing/2014/main" id="{B0631F3F-D69C-4938-9C2D-8DBA1DF60BB1}"/>
              </a:ext>
            </a:extLst>
          </p:cNvPr>
          <p:cNvSpPr>
            <a:spLocks noGrp="1"/>
          </p:cNvSpPr>
          <p:nvPr>
            <p:ph type="body" idx="10" hasCustomPrompt="1"/>
          </p:nvPr>
        </p:nvSpPr>
        <p:spPr>
          <a:xfrm>
            <a:off x="370518" y="722639"/>
            <a:ext cx="5405250" cy="324000"/>
          </a:xfrm>
          <a:prstGeom prst="rect">
            <a:avLst/>
          </a:prstGeom>
        </p:spPr>
        <p:txBody>
          <a:bodyPr lIns="0" tIns="0" rIns="0" bIns="0" anchor="t"/>
          <a:lstStyle>
            <a:lvl1pPr marL="0" indent="0">
              <a:lnSpc>
                <a:spcPct val="100000"/>
              </a:lnSpc>
              <a:spcBef>
                <a:spcPts val="0"/>
              </a:spcBef>
              <a:buNone/>
              <a:defRPr sz="2000" b="0">
                <a:solidFill>
                  <a:srgbClr val="000000"/>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err="1"/>
              <a:t>Subtitle</a:t>
            </a:r>
            <a:endParaRPr lang="es-ES" dirty="0"/>
          </a:p>
        </p:txBody>
      </p:sp>
      <p:sp>
        <p:nvSpPr>
          <p:cNvPr id="18" name="CuadroTexto 64">
            <a:extLst>
              <a:ext uri="{FF2B5EF4-FFF2-40B4-BE49-F238E27FC236}">
                <a16:creationId xmlns:a16="http://schemas.microsoft.com/office/drawing/2014/main" id="{7EEFB272-44BD-4440-81FD-B5BE8200048F}"/>
              </a:ext>
            </a:extLst>
          </p:cNvPr>
          <p:cNvSpPr txBox="1"/>
          <p:nvPr userDrawn="1"/>
        </p:nvSpPr>
        <p:spPr>
          <a:xfrm>
            <a:off x="10882303" y="6449284"/>
            <a:ext cx="936214" cy="138499"/>
          </a:xfrm>
          <a:prstGeom prst="rect">
            <a:avLst/>
          </a:prstGeom>
          <a:noFill/>
        </p:spPr>
        <p:txBody>
          <a:bodyPr wrap="square" lIns="0" tIns="0" rIns="0" bIns="0" rtlCol="0">
            <a:spAutoFit/>
          </a:bodyPr>
          <a:lstStyle/>
          <a:p>
            <a:pPr algn="r"/>
            <a:fld id="{A4EEDD72-1D6A-6B46-BCFA-C211F73E9379}" type="slidenum">
              <a:rPr lang="es-ES" sz="900" b="1" smtClean="0">
                <a:solidFill>
                  <a:schemeClr val="bg1"/>
                </a:solidFill>
                <a:latin typeface="+mj-lt"/>
                <a:ea typeface="Verdana" panose="020B0604030504040204" pitchFamily="34" charset="0"/>
                <a:cs typeface="Verdana" panose="020B0604030504040204" pitchFamily="34" charset="0"/>
              </a:rPr>
              <a:pPr algn="r"/>
              <a:t>‹N›</a:t>
            </a:fld>
            <a:endParaRPr lang="es-ES" sz="900" b="1" dirty="0">
              <a:solidFill>
                <a:schemeClr val="bg1"/>
              </a:solidFill>
              <a:latin typeface="+mj-lt"/>
              <a:ea typeface="Verdana" panose="020B0604030504040204" pitchFamily="34" charset="0"/>
              <a:cs typeface="Verdana" panose="020B0604030504040204" pitchFamily="34" charset="0"/>
            </a:endParaRPr>
          </a:p>
        </p:txBody>
      </p:sp>
      <p:sp>
        <p:nvSpPr>
          <p:cNvPr id="9" name="Title 8">
            <a:extLst>
              <a:ext uri="{FF2B5EF4-FFF2-40B4-BE49-F238E27FC236}">
                <a16:creationId xmlns:a16="http://schemas.microsoft.com/office/drawing/2014/main" id="{965B48A6-C16F-42F8-ABA4-E292AD3ADAB5}"/>
              </a:ext>
            </a:extLst>
          </p:cNvPr>
          <p:cNvSpPr>
            <a:spLocks noGrp="1"/>
          </p:cNvSpPr>
          <p:nvPr>
            <p:ph type="title"/>
          </p:nvPr>
        </p:nvSpPr>
        <p:spPr>
          <a:xfrm>
            <a:off x="370518" y="252000"/>
            <a:ext cx="5405250" cy="432000"/>
          </a:xfrm>
        </p:spPr>
        <p:txBody>
          <a:bodyPr/>
          <a:lstStyle/>
          <a:p>
            <a:r>
              <a:rPr lang="en-US" dirty="0"/>
              <a:t>Click to edit Master title style</a:t>
            </a:r>
          </a:p>
        </p:txBody>
      </p:sp>
      <p:pic>
        <p:nvPicPr>
          <p:cNvPr id="14" name="Graphic 10">
            <a:extLst>
              <a:ext uri="{FF2B5EF4-FFF2-40B4-BE49-F238E27FC236}">
                <a16:creationId xmlns:a16="http://schemas.microsoft.com/office/drawing/2014/main" id="{76EEEB64-79A9-4166-8CB0-4B981D781095}"/>
              </a:ext>
            </a:extLst>
          </p:cNvPr>
          <p:cNvPicPr>
            <a:picLocks noChangeAspect="1"/>
          </p:cNvPicPr>
          <p:nvPr userDrawn="1"/>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70517" y="6420188"/>
            <a:ext cx="675863" cy="162467"/>
          </a:xfrm>
          <a:prstGeom prst="rect">
            <a:avLst/>
          </a:prstGeom>
        </p:spPr>
      </p:pic>
      <p:sp>
        <p:nvSpPr>
          <p:cNvPr id="19" name="Text Placeholder 7">
            <a:extLst>
              <a:ext uri="{FF2B5EF4-FFF2-40B4-BE49-F238E27FC236}">
                <a16:creationId xmlns:a16="http://schemas.microsoft.com/office/drawing/2014/main" id="{21E41751-3A54-44D7-B054-DDA29617390A}"/>
              </a:ext>
            </a:extLst>
          </p:cNvPr>
          <p:cNvSpPr>
            <a:spLocks noGrp="1"/>
          </p:cNvSpPr>
          <p:nvPr>
            <p:ph type="body" sz="quarter" idx="20"/>
          </p:nvPr>
        </p:nvSpPr>
        <p:spPr>
          <a:xfrm>
            <a:off x="371475" y="1399564"/>
            <a:ext cx="5404293" cy="1738656"/>
          </a:xfrm>
        </p:spPr>
        <p:txBody>
          <a:bodyPr/>
          <a:lstStyle>
            <a:lvl1pPr>
              <a:defRPr sz="1400"/>
            </a:lvl1pPr>
          </a:lstStyle>
          <a:p>
            <a:pPr lvl="0"/>
            <a:r>
              <a:rPr lang="en-US" dirty="0"/>
              <a:t>Click to edit Master text styles</a:t>
            </a:r>
          </a:p>
        </p:txBody>
      </p:sp>
      <p:sp>
        <p:nvSpPr>
          <p:cNvPr id="16" name="Text Placeholder 12" descr="Body text will be presented like this">
            <a:extLst>
              <a:ext uri="{FF2B5EF4-FFF2-40B4-BE49-F238E27FC236}">
                <a16:creationId xmlns:a16="http://schemas.microsoft.com/office/drawing/2014/main" id="{C1088BCB-9554-4EBB-A099-833C4F7DD392}"/>
              </a:ext>
            </a:extLst>
          </p:cNvPr>
          <p:cNvSpPr>
            <a:spLocks noGrp="1"/>
          </p:cNvSpPr>
          <p:nvPr>
            <p:ph type="body" sz="quarter" idx="14" hasCustomPrompt="1"/>
          </p:nvPr>
        </p:nvSpPr>
        <p:spPr>
          <a:xfrm>
            <a:off x="947738" y="3719781"/>
            <a:ext cx="4828030" cy="872838"/>
          </a:xfrm>
          <a:prstGeom prst="rect">
            <a:avLst/>
          </a:prstGeom>
        </p:spPr>
        <p:txBody>
          <a:bodyPr wrap="square" lIns="0" tIns="0" rIns="0" bIns="0"/>
          <a:lstStyle>
            <a:lvl1pPr marL="0" indent="0" algn="l">
              <a:lnSpc>
                <a:spcPct val="110000"/>
              </a:lnSpc>
              <a:spcBef>
                <a:spcPts val="0"/>
              </a:spcBef>
              <a:buNone/>
              <a:defRPr sz="1400" b="0">
                <a:latin typeface="+mn-lt"/>
              </a:defRPr>
            </a:lvl1pPr>
            <a:lvl2pPr marL="0" indent="0">
              <a:lnSpc>
                <a:spcPct val="120000"/>
              </a:lnSpc>
              <a:defRPr sz="1200"/>
            </a:lvl2pPr>
            <a:lvl3pPr>
              <a:defRPr sz="1600"/>
            </a:lvl3pPr>
            <a:lvl4pPr>
              <a:defRPr sz="1600"/>
            </a:lvl4pPr>
            <a:lvl5pPr>
              <a:defRPr sz="1600"/>
            </a:lvl5pPr>
          </a:lstStyle>
          <a:p>
            <a:pPr lvl="0"/>
            <a:r>
              <a:rPr lang="en-US" dirty="0"/>
              <a:t>Click to edit Master text styles</a:t>
            </a:r>
          </a:p>
        </p:txBody>
      </p:sp>
      <p:sp>
        <p:nvSpPr>
          <p:cNvPr id="17" name="Marcador de texto 5">
            <a:extLst>
              <a:ext uri="{FF2B5EF4-FFF2-40B4-BE49-F238E27FC236}">
                <a16:creationId xmlns:a16="http://schemas.microsoft.com/office/drawing/2014/main" id="{6E67A482-664C-45B5-8E90-D6D80334C8D7}"/>
              </a:ext>
            </a:extLst>
          </p:cNvPr>
          <p:cNvSpPr>
            <a:spLocks noGrp="1"/>
          </p:cNvSpPr>
          <p:nvPr>
            <p:ph type="body" sz="quarter" idx="28" hasCustomPrompt="1"/>
          </p:nvPr>
        </p:nvSpPr>
        <p:spPr>
          <a:xfrm>
            <a:off x="947738" y="3352580"/>
            <a:ext cx="4828030" cy="322607"/>
          </a:xfrm>
          <a:prstGeom prst="rect">
            <a:avLst/>
          </a:prstGeom>
        </p:spPr>
        <p:txBody>
          <a:bodyPr lIns="0" tIns="0" rIns="0" bIns="0"/>
          <a:lstStyle>
            <a:lvl1pPr marL="0" indent="0" algn="l">
              <a:lnSpc>
                <a:spcPct val="110000"/>
              </a:lnSpc>
              <a:buNone/>
              <a:defRPr sz="1600" b="1">
                <a:latin typeface="+mj-lt"/>
              </a:defRPr>
            </a:lvl1pPr>
            <a:lvl2pPr indent="0">
              <a:lnSpc>
                <a:spcPct val="110000"/>
              </a:lnSpc>
              <a:buNone/>
              <a:defRPr sz="1000" b="1">
                <a:latin typeface="+mj-lt"/>
              </a:defRPr>
            </a:lvl2pPr>
            <a:lvl3pPr indent="0">
              <a:lnSpc>
                <a:spcPct val="110000"/>
              </a:lnSpc>
              <a:buNone/>
              <a:defRPr sz="1000" b="1">
                <a:latin typeface="+mj-lt"/>
              </a:defRPr>
            </a:lvl3pPr>
            <a:lvl4pPr indent="0">
              <a:lnSpc>
                <a:spcPct val="110000"/>
              </a:lnSpc>
              <a:buNone/>
              <a:defRPr sz="1000" b="1">
                <a:latin typeface="+mj-lt"/>
              </a:defRPr>
            </a:lvl4pPr>
            <a:lvl5pPr indent="0">
              <a:lnSpc>
                <a:spcPct val="110000"/>
              </a:lnSpc>
              <a:buNone/>
              <a:defRPr sz="1000" b="1">
                <a:latin typeface="+mj-lt"/>
              </a:defRPr>
            </a:lvl5pPr>
          </a:lstStyle>
          <a:p>
            <a:pPr lvl="0"/>
            <a:r>
              <a:rPr lang="es-ES" dirty="0" err="1"/>
              <a:t>Title</a:t>
            </a:r>
            <a:endParaRPr lang="en-GB" dirty="0"/>
          </a:p>
        </p:txBody>
      </p:sp>
      <p:sp>
        <p:nvSpPr>
          <p:cNvPr id="21" name="Text Placeholder 12" descr="Body text will be presented like this">
            <a:extLst>
              <a:ext uri="{FF2B5EF4-FFF2-40B4-BE49-F238E27FC236}">
                <a16:creationId xmlns:a16="http://schemas.microsoft.com/office/drawing/2014/main" id="{D61D985A-8504-4CB2-B6CD-745450D27CAE}"/>
              </a:ext>
            </a:extLst>
          </p:cNvPr>
          <p:cNvSpPr>
            <a:spLocks noGrp="1"/>
          </p:cNvSpPr>
          <p:nvPr>
            <p:ph type="body" sz="quarter" idx="29" hasCustomPrompt="1"/>
          </p:nvPr>
        </p:nvSpPr>
        <p:spPr>
          <a:xfrm>
            <a:off x="947738" y="5263556"/>
            <a:ext cx="4828030" cy="872838"/>
          </a:xfrm>
          <a:prstGeom prst="rect">
            <a:avLst/>
          </a:prstGeom>
        </p:spPr>
        <p:txBody>
          <a:bodyPr wrap="square" lIns="0" tIns="0" rIns="0" bIns="0"/>
          <a:lstStyle>
            <a:lvl1pPr marL="0" indent="0" algn="l">
              <a:lnSpc>
                <a:spcPct val="110000"/>
              </a:lnSpc>
              <a:spcBef>
                <a:spcPts val="0"/>
              </a:spcBef>
              <a:buNone/>
              <a:defRPr sz="1400" b="0">
                <a:latin typeface="+mn-lt"/>
              </a:defRPr>
            </a:lvl1pPr>
            <a:lvl2pPr marL="0" indent="0">
              <a:lnSpc>
                <a:spcPct val="120000"/>
              </a:lnSpc>
              <a:defRPr sz="1200"/>
            </a:lvl2pPr>
            <a:lvl3pPr>
              <a:defRPr sz="1600"/>
            </a:lvl3pPr>
            <a:lvl4pPr>
              <a:defRPr sz="1600"/>
            </a:lvl4pPr>
            <a:lvl5pPr>
              <a:defRPr sz="1600"/>
            </a:lvl5pPr>
          </a:lstStyle>
          <a:p>
            <a:pPr lvl="0"/>
            <a:r>
              <a:rPr lang="en-US" dirty="0"/>
              <a:t>Click to edit Master text styles</a:t>
            </a:r>
          </a:p>
        </p:txBody>
      </p:sp>
      <p:sp>
        <p:nvSpPr>
          <p:cNvPr id="22" name="Marcador de texto 5">
            <a:extLst>
              <a:ext uri="{FF2B5EF4-FFF2-40B4-BE49-F238E27FC236}">
                <a16:creationId xmlns:a16="http://schemas.microsoft.com/office/drawing/2014/main" id="{FAAA81E0-69A3-4760-8F0C-2469611F9FEF}"/>
              </a:ext>
            </a:extLst>
          </p:cNvPr>
          <p:cNvSpPr>
            <a:spLocks noGrp="1"/>
          </p:cNvSpPr>
          <p:nvPr>
            <p:ph type="body" sz="quarter" idx="30" hasCustomPrompt="1"/>
          </p:nvPr>
        </p:nvSpPr>
        <p:spPr>
          <a:xfrm>
            <a:off x="947738" y="4896355"/>
            <a:ext cx="4828030" cy="322607"/>
          </a:xfrm>
          <a:prstGeom prst="rect">
            <a:avLst/>
          </a:prstGeom>
        </p:spPr>
        <p:txBody>
          <a:bodyPr lIns="0" tIns="0" rIns="0" bIns="0"/>
          <a:lstStyle>
            <a:lvl1pPr marL="0" indent="0" algn="l">
              <a:lnSpc>
                <a:spcPct val="110000"/>
              </a:lnSpc>
              <a:buNone/>
              <a:defRPr sz="1600" b="1">
                <a:latin typeface="+mj-lt"/>
              </a:defRPr>
            </a:lvl1pPr>
            <a:lvl2pPr indent="0">
              <a:lnSpc>
                <a:spcPct val="110000"/>
              </a:lnSpc>
              <a:buNone/>
              <a:defRPr sz="1000" b="1">
                <a:latin typeface="+mj-lt"/>
              </a:defRPr>
            </a:lvl2pPr>
            <a:lvl3pPr indent="0">
              <a:lnSpc>
                <a:spcPct val="110000"/>
              </a:lnSpc>
              <a:buNone/>
              <a:defRPr sz="1000" b="1">
                <a:latin typeface="+mj-lt"/>
              </a:defRPr>
            </a:lvl3pPr>
            <a:lvl4pPr indent="0">
              <a:lnSpc>
                <a:spcPct val="110000"/>
              </a:lnSpc>
              <a:buNone/>
              <a:defRPr sz="1000" b="1">
                <a:latin typeface="+mj-lt"/>
              </a:defRPr>
            </a:lvl4pPr>
            <a:lvl5pPr indent="0">
              <a:lnSpc>
                <a:spcPct val="110000"/>
              </a:lnSpc>
              <a:buNone/>
              <a:defRPr sz="1000" b="1">
                <a:latin typeface="+mj-lt"/>
              </a:defRPr>
            </a:lvl5pPr>
          </a:lstStyle>
          <a:p>
            <a:pPr lvl="0"/>
            <a:r>
              <a:rPr lang="es-ES" dirty="0" err="1"/>
              <a:t>Title</a:t>
            </a:r>
            <a:endParaRPr lang="en-GB" dirty="0"/>
          </a:p>
        </p:txBody>
      </p:sp>
      <p:sp>
        <p:nvSpPr>
          <p:cNvPr id="20" name="Rectangle 19">
            <a:extLst>
              <a:ext uri="{FF2B5EF4-FFF2-40B4-BE49-F238E27FC236}">
                <a16:creationId xmlns:a16="http://schemas.microsoft.com/office/drawing/2014/main" id="{69078069-8CCE-49CE-AC2B-B07861DC0E32}"/>
              </a:ext>
            </a:extLst>
          </p:cNvPr>
          <p:cNvSpPr/>
          <p:nvPr userDrawn="1"/>
        </p:nvSpPr>
        <p:spPr>
          <a:xfrm>
            <a:off x="3051745"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3" name="Rectangle 22">
            <a:extLst>
              <a:ext uri="{FF2B5EF4-FFF2-40B4-BE49-F238E27FC236}">
                <a16:creationId xmlns:a16="http://schemas.microsoft.com/office/drawing/2014/main" id="{833D7179-32E7-463D-857B-74EDDC9E2539}"/>
              </a:ext>
            </a:extLst>
          </p:cNvPr>
          <p:cNvSpPr/>
          <p:nvPr userDrawn="1"/>
        </p:nvSpPr>
        <p:spPr>
          <a:xfrm>
            <a:off x="7490"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5" name="Rectangle 24">
            <a:extLst>
              <a:ext uri="{FF2B5EF4-FFF2-40B4-BE49-F238E27FC236}">
                <a16:creationId xmlns:a16="http://schemas.microsoft.com/office/drawing/2014/main" id="{C474A5DF-57F9-47B2-B194-E1FB67F6D5F1}"/>
              </a:ext>
            </a:extLst>
          </p:cNvPr>
          <p:cNvSpPr/>
          <p:nvPr userDrawn="1"/>
        </p:nvSpPr>
        <p:spPr>
          <a:xfrm>
            <a:off x="9149414"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6" name="Rectangle 25">
            <a:extLst>
              <a:ext uri="{FF2B5EF4-FFF2-40B4-BE49-F238E27FC236}">
                <a16:creationId xmlns:a16="http://schemas.microsoft.com/office/drawing/2014/main" id="{7C83C6E3-978A-4023-A07E-369C03F0566A}"/>
              </a:ext>
            </a:extLst>
          </p:cNvPr>
          <p:cNvSpPr/>
          <p:nvPr userDrawn="1"/>
        </p:nvSpPr>
        <p:spPr>
          <a:xfrm>
            <a:off x="6105159"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Tree>
    <p:extLst>
      <p:ext uri="{BB962C8B-B14F-4D97-AF65-F5344CB8AC3E}">
        <p14:creationId xmlns:p14="http://schemas.microsoft.com/office/powerpoint/2010/main" val="60204066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4_Text 1/2 left with picture">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BF29E734-210D-BC45-815B-FC427C40A195}"/>
              </a:ext>
            </a:extLst>
          </p:cNvPr>
          <p:cNvSpPr/>
          <p:nvPr userDrawn="1"/>
        </p:nvSpPr>
        <p:spPr>
          <a:xfrm>
            <a:off x="1588" y="0"/>
            <a:ext cx="6096000" cy="6858000"/>
          </a:xfrm>
          <a:prstGeom prst="rect">
            <a:avLst/>
          </a:prstGeom>
          <a:gradFill>
            <a:gsLst>
              <a:gs pos="0">
                <a:schemeClr val="accent1"/>
              </a:gs>
              <a:gs pos="100000">
                <a:schemeClr val="accent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accent4"/>
              </a:solidFill>
            </a:endParaRPr>
          </a:p>
        </p:txBody>
      </p:sp>
      <p:sp>
        <p:nvSpPr>
          <p:cNvPr id="24" name="Marcador de posición de imagen 2">
            <a:extLst>
              <a:ext uri="{FF2B5EF4-FFF2-40B4-BE49-F238E27FC236}">
                <a16:creationId xmlns:a16="http://schemas.microsoft.com/office/drawing/2014/main" id="{263E57D1-5D12-4810-ABBA-4AD821FCD289}"/>
              </a:ext>
            </a:extLst>
          </p:cNvPr>
          <p:cNvSpPr>
            <a:spLocks noGrp="1"/>
          </p:cNvSpPr>
          <p:nvPr>
            <p:ph type="pic" sz="quarter" idx="12" hasCustomPrompt="1"/>
          </p:nvPr>
        </p:nvSpPr>
        <p:spPr>
          <a:xfrm>
            <a:off x="0" y="0"/>
            <a:ext cx="6086574" cy="6858000"/>
          </a:xfrm>
          <a:prstGeom prst="rect">
            <a:avLst/>
          </a:prstGeom>
        </p:spPr>
        <p:txBody>
          <a:bodyPr anchor="ctr"/>
          <a:lstStyle>
            <a:lvl1pPr marL="228600" marR="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a:solidFill>
                  <a:srgbClr val="FFFFFF"/>
                </a:solidFill>
              </a:defRPr>
            </a:lvl1pPr>
          </a:lstStyle>
          <a:p>
            <a:pPr marL="228600" marR="0" lvl="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Drag picture to placeholder </a:t>
            </a:r>
            <a:br>
              <a:rPr lang="en-US" dirty="0"/>
            </a:br>
            <a:r>
              <a:rPr lang="en-US" dirty="0"/>
              <a:t>or click icon to add</a:t>
            </a:r>
          </a:p>
        </p:txBody>
      </p:sp>
      <p:graphicFrame>
        <p:nvGraphicFramePr>
          <p:cNvPr id="3" name="Object 2" hidden="1">
            <a:extLst>
              <a:ext uri="{FF2B5EF4-FFF2-40B4-BE49-F238E27FC236}">
                <a16:creationId xmlns:a16="http://schemas.microsoft.com/office/drawing/2014/main" id="{C18526C9-16E3-4A1D-828A-4692734F055E}"/>
              </a:ext>
            </a:extLst>
          </p:cNvPr>
          <p:cNvGraphicFramePr>
            <a:graphicFrameLocks noChangeAspect="1"/>
          </p:cNvGraphicFramePr>
          <p:nvPr userDrawn="1">
            <p:custDataLst>
              <p:tags r:id="rId2"/>
            </p:custDataLst>
            <p:extLst>
              <p:ext uri="{D42A27DB-BD31-4B8C-83A1-F6EECF244321}">
                <p14:modId xmlns:p14="http://schemas.microsoft.com/office/powerpoint/2010/main" val="13070890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684" name="think-cell Slide" r:id="rId5" imgW="473" imgH="474" progId="TCLayout.ActiveDocument.1">
                  <p:embed/>
                </p:oleObj>
              </mc:Choice>
              <mc:Fallback>
                <p:oleObj name="think-cell Slide" r:id="rId5" imgW="473" imgH="474" progId="TCLayout.ActiveDocument.1">
                  <p:embed/>
                  <p:pic>
                    <p:nvPicPr>
                      <p:cNvPr id="3" name="Object 2" hidden="1">
                        <a:extLst>
                          <a:ext uri="{FF2B5EF4-FFF2-40B4-BE49-F238E27FC236}">
                            <a16:creationId xmlns:a16="http://schemas.microsoft.com/office/drawing/2014/main" id="{C18526C9-16E3-4A1D-828A-4692734F055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B2B384D-A05A-4439-838E-B66DA57DCB38}"/>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0" i="0" baseline="0" dirty="0">
              <a:latin typeface="Verdana" panose="020B0604030504040204" pitchFamily="34" charset="0"/>
              <a:ea typeface="+mj-ea"/>
              <a:cs typeface="+mj-cs"/>
              <a:sym typeface="Verdana" panose="020B0604030504040204" pitchFamily="34" charset="0"/>
            </a:endParaRPr>
          </a:p>
        </p:txBody>
      </p:sp>
      <p:sp>
        <p:nvSpPr>
          <p:cNvPr id="15" name="Marcador de texto 2">
            <a:extLst>
              <a:ext uri="{FF2B5EF4-FFF2-40B4-BE49-F238E27FC236}">
                <a16:creationId xmlns:a16="http://schemas.microsoft.com/office/drawing/2014/main" id="{B0631F3F-D69C-4938-9C2D-8DBA1DF60BB1}"/>
              </a:ext>
            </a:extLst>
          </p:cNvPr>
          <p:cNvSpPr>
            <a:spLocks noGrp="1"/>
          </p:cNvSpPr>
          <p:nvPr>
            <p:ph type="body" idx="10" hasCustomPrompt="1"/>
          </p:nvPr>
        </p:nvSpPr>
        <p:spPr>
          <a:xfrm>
            <a:off x="6413267" y="722639"/>
            <a:ext cx="5405250" cy="324000"/>
          </a:xfrm>
          <a:prstGeom prst="rect">
            <a:avLst/>
          </a:prstGeom>
        </p:spPr>
        <p:txBody>
          <a:bodyPr lIns="0" tIns="0" rIns="0" bIns="0" anchor="t"/>
          <a:lstStyle>
            <a:lvl1pPr marL="0" indent="0">
              <a:lnSpc>
                <a:spcPct val="100000"/>
              </a:lnSpc>
              <a:spcBef>
                <a:spcPts val="0"/>
              </a:spcBef>
              <a:buNone/>
              <a:defRPr sz="2000" b="0">
                <a:solidFill>
                  <a:srgbClr val="000000"/>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err="1"/>
              <a:t>Subtitle</a:t>
            </a:r>
            <a:endParaRPr lang="es-ES" dirty="0"/>
          </a:p>
        </p:txBody>
      </p:sp>
      <p:sp>
        <p:nvSpPr>
          <p:cNvPr id="18" name="CuadroTexto 64">
            <a:extLst>
              <a:ext uri="{FF2B5EF4-FFF2-40B4-BE49-F238E27FC236}">
                <a16:creationId xmlns:a16="http://schemas.microsoft.com/office/drawing/2014/main" id="{7EEFB272-44BD-4440-81FD-B5BE8200048F}"/>
              </a:ext>
            </a:extLst>
          </p:cNvPr>
          <p:cNvSpPr txBox="1"/>
          <p:nvPr userDrawn="1"/>
        </p:nvSpPr>
        <p:spPr>
          <a:xfrm>
            <a:off x="10882303" y="6449284"/>
            <a:ext cx="936214" cy="138499"/>
          </a:xfrm>
          <a:prstGeom prst="rect">
            <a:avLst/>
          </a:prstGeom>
          <a:noFill/>
        </p:spPr>
        <p:txBody>
          <a:bodyPr wrap="square" lIns="0" tIns="0" rIns="0" bIns="0" rtlCol="0">
            <a:spAutoFit/>
          </a:bodyPr>
          <a:lstStyle/>
          <a:p>
            <a:pPr algn="r"/>
            <a:fld id="{A4EEDD72-1D6A-6B46-BCFA-C211F73E9379}" type="slidenum">
              <a:rPr lang="es-ES" sz="900" b="1" smtClean="0">
                <a:solidFill>
                  <a:srgbClr val="DA291C"/>
                </a:solidFill>
                <a:latin typeface="+mj-lt"/>
                <a:ea typeface="Verdana" panose="020B0604030504040204" pitchFamily="34" charset="0"/>
                <a:cs typeface="Verdana" panose="020B0604030504040204" pitchFamily="34" charset="0"/>
              </a:rPr>
              <a:pPr algn="r"/>
              <a:t>‹N›</a:t>
            </a:fld>
            <a:endParaRPr lang="es-ES" sz="900" b="1" dirty="0">
              <a:solidFill>
                <a:srgbClr val="DA291C"/>
              </a:solidFill>
              <a:latin typeface="+mj-lt"/>
              <a:ea typeface="Verdana" panose="020B0604030504040204" pitchFamily="34" charset="0"/>
              <a:cs typeface="Verdana" panose="020B0604030504040204" pitchFamily="34" charset="0"/>
            </a:endParaRPr>
          </a:p>
        </p:txBody>
      </p:sp>
      <p:sp>
        <p:nvSpPr>
          <p:cNvPr id="9" name="Title 8">
            <a:extLst>
              <a:ext uri="{FF2B5EF4-FFF2-40B4-BE49-F238E27FC236}">
                <a16:creationId xmlns:a16="http://schemas.microsoft.com/office/drawing/2014/main" id="{965B48A6-C16F-42F8-ABA4-E292AD3ADAB5}"/>
              </a:ext>
            </a:extLst>
          </p:cNvPr>
          <p:cNvSpPr>
            <a:spLocks noGrp="1"/>
          </p:cNvSpPr>
          <p:nvPr>
            <p:ph type="title"/>
          </p:nvPr>
        </p:nvSpPr>
        <p:spPr>
          <a:xfrm>
            <a:off x="6413267" y="252000"/>
            <a:ext cx="5405250" cy="432000"/>
          </a:xfrm>
        </p:spPr>
        <p:txBody>
          <a:bodyPr/>
          <a:lstStyle/>
          <a:p>
            <a:r>
              <a:rPr lang="en-US" dirty="0"/>
              <a:t>Click to edit Master title style</a:t>
            </a:r>
          </a:p>
        </p:txBody>
      </p:sp>
      <p:pic>
        <p:nvPicPr>
          <p:cNvPr id="14" name="Graphic 10">
            <a:extLst>
              <a:ext uri="{FF2B5EF4-FFF2-40B4-BE49-F238E27FC236}">
                <a16:creationId xmlns:a16="http://schemas.microsoft.com/office/drawing/2014/main" id="{76EEEB64-79A9-4166-8CB0-4B981D781095}"/>
              </a:ext>
            </a:extLst>
          </p:cNvPr>
          <p:cNvPicPr>
            <a:picLocks noChangeAspect="1"/>
          </p:cNvPicPr>
          <p:nvPr userDrawn="1"/>
        </p:nvPicPr>
        <p:blipFill>
          <a:blip r:embed="rId7" cstate="email">
            <a:lum bright="100000"/>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70517" y="6420188"/>
            <a:ext cx="675863" cy="162467"/>
          </a:xfrm>
          <a:prstGeom prst="rect">
            <a:avLst/>
          </a:prstGeom>
        </p:spPr>
      </p:pic>
      <p:sp>
        <p:nvSpPr>
          <p:cNvPr id="19" name="Text Placeholder 7">
            <a:extLst>
              <a:ext uri="{FF2B5EF4-FFF2-40B4-BE49-F238E27FC236}">
                <a16:creationId xmlns:a16="http://schemas.microsoft.com/office/drawing/2014/main" id="{21E41751-3A54-44D7-B054-DDA29617390A}"/>
              </a:ext>
            </a:extLst>
          </p:cNvPr>
          <p:cNvSpPr>
            <a:spLocks noGrp="1"/>
          </p:cNvSpPr>
          <p:nvPr>
            <p:ph type="body" sz="quarter" idx="20"/>
          </p:nvPr>
        </p:nvSpPr>
        <p:spPr>
          <a:xfrm>
            <a:off x="6414224" y="1399564"/>
            <a:ext cx="5404293" cy="1738656"/>
          </a:xfrm>
        </p:spPr>
        <p:txBody>
          <a:bodyPr/>
          <a:lstStyle>
            <a:lvl1pPr>
              <a:defRPr sz="1400"/>
            </a:lvl1pPr>
          </a:lstStyle>
          <a:p>
            <a:pPr lvl="0"/>
            <a:r>
              <a:rPr lang="en-US" dirty="0"/>
              <a:t>Click to edit Master text styles</a:t>
            </a:r>
          </a:p>
        </p:txBody>
      </p:sp>
      <p:sp>
        <p:nvSpPr>
          <p:cNvPr id="16" name="Text Placeholder 12" descr="Body text will be presented like this">
            <a:extLst>
              <a:ext uri="{FF2B5EF4-FFF2-40B4-BE49-F238E27FC236}">
                <a16:creationId xmlns:a16="http://schemas.microsoft.com/office/drawing/2014/main" id="{C1088BCB-9554-4EBB-A099-833C4F7DD392}"/>
              </a:ext>
            </a:extLst>
          </p:cNvPr>
          <p:cNvSpPr>
            <a:spLocks noGrp="1"/>
          </p:cNvSpPr>
          <p:nvPr>
            <p:ph type="body" sz="quarter" idx="14" hasCustomPrompt="1"/>
          </p:nvPr>
        </p:nvSpPr>
        <p:spPr>
          <a:xfrm>
            <a:off x="6990487" y="3719781"/>
            <a:ext cx="4828030" cy="872838"/>
          </a:xfrm>
          <a:prstGeom prst="rect">
            <a:avLst/>
          </a:prstGeom>
        </p:spPr>
        <p:txBody>
          <a:bodyPr wrap="square" lIns="0" tIns="0" rIns="0" bIns="0"/>
          <a:lstStyle>
            <a:lvl1pPr marL="0" indent="0" algn="l">
              <a:lnSpc>
                <a:spcPct val="110000"/>
              </a:lnSpc>
              <a:spcBef>
                <a:spcPts val="0"/>
              </a:spcBef>
              <a:buNone/>
              <a:defRPr sz="1400" b="0">
                <a:latin typeface="+mn-lt"/>
              </a:defRPr>
            </a:lvl1pPr>
            <a:lvl2pPr marL="0" indent="0">
              <a:lnSpc>
                <a:spcPct val="120000"/>
              </a:lnSpc>
              <a:defRPr sz="1200"/>
            </a:lvl2pPr>
            <a:lvl3pPr>
              <a:defRPr sz="1600"/>
            </a:lvl3pPr>
            <a:lvl4pPr>
              <a:defRPr sz="1600"/>
            </a:lvl4pPr>
            <a:lvl5pPr>
              <a:defRPr sz="1600"/>
            </a:lvl5pPr>
          </a:lstStyle>
          <a:p>
            <a:pPr lvl="0"/>
            <a:r>
              <a:rPr lang="en-US" dirty="0"/>
              <a:t>Click to edit Master text styles</a:t>
            </a:r>
          </a:p>
        </p:txBody>
      </p:sp>
      <p:sp>
        <p:nvSpPr>
          <p:cNvPr id="17" name="Marcador de texto 5">
            <a:extLst>
              <a:ext uri="{FF2B5EF4-FFF2-40B4-BE49-F238E27FC236}">
                <a16:creationId xmlns:a16="http://schemas.microsoft.com/office/drawing/2014/main" id="{6E67A482-664C-45B5-8E90-D6D80334C8D7}"/>
              </a:ext>
            </a:extLst>
          </p:cNvPr>
          <p:cNvSpPr>
            <a:spLocks noGrp="1"/>
          </p:cNvSpPr>
          <p:nvPr>
            <p:ph type="body" sz="quarter" idx="28" hasCustomPrompt="1"/>
          </p:nvPr>
        </p:nvSpPr>
        <p:spPr>
          <a:xfrm>
            <a:off x="6990487" y="3352580"/>
            <a:ext cx="4828030" cy="322607"/>
          </a:xfrm>
          <a:prstGeom prst="rect">
            <a:avLst/>
          </a:prstGeom>
        </p:spPr>
        <p:txBody>
          <a:bodyPr lIns="0" tIns="0" rIns="0" bIns="0"/>
          <a:lstStyle>
            <a:lvl1pPr marL="0" indent="0" algn="l">
              <a:lnSpc>
                <a:spcPct val="110000"/>
              </a:lnSpc>
              <a:buNone/>
              <a:defRPr sz="1600" b="1">
                <a:latin typeface="+mj-lt"/>
              </a:defRPr>
            </a:lvl1pPr>
            <a:lvl2pPr indent="0">
              <a:lnSpc>
                <a:spcPct val="110000"/>
              </a:lnSpc>
              <a:buNone/>
              <a:defRPr sz="1000" b="1">
                <a:latin typeface="+mj-lt"/>
              </a:defRPr>
            </a:lvl2pPr>
            <a:lvl3pPr indent="0">
              <a:lnSpc>
                <a:spcPct val="110000"/>
              </a:lnSpc>
              <a:buNone/>
              <a:defRPr sz="1000" b="1">
                <a:latin typeface="+mj-lt"/>
              </a:defRPr>
            </a:lvl3pPr>
            <a:lvl4pPr indent="0">
              <a:lnSpc>
                <a:spcPct val="110000"/>
              </a:lnSpc>
              <a:buNone/>
              <a:defRPr sz="1000" b="1">
                <a:latin typeface="+mj-lt"/>
              </a:defRPr>
            </a:lvl4pPr>
            <a:lvl5pPr indent="0">
              <a:lnSpc>
                <a:spcPct val="110000"/>
              </a:lnSpc>
              <a:buNone/>
              <a:defRPr sz="1000" b="1">
                <a:latin typeface="+mj-lt"/>
              </a:defRPr>
            </a:lvl5pPr>
          </a:lstStyle>
          <a:p>
            <a:pPr lvl="0"/>
            <a:r>
              <a:rPr lang="es-ES" dirty="0" err="1"/>
              <a:t>Title</a:t>
            </a:r>
            <a:endParaRPr lang="en-GB" dirty="0"/>
          </a:p>
        </p:txBody>
      </p:sp>
      <p:sp>
        <p:nvSpPr>
          <p:cNvPr id="21" name="Text Placeholder 12" descr="Body text will be presented like this">
            <a:extLst>
              <a:ext uri="{FF2B5EF4-FFF2-40B4-BE49-F238E27FC236}">
                <a16:creationId xmlns:a16="http://schemas.microsoft.com/office/drawing/2014/main" id="{D61D985A-8504-4CB2-B6CD-745450D27CAE}"/>
              </a:ext>
            </a:extLst>
          </p:cNvPr>
          <p:cNvSpPr>
            <a:spLocks noGrp="1"/>
          </p:cNvSpPr>
          <p:nvPr>
            <p:ph type="body" sz="quarter" idx="29" hasCustomPrompt="1"/>
          </p:nvPr>
        </p:nvSpPr>
        <p:spPr>
          <a:xfrm>
            <a:off x="6990487" y="5263556"/>
            <a:ext cx="4828030" cy="872838"/>
          </a:xfrm>
          <a:prstGeom prst="rect">
            <a:avLst/>
          </a:prstGeom>
        </p:spPr>
        <p:txBody>
          <a:bodyPr wrap="square" lIns="0" tIns="0" rIns="0" bIns="0"/>
          <a:lstStyle>
            <a:lvl1pPr marL="0" indent="0" algn="l">
              <a:lnSpc>
                <a:spcPct val="110000"/>
              </a:lnSpc>
              <a:spcBef>
                <a:spcPts val="0"/>
              </a:spcBef>
              <a:buNone/>
              <a:defRPr sz="1400" b="0">
                <a:latin typeface="+mn-lt"/>
              </a:defRPr>
            </a:lvl1pPr>
            <a:lvl2pPr marL="0" indent="0">
              <a:lnSpc>
                <a:spcPct val="120000"/>
              </a:lnSpc>
              <a:defRPr sz="1200"/>
            </a:lvl2pPr>
            <a:lvl3pPr>
              <a:defRPr sz="1600"/>
            </a:lvl3pPr>
            <a:lvl4pPr>
              <a:defRPr sz="1600"/>
            </a:lvl4pPr>
            <a:lvl5pPr>
              <a:defRPr sz="1600"/>
            </a:lvl5pPr>
          </a:lstStyle>
          <a:p>
            <a:pPr lvl="0"/>
            <a:r>
              <a:rPr lang="en-US" dirty="0"/>
              <a:t>Click to edit Master text styles</a:t>
            </a:r>
          </a:p>
        </p:txBody>
      </p:sp>
      <p:sp>
        <p:nvSpPr>
          <p:cNvPr id="22" name="Marcador de texto 5">
            <a:extLst>
              <a:ext uri="{FF2B5EF4-FFF2-40B4-BE49-F238E27FC236}">
                <a16:creationId xmlns:a16="http://schemas.microsoft.com/office/drawing/2014/main" id="{FAAA81E0-69A3-4760-8F0C-2469611F9FEF}"/>
              </a:ext>
            </a:extLst>
          </p:cNvPr>
          <p:cNvSpPr>
            <a:spLocks noGrp="1"/>
          </p:cNvSpPr>
          <p:nvPr>
            <p:ph type="body" sz="quarter" idx="30" hasCustomPrompt="1"/>
          </p:nvPr>
        </p:nvSpPr>
        <p:spPr>
          <a:xfrm>
            <a:off x="6990487" y="4896355"/>
            <a:ext cx="4828030" cy="322607"/>
          </a:xfrm>
          <a:prstGeom prst="rect">
            <a:avLst/>
          </a:prstGeom>
        </p:spPr>
        <p:txBody>
          <a:bodyPr lIns="0" tIns="0" rIns="0" bIns="0"/>
          <a:lstStyle>
            <a:lvl1pPr marL="0" indent="0" algn="l">
              <a:lnSpc>
                <a:spcPct val="110000"/>
              </a:lnSpc>
              <a:buNone/>
              <a:defRPr sz="1600" b="1">
                <a:latin typeface="+mj-lt"/>
              </a:defRPr>
            </a:lvl1pPr>
            <a:lvl2pPr indent="0">
              <a:lnSpc>
                <a:spcPct val="110000"/>
              </a:lnSpc>
              <a:buNone/>
              <a:defRPr sz="1000" b="1">
                <a:latin typeface="+mj-lt"/>
              </a:defRPr>
            </a:lvl2pPr>
            <a:lvl3pPr indent="0">
              <a:lnSpc>
                <a:spcPct val="110000"/>
              </a:lnSpc>
              <a:buNone/>
              <a:defRPr sz="1000" b="1">
                <a:latin typeface="+mj-lt"/>
              </a:defRPr>
            </a:lvl3pPr>
            <a:lvl4pPr indent="0">
              <a:lnSpc>
                <a:spcPct val="110000"/>
              </a:lnSpc>
              <a:buNone/>
              <a:defRPr sz="1000" b="1">
                <a:latin typeface="+mj-lt"/>
              </a:defRPr>
            </a:lvl4pPr>
            <a:lvl5pPr indent="0">
              <a:lnSpc>
                <a:spcPct val="110000"/>
              </a:lnSpc>
              <a:buNone/>
              <a:defRPr sz="1000" b="1">
                <a:latin typeface="+mj-lt"/>
              </a:defRPr>
            </a:lvl5pPr>
          </a:lstStyle>
          <a:p>
            <a:pPr lvl="0"/>
            <a:r>
              <a:rPr lang="es-ES" dirty="0" err="1"/>
              <a:t>Title</a:t>
            </a:r>
            <a:endParaRPr lang="en-GB" dirty="0"/>
          </a:p>
        </p:txBody>
      </p:sp>
      <p:sp>
        <p:nvSpPr>
          <p:cNvPr id="20" name="Rectangle 19">
            <a:extLst>
              <a:ext uri="{FF2B5EF4-FFF2-40B4-BE49-F238E27FC236}">
                <a16:creationId xmlns:a16="http://schemas.microsoft.com/office/drawing/2014/main" id="{95140101-97EA-4ECF-9329-A2FC5E90F346}"/>
              </a:ext>
            </a:extLst>
          </p:cNvPr>
          <p:cNvSpPr/>
          <p:nvPr userDrawn="1"/>
        </p:nvSpPr>
        <p:spPr>
          <a:xfrm>
            <a:off x="3051745"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3" name="Rectangle 22">
            <a:extLst>
              <a:ext uri="{FF2B5EF4-FFF2-40B4-BE49-F238E27FC236}">
                <a16:creationId xmlns:a16="http://schemas.microsoft.com/office/drawing/2014/main" id="{38746B6C-EB9A-4FE9-86D4-F3C9E4686CF7}"/>
              </a:ext>
            </a:extLst>
          </p:cNvPr>
          <p:cNvSpPr/>
          <p:nvPr userDrawn="1"/>
        </p:nvSpPr>
        <p:spPr>
          <a:xfrm>
            <a:off x="7490"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5" name="Rectangle 24">
            <a:extLst>
              <a:ext uri="{FF2B5EF4-FFF2-40B4-BE49-F238E27FC236}">
                <a16:creationId xmlns:a16="http://schemas.microsoft.com/office/drawing/2014/main" id="{EEFFEB34-DC8C-48D3-A44B-077E17C87438}"/>
              </a:ext>
            </a:extLst>
          </p:cNvPr>
          <p:cNvSpPr/>
          <p:nvPr userDrawn="1"/>
        </p:nvSpPr>
        <p:spPr>
          <a:xfrm>
            <a:off x="9149414"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6" name="Rectangle 25">
            <a:extLst>
              <a:ext uri="{FF2B5EF4-FFF2-40B4-BE49-F238E27FC236}">
                <a16:creationId xmlns:a16="http://schemas.microsoft.com/office/drawing/2014/main" id="{D53FB71E-88C9-401C-A002-7B2E116B3E86}"/>
              </a:ext>
            </a:extLst>
          </p:cNvPr>
          <p:cNvSpPr/>
          <p:nvPr userDrawn="1"/>
        </p:nvSpPr>
        <p:spPr>
          <a:xfrm>
            <a:off x="6105159"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Tree>
    <p:extLst>
      <p:ext uri="{BB962C8B-B14F-4D97-AF65-F5344CB8AC3E}">
        <p14:creationId xmlns:p14="http://schemas.microsoft.com/office/powerpoint/2010/main" val="348940979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Subsection with text + image">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BF29E734-210D-BC45-815B-FC427C40A195}"/>
              </a:ext>
            </a:extLst>
          </p:cNvPr>
          <p:cNvSpPr/>
          <p:nvPr userDrawn="1"/>
        </p:nvSpPr>
        <p:spPr>
          <a:xfrm>
            <a:off x="6096001" y="0"/>
            <a:ext cx="6096000" cy="6858000"/>
          </a:xfrm>
          <a:prstGeom prst="rect">
            <a:avLst/>
          </a:prstGeom>
          <a:gradFill>
            <a:gsLst>
              <a:gs pos="0">
                <a:schemeClr val="accent1"/>
              </a:gs>
              <a:gs pos="100000">
                <a:schemeClr val="accent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accent4"/>
              </a:solidFill>
            </a:endParaRPr>
          </a:p>
        </p:txBody>
      </p:sp>
      <p:sp>
        <p:nvSpPr>
          <p:cNvPr id="24" name="Marcador de posición de imagen 2">
            <a:extLst>
              <a:ext uri="{FF2B5EF4-FFF2-40B4-BE49-F238E27FC236}">
                <a16:creationId xmlns:a16="http://schemas.microsoft.com/office/drawing/2014/main" id="{263E57D1-5D12-4810-ABBA-4AD821FCD289}"/>
              </a:ext>
            </a:extLst>
          </p:cNvPr>
          <p:cNvSpPr>
            <a:spLocks noGrp="1"/>
          </p:cNvSpPr>
          <p:nvPr>
            <p:ph type="pic" sz="quarter" idx="12" hasCustomPrompt="1"/>
          </p:nvPr>
        </p:nvSpPr>
        <p:spPr>
          <a:xfrm>
            <a:off x="6096001" y="-9397"/>
            <a:ext cx="6107561" cy="6875162"/>
          </a:xfrm>
          <a:custGeom>
            <a:avLst/>
            <a:gdLst>
              <a:gd name="connsiteX0" fmla="*/ 0 w 6086574"/>
              <a:gd name="connsiteY0" fmla="*/ 0 h 6858000"/>
              <a:gd name="connsiteX1" fmla="*/ 6086574 w 6086574"/>
              <a:gd name="connsiteY1" fmla="*/ 0 h 6858000"/>
              <a:gd name="connsiteX2" fmla="*/ 6086574 w 6086574"/>
              <a:gd name="connsiteY2" fmla="*/ 6858000 h 6858000"/>
              <a:gd name="connsiteX3" fmla="*/ 0 w 6086574"/>
              <a:gd name="connsiteY3" fmla="*/ 6858000 h 6858000"/>
              <a:gd name="connsiteX4" fmla="*/ 0 w 6086574"/>
              <a:gd name="connsiteY4" fmla="*/ 0 h 6858000"/>
              <a:gd name="connsiteX0" fmla="*/ 0 w 6108346"/>
              <a:gd name="connsiteY0" fmla="*/ 0 h 6858000"/>
              <a:gd name="connsiteX1" fmla="*/ 6086574 w 6108346"/>
              <a:gd name="connsiteY1" fmla="*/ 0 h 6858000"/>
              <a:gd name="connsiteX2" fmla="*/ 6108346 w 6108346"/>
              <a:gd name="connsiteY2" fmla="*/ 6858000 h 6858000"/>
              <a:gd name="connsiteX3" fmla="*/ 0 w 6108346"/>
              <a:gd name="connsiteY3" fmla="*/ 6858000 h 6858000"/>
              <a:gd name="connsiteX4" fmla="*/ 0 w 6108346"/>
              <a:gd name="connsiteY4" fmla="*/ 0 h 6858000"/>
              <a:gd name="connsiteX0" fmla="*/ 0 w 6108346"/>
              <a:gd name="connsiteY0" fmla="*/ 16329 h 6874329"/>
              <a:gd name="connsiteX1" fmla="*/ 6097459 w 6108346"/>
              <a:gd name="connsiteY1" fmla="*/ 0 h 6874329"/>
              <a:gd name="connsiteX2" fmla="*/ 6108346 w 6108346"/>
              <a:gd name="connsiteY2" fmla="*/ 6874329 h 6874329"/>
              <a:gd name="connsiteX3" fmla="*/ 0 w 6108346"/>
              <a:gd name="connsiteY3" fmla="*/ 6874329 h 6874329"/>
              <a:gd name="connsiteX4" fmla="*/ 0 w 6108346"/>
              <a:gd name="connsiteY4" fmla="*/ 16329 h 6874329"/>
              <a:gd name="connsiteX0" fmla="*/ 0 w 6108346"/>
              <a:gd name="connsiteY0" fmla="*/ 8709 h 6866709"/>
              <a:gd name="connsiteX1" fmla="*/ 6105079 w 6108346"/>
              <a:gd name="connsiteY1" fmla="*/ 0 h 6866709"/>
              <a:gd name="connsiteX2" fmla="*/ 6108346 w 6108346"/>
              <a:gd name="connsiteY2" fmla="*/ 6866709 h 6866709"/>
              <a:gd name="connsiteX3" fmla="*/ 0 w 6108346"/>
              <a:gd name="connsiteY3" fmla="*/ 6866709 h 6866709"/>
              <a:gd name="connsiteX4" fmla="*/ 0 w 6108346"/>
              <a:gd name="connsiteY4" fmla="*/ 8709 h 6866709"/>
              <a:gd name="connsiteX0" fmla="*/ 0 w 6106531"/>
              <a:gd name="connsiteY0" fmla="*/ 8709 h 6866709"/>
              <a:gd name="connsiteX1" fmla="*/ 6105079 w 6106531"/>
              <a:gd name="connsiteY1" fmla="*/ 0 h 6866709"/>
              <a:gd name="connsiteX2" fmla="*/ 6096916 w 6106531"/>
              <a:gd name="connsiteY2" fmla="*/ 6862899 h 6866709"/>
              <a:gd name="connsiteX3" fmla="*/ 0 w 6106531"/>
              <a:gd name="connsiteY3" fmla="*/ 6866709 h 6866709"/>
              <a:gd name="connsiteX4" fmla="*/ 0 w 6106531"/>
              <a:gd name="connsiteY4" fmla="*/ 8709 h 6866709"/>
              <a:gd name="connsiteX0" fmla="*/ 0 w 6106933"/>
              <a:gd name="connsiteY0" fmla="*/ 8709 h 6874474"/>
              <a:gd name="connsiteX1" fmla="*/ 6105079 w 6106933"/>
              <a:gd name="connsiteY1" fmla="*/ 0 h 6874474"/>
              <a:gd name="connsiteX2" fmla="*/ 6102704 w 6106933"/>
              <a:gd name="connsiteY2" fmla="*/ 6874474 h 6874474"/>
              <a:gd name="connsiteX3" fmla="*/ 0 w 6106933"/>
              <a:gd name="connsiteY3" fmla="*/ 6866709 h 6874474"/>
              <a:gd name="connsiteX4" fmla="*/ 0 w 6106933"/>
              <a:gd name="connsiteY4" fmla="*/ 8709 h 6874474"/>
              <a:gd name="connsiteX0" fmla="*/ 0 w 6117848"/>
              <a:gd name="connsiteY0" fmla="*/ 20283 h 6886048"/>
              <a:gd name="connsiteX1" fmla="*/ 6116653 w 6117848"/>
              <a:gd name="connsiteY1" fmla="*/ 0 h 6886048"/>
              <a:gd name="connsiteX2" fmla="*/ 6102704 w 6117848"/>
              <a:gd name="connsiteY2" fmla="*/ 6886048 h 6886048"/>
              <a:gd name="connsiteX3" fmla="*/ 0 w 6117848"/>
              <a:gd name="connsiteY3" fmla="*/ 6878283 h 6886048"/>
              <a:gd name="connsiteX4" fmla="*/ 0 w 6117848"/>
              <a:gd name="connsiteY4" fmla="*/ 20283 h 6886048"/>
              <a:gd name="connsiteX0" fmla="*/ 0 w 6107561"/>
              <a:gd name="connsiteY0" fmla="*/ 9397 h 6875162"/>
              <a:gd name="connsiteX1" fmla="*/ 6105767 w 6107561"/>
              <a:gd name="connsiteY1" fmla="*/ 0 h 6875162"/>
              <a:gd name="connsiteX2" fmla="*/ 6102704 w 6107561"/>
              <a:gd name="connsiteY2" fmla="*/ 6875162 h 6875162"/>
              <a:gd name="connsiteX3" fmla="*/ 0 w 6107561"/>
              <a:gd name="connsiteY3" fmla="*/ 6867397 h 6875162"/>
              <a:gd name="connsiteX4" fmla="*/ 0 w 6107561"/>
              <a:gd name="connsiteY4" fmla="*/ 9397 h 68751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07561" h="6875162">
                <a:moveTo>
                  <a:pt x="0" y="9397"/>
                </a:moveTo>
                <a:lnTo>
                  <a:pt x="6105767" y="0"/>
                </a:lnTo>
                <a:cubicBezTo>
                  <a:pt x="6113024" y="2286000"/>
                  <a:pt x="6095447" y="4589162"/>
                  <a:pt x="6102704" y="6875162"/>
                </a:cubicBezTo>
                <a:lnTo>
                  <a:pt x="0" y="6867397"/>
                </a:lnTo>
                <a:lnTo>
                  <a:pt x="0" y="9397"/>
                </a:lnTo>
                <a:close/>
              </a:path>
            </a:pathLst>
          </a:custGeom>
        </p:spPr>
        <p:txBody>
          <a:bodyPr anchor="ctr"/>
          <a:lstStyle>
            <a:lvl1pPr marL="228600" marR="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a:solidFill>
                  <a:srgbClr val="FFFFFF"/>
                </a:solidFill>
              </a:defRPr>
            </a:lvl1pPr>
          </a:lstStyle>
          <a:p>
            <a:pPr marL="228600" marR="0" lvl="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Drag picture to placeholder </a:t>
            </a:r>
            <a:br>
              <a:rPr lang="en-US" dirty="0"/>
            </a:br>
            <a:r>
              <a:rPr lang="en-US" dirty="0"/>
              <a:t>or click icon to add</a:t>
            </a:r>
          </a:p>
        </p:txBody>
      </p:sp>
      <p:graphicFrame>
        <p:nvGraphicFramePr>
          <p:cNvPr id="3" name="Object 2" hidden="1">
            <a:extLst>
              <a:ext uri="{FF2B5EF4-FFF2-40B4-BE49-F238E27FC236}">
                <a16:creationId xmlns:a16="http://schemas.microsoft.com/office/drawing/2014/main" id="{C18526C9-16E3-4A1D-828A-4692734F055E}"/>
              </a:ext>
            </a:extLst>
          </p:cNvPr>
          <p:cNvGraphicFramePr>
            <a:graphicFrameLocks noChangeAspect="1"/>
          </p:cNvGraphicFramePr>
          <p:nvPr userDrawn="1">
            <p:custDataLst>
              <p:tags r:id="rId2"/>
            </p:custDataLst>
            <p:extLst>
              <p:ext uri="{D42A27DB-BD31-4B8C-83A1-F6EECF244321}">
                <p14:modId xmlns:p14="http://schemas.microsoft.com/office/powerpoint/2010/main" val="26813610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708" name="think-cell Slide" r:id="rId5" imgW="473" imgH="474" progId="TCLayout.ActiveDocument.1">
                  <p:embed/>
                </p:oleObj>
              </mc:Choice>
              <mc:Fallback>
                <p:oleObj name="think-cell Slide" r:id="rId5" imgW="473" imgH="474" progId="TCLayout.ActiveDocument.1">
                  <p:embed/>
                  <p:pic>
                    <p:nvPicPr>
                      <p:cNvPr id="3" name="Object 2" hidden="1">
                        <a:extLst>
                          <a:ext uri="{FF2B5EF4-FFF2-40B4-BE49-F238E27FC236}">
                            <a16:creationId xmlns:a16="http://schemas.microsoft.com/office/drawing/2014/main" id="{C18526C9-16E3-4A1D-828A-4692734F055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B2B384D-A05A-4439-838E-B66DA57DCB38}"/>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0" i="0" baseline="0" dirty="0">
              <a:latin typeface="Verdana" panose="020B0604030504040204" pitchFamily="34" charset="0"/>
              <a:ea typeface="+mj-ea"/>
              <a:cs typeface="+mj-cs"/>
              <a:sym typeface="Verdana" panose="020B0604030504040204" pitchFamily="34" charset="0"/>
            </a:endParaRPr>
          </a:p>
        </p:txBody>
      </p:sp>
      <p:sp>
        <p:nvSpPr>
          <p:cNvPr id="15" name="Marcador de texto 2">
            <a:extLst>
              <a:ext uri="{FF2B5EF4-FFF2-40B4-BE49-F238E27FC236}">
                <a16:creationId xmlns:a16="http://schemas.microsoft.com/office/drawing/2014/main" id="{B0631F3F-D69C-4938-9C2D-8DBA1DF60BB1}"/>
              </a:ext>
            </a:extLst>
          </p:cNvPr>
          <p:cNvSpPr>
            <a:spLocks noGrp="1"/>
          </p:cNvSpPr>
          <p:nvPr>
            <p:ph type="body" idx="10" hasCustomPrompt="1"/>
          </p:nvPr>
        </p:nvSpPr>
        <p:spPr>
          <a:xfrm>
            <a:off x="370518" y="722639"/>
            <a:ext cx="5405250" cy="324000"/>
          </a:xfrm>
          <a:prstGeom prst="rect">
            <a:avLst/>
          </a:prstGeom>
        </p:spPr>
        <p:txBody>
          <a:bodyPr lIns="0" tIns="0" rIns="0" bIns="0" anchor="t"/>
          <a:lstStyle>
            <a:lvl1pPr marL="0" indent="0">
              <a:lnSpc>
                <a:spcPct val="100000"/>
              </a:lnSpc>
              <a:spcBef>
                <a:spcPts val="0"/>
              </a:spcBef>
              <a:buNone/>
              <a:defRPr sz="2000" b="0">
                <a:solidFill>
                  <a:srgbClr val="000000"/>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err="1"/>
              <a:t>Subtitle</a:t>
            </a:r>
            <a:endParaRPr lang="es-ES" dirty="0"/>
          </a:p>
        </p:txBody>
      </p:sp>
      <p:sp>
        <p:nvSpPr>
          <p:cNvPr id="18" name="CuadroTexto 64">
            <a:extLst>
              <a:ext uri="{FF2B5EF4-FFF2-40B4-BE49-F238E27FC236}">
                <a16:creationId xmlns:a16="http://schemas.microsoft.com/office/drawing/2014/main" id="{7EEFB272-44BD-4440-81FD-B5BE8200048F}"/>
              </a:ext>
            </a:extLst>
          </p:cNvPr>
          <p:cNvSpPr txBox="1"/>
          <p:nvPr userDrawn="1"/>
        </p:nvSpPr>
        <p:spPr>
          <a:xfrm>
            <a:off x="10882303" y="6449284"/>
            <a:ext cx="936214" cy="138499"/>
          </a:xfrm>
          <a:prstGeom prst="rect">
            <a:avLst/>
          </a:prstGeom>
          <a:noFill/>
        </p:spPr>
        <p:txBody>
          <a:bodyPr wrap="square" lIns="0" tIns="0" rIns="0" bIns="0" rtlCol="0">
            <a:spAutoFit/>
          </a:bodyPr>
          <a:lstStyle/>
          <a:p>
            <a:pPr algn="r"/>
            <a:fld id="{A4EEDD72-1D6A-6B46-BCFA-C211F73E9379}" type="slidenum">
              <a:rPr lang="es-ES" sz="900" b="1" smtClean="0">
                <a:solidFill>
                  <a:schemeClr val="bg1"/>
                </a:solidFill>
                <a:latin typeface="+mj-lt"/>
                <a:ea typeface="Verdana" panose="020B0604030504040204" pitchFamily="34" charset="0"/>
                <a:cs typeface="Verdana" panose="020B0604030504040204" pitchFamily="34" charset="0"/>
              </a:rPr>
              <a:pPr algn="r"/>
              <a:t>‹N›</a:t>
            </a:fld>
            <a:endParaRPr lang="es-ES" sz="900" b="1" dirty="0">
              <a:solidFill>
                <a:schemeClr val="bg1"/>
              </a:solidFill>
              <a:latin typeface="+mj-lt"/>
              <a:ea typeface="Verdana" panose="020B0604030504040204" pitchFamily="34" charset="0"/>
              <a:cs typeface="Verdana" panose="020B0604030504040204" pitchFamily="34" charset="0"/>
            </a:endParaRPr>
          </a:p>
        </p:txBody>
      </p:sp>
      <p:sp>
        <p:nvSpPr>
          <p:cNvPr id="9" name="Title 8">
            <a:extLst>
              <a:ext uri="{FF2B5EF4-FFF2-40B4-BE49-F238E27FC236}">
                <a16:creationId xmlns:a16="http://schemas.microsoft.com/office/drawing/2014/main" id="{965B48A6-C16F-42F8-ABA4-E292AD3ADAB5}"/>
              </a:ext>
            </a:extLst>
          </p:cNvPr>
          <p:cNvSpPr>
            <a:spLocks noGrp="1"/>
          </p:cNvSpPr>
          <p:nvPr>
            <p:ph type="title"/>
          </p:nvPr>
        </p:nvSpPr>
        <p:spPr>
          <a:xfrm>
            <a:off x="370518" y="252000"/>
            <a:ext cx="5405250" cy="432000"/>
          </a:xfrm>
        </p:spPr>
        <p:txBody>
          <a:bodyPr/>
          <a:lstStyle/>
          <a:p>
            <a:r>
              <a:rPr lang="en-US" dirty="0"/>
              <a:t>Click to edit Master title style</a:t>
            </a:r>
          </a:p>
        </p:txBody>
      </p:sp>
      <p:pic>
        <p:nvPicPr>
          <p:cNvPr id="14" name="Graphic 10">
            <a:extLst>
              <a:ext uri="{FF2B5EF4-FFF2-40B4-BE49-F238E27FC236}">
                <a16:creationId xmlns:a16="http://schemas.microsoft.com/office/drawing/2014/main" id="{76EEEB64-79A9-4166-8CB0-4B981D781095}"/>
              </a:ext>
            </a:extLst>
          </p:cNvPr>
          <p:cNvPicPr>
            <a:picLocks noChangeAspect="1"/>
          </p:cNvPicPr>
          <p:nvPr userDrawn="1"/>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70517" y="6420188"/>
            <a:ext cx="675863" cy="162467"/>
          </a:xfrm>
          <a:prstGeom prst="rect">
            <a:avLst/>
          </a:prstGeom>
        </p:spPr>
      </p:pic>
      <p:sp>
        <p:nvSpPr>
          <p:cNvPr id="19" name="Text Placeholder 7">
            <a:extLst>
              <a:ext uri="{FF2B5EF4-FFF2-40B4-BE49-F238E27FC236}">
                <a16:creationId xmlns:a16="http://schemas.microsoft.com/office/drawing/2014/main" id="{21E41751-3A54-44D7-B054-DDA29617390A}"/>
              </a:ext>
            </a:extLst>
          </p:cNvPr>
          <p:cNvSpPr>
            <a:spLocks noGrp="1"/>
          </p:cNvSpPr>
          <p:nvPr>
            <p:ph type="body" sz="quarter" idx="20"/>
          </p:nvPr>
        </p:nvSpPr>
        <p:spPr>
          <a:xfrm>
            <a:off x="371475" y="3173979"/>
            <a:ext cx="5404293" cy="1738656"/>
          </a:xfrm>
        </p:spPr>
        <p:txBody>
          <a:bodyPr/>
          <a:lstStyle>
            <a:lvl1pPr>
              <a:defRPr sz="1400"/>
            </a:lvl1pPr>
          </a:lstStyle>
          <a:p>
            <a:pPr lvl="0"/>
            <a:r>
              <a:rPr lang="en-US" dirty="0"/>
              <a:t>Click to edit Master text styles</a:t>
            </a:r>
          </a:p>
        </p:txBody>
      </p:sp>
      <p:sp>
        <p:nvSpPr>
          <p:cNvPr id="20" name="Marcador de texto 5">
            <a:extLst>
              <a:ext uri="{FF2B5EF4-FFF2-40B4-BE49-F238E27FC236}">
                <a16:creationId xmlns:a16="http://schemas.microsoft.com/office/drawing/2014/main" id="{10718DDE-7E26-4940-95D1-5062B930F85D}"/>
              </a:ext>
            </a:extLst>
          </p:cNvPr>
          <p:cNvSpPr>
            <a:spLocks noGrp="1"/>
          </p:cNvSpPr>
          <p:nvPr>
            <p:ph type="body" sz="quarter" idx="21" hasCustomPrompt="1"/>
          </p:nvPr>
        </p:nvSpPr>
        <p:spPr>
          <a:xfrm>
            <a:off x="371475" y="2191553"/>
            <a:ext cx="2463133" cy="787206"/>
          </a:xfrm>
          <a:prstGeom prst="rect">
            <a:avLst/>
          </a:prstGeom>
        </p:spPr>
        <p:txBody>
          <a:bodyPr lIns="0" tIns="0" rIns="0" bIns="0"/>
          <a:lstStyle>
            <a:lvl1pPr algn="l">
              <a:buNone/>
              <a:defRPr sz="6000" b="1">
                <a:solidFill>
                  <a:schemeClr val="accent1"/>
                </a:solidFill>
              </a:defRPr>
            </a:lvl1pPr>
            <a:lvl2pPr>
              <a:buNone/>
              <a:defRPr/>
            </a:lvl2pPr>
            <a:lvl3pPr>
              <a:buNone/>
              <a:defRPr/>
            </a:lvl3pPr>
            <a:lvl4pPr>
              <a:buNone/>
              <a:defRPr/>
            </a:lvl4pPr>
            <a:lvl5pPr>
              <a:buNone/>
              <a:defRPr/>
            </a:lvl5pPr>
          </a:lstStyle>
          <a:p>
            <a:pPr lvl="0"/>
            <a:r>
              <a:rPr lang="es-ES" dirty="0"/>
              <a:t>#</a:t>
            </a:r>
            <a:endParaRPr lang="en-GB" dirty="0"/>
          </a:p>
        </p:txBody>
      </p:sp>
      <p:sp>
        <p:nvSpPr>
          <p:cNvPr id="12" name="Rectangle 11">
            <a:extLst>
              <a:ext uri="{FF2B5EF4-FFF2-40B4-BE49-F238E27FC236}">
                <a16:creationId xmlns:a16="http://schemas.microsoft.com/office/drawing/2014/main" id="{11BFABD9-71A4-48AC-B9A0-500C0C30BF49}"/>
              </a:ext>
            </a:extLst>
          </p:cNvPr>
          <p:cNvSpPr/>
          <p:nvPr userDrawn="1"/>
        </p:nvSpPr>
        <p:spPr>
          <a:xfrm>
            <a:off x="3051745"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3" name="Rectangle 12">
            <a:extLst>
              <a:ext uri="{FF2B5EF4-FFF2-40B4-BE49-F238E27FC236}">
                <a16:creationId xmlns:a16="http://schemas.microsoft.com/office/drawing/2014/main" id="{F4230991-F8D8-4785-8DDA-F77C8CC87108}"/>
              </a:ext>
            </a:extLst>
          </p:cNvPr>
          <p:cNvSpPr/>
          <p:nvPr userDrawn="1"/>
        </p:nvSpPr>
        <p:spPr>
          <a:xfrm>
            <a:off x="7490"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6" name="Rectangle 15">
            <a:extLst>
              <a:ext uri="{FF2B5EF4-FFF2-40B4-BE49-F238E27FC236}">
                <a16:creationId xmlns:a16="http://schemas.microsoft.com/office/drawing/2014/main" id="{6B304BAA-175E-417F-8278-A4011D20009B}"/>
              </a:ext>
            </a:extLst>
          </p:cNvPr>
          <p:cNvSpPr/>
          <p:nvPr userDrawn="1"/>
        </p:nvSpPr>
        <p:spPr>
          <a:xfrm>
            <a:off x="9149414"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7" name="Rectangle 16">
            <a:extLst>
              <a:ext uri="{FF2B5EF4-FFF2-40B4-BE49-F238E27FC236}">
                <a16:creationId xmlns:a16="http://schemas.microsoft.com/office/drawing/2014/main" id="{20A909DC-1B75-4621-AFCC-D3327A7C3D85}"/>
              </a:ext>
            </a:extLst>
          </p:cNvPr>
          <p:cNvSpPr/>
          <p:nvPr userDrawn="1"/>
        </p:nvSpPr>
        <p:spPr>
          <a:xfrm>
            <a:off x="6105159"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Tree>
    <p:extLst>
      <p:ext uri="{BB962C8B-B14F-4D97-AF65-F5344CB8AC3E}">
        <p14:creationId xmlns:p14="http://schemas.microsoft.com/office/powerpoint/2010/main" val="181267445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1_Subsection with text + image">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BF29E734-210D-BC45-815B-FC427C40A195}"/>
              </a:ext>
            </a:extLst>
          </p:cNvPr>
          <p:cNvSpPr/>
          <p:nvPr userDrawn="1"/>
        </p:nvSpPr>
        <p:spPr>
          <a:xfrm>
            <a:off x="0" y="0"/>
            <a:ext cx="6105159" cy="6858000"/>
          </a:xfrm>
          <a:prstGeom prst="rect">
            <a:avLst/>
          </a:prstGeom>
          <a:gradFill>
            <a:gsLst>
              <a:gs pos="0">
                <a:schemeClr val="accent1"/>
              </a:gs>
              <a:gs pos="100000">
                <a:schemeClr val="accent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accent4"/>
              </a:solidFill>
            </a:endParaRPr>
          </a:p>
        </p:txBody>
      </p:sp>
      <p:sp>
        <p:nvSpPr>
          <p:cNvPr id="24" name="Marcador de posición de imagen 2">
            <a:extLst>
              <a:ext uri="{FF2B5EF4-FFF2-40B4-BE49-F238E27FC236}">
                <a16:creationId xmlns:a16="http://schemas.microsoft.com/office/drawing/2014/main" id="{263E57D1-5D12-4810-ABBA-4AD821FCD289}"/>
              </a:ext>
            </a:extLst>
          </p:cNvPr>
          <p:cNvSpPr>
            <a:spLocks noGrp="1"/>
          </p:cNvSpPr>
          <p:nvPr>
            <p:ph type="pic" sz="quarter" idx="12" hasCustomPrompt="1"/>
          </p:nvPr>
        </p:nvSpPr>
        <p:spPr>
          <a:xfrm>
            <a:off x="-7604" y="0"/>
            <a:ext cx="6113031" cy="6858000"/>
          </a:xfrm>
          <a:custGeom>
            <a:avLst/>
            <a:gdLst>
              <a:gd name="connsiteX0" fmla="*/ 0 w 6086574"/>
              <a:gd name="connsiteY0" fmla="*/ 0 h 6858000"/>
              <a:gd name="connsiteX1" fmla="*/ 6086574 w 6086574"/>
              <a:gd name="connsiteY1" fmla="*/ 0 h 6858000"/>
              <a:gd name="connsiteX2" fmla="*/ 6086574 w 6086574"/>
              <a:gd name="connsiteY2" fmla="*/ 6858000 h 6858000"/>
              <a:gd name="connsiteX3" fmla="*/ 0 w 6086574"/>
              <a:gd name="connsiteY3" fmla="*/ 6858000 h 6858000"/>
              <a:gd name="connsiteX4" fmla="*/ 0 w 6086574"/>
              <a:gd name="connsiteY4" fmla="*/ 0 h 6858000"/>
              <a:gd name="connsiteX0" fmla="*/ 0 w 6086574"/>
              <a:gd name="connsiteY0" fmla="*/ 0 h 6858000"/>
              <a:gd name="connsiteX1" fmla="*/ 6086574 w 6086574"/>
              <a:gd name="connsiteY1" fmla="*/ 0 h 6858000"/>
              <a:gd name="connsiteX2" fmla="*/ 6086574 w 6086574"/>
              <a:gd name="connsiteY2" fmla="*/ 6858000 h 6858000"/>
              <a:gd name="connsiteX3" fmla="*/ 15240 w 6086574"/>
              <a:gd name="connsiteY3" fmla="*/ 6858000 h 6858000"/>
              <a:gd name="connsiteX4" fmla="*/ 0 w 6086574"/>
              <a:gd name="connsiteY4" fmla="*/ 0 h 6858000"/>
              <a:gd name="connsiteX0" fmla="*/ 66040 w 6071334"/>
              <a:gd name="connsiteY0" fmla="*/ 60960 h 6858000"/>
              <a:gd name="connsiteX1" fmla="*/ 6071334 w 6071334"/>
              <a:gd name="connsiteY1" fmla="*/ 0 h 6858000"/>
              <a:gd name="connsiteX2" fmla="*/ 6071334 w 6071334"/>
              <a:gd name="connsiteY2" fmla="*/ 6858000 h 6858000"/>
              <a:gd name="connsiteX3" fmla="*/ 0 w 6071334"/>
              <a:gd name="connsiteY3" fmla="*/ 6858000 h 6858000"/>
              <a:gd name="connsiteX4" fmla="*/ 66040 w 6071334"/>
              <a:gd name="connsiteY4" fmla="*/ 60960 h 6858000"/>
              <a:gd name="connsiteX0" fmla="*/ 0 w 6158836"/>
              <a:gd name="connsiteY0" fmla="*/ 0 h 6858000"/>
              <a:gd name="connsiteX1" fmla="*/ 6158836 w 6158836"/>
              <a:gd name="connsiteY1" fmla="*/ 0 h 6858000"/>
              <a:gd name="connsiteX2" fmla="*/ 6158836 w 6158836"/>
              <a:gd name="connsiteY2" fmla="*/ 6858000 h 6858000"/>
              <a:gd name="connsiteX3" fmla="*/ 87502 w 6158836"/>
              <a:gd name="connsiteY3" fmla="*/ 6858000 h 6858000"/>
              <a:gd name="connsiteX4" fmla="*/ 0 w 6158836"/>
              <a:gd name="connsiteY4" fmla="*/ 0 h 6858000"/>
              <a:gd name="connsiteX0" fmla="*/ 0 w 6158836"/>
              <a:gd name="connsiteY0" fmla="*/ 0 h 6858000"/>
              <a:gd name="connsiteX1" fmla="*/ 6158836 w 6158836"/>
              <a:gd name="connsiteY1" fmla="*/ 0 h 6858000"/>
              <a:gd name="connsiteX2" fmla="*/ 6158836 w 6158836"/>
              <a:gd name="connsiteY2" fmla="*/ 6858000 h 6858000"/>
              <a:gd name="connsiteX3" fmla="*/ 5613 w 6158836"/>
              <a:gd name="connsiteY3" fmla="*/ 6858000 h 6858000"/>
              <a:gd name="connsiteX4" fmla="*/ 0 w 6158836"/>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58836" h="6858000">
                <a:moveTo>
                  <a:pt x="0" y="0"/>
                </a:moveTo>
                <a:lnTo>
                  <a:pt x="6158836" y="0"/>
                </a:lnTo>
                <a:lnTo>
                  <a:pt x="6158836" y="6858000"/>
                </a:lnTo>
                <a:lnTo>
                  <a:pt x="5613" y="6858000"/>
                </a:lnTo>
                <a:lnTo>
                  <a:pt x="0" y="0"/>
                </a:lnTo>
                <a:close/>
              </a:path>
            </a:pathLst>
          </a:custGeom>
        </p:spPr>
        <p:txBody>
          <a:bodyPr anchor="ctr"/>
          <a:lstStyle>
            <a:lvl1pPr marL="228600" marR="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a:solidFill>
                  <a:srgbClr val="FFFFFF"/>
                </a:solidFill>
              </a:defRPr>
            </a:lvl1pPr>
          </a:lstStyle>
          <a:p>
            <a:pPr marL="228600" marR="0" lvl="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Drag picture to placeholder </a:t>
            </a:r>
            <a:br>
              <a:rPr lang="en-US" dirty="0"/>
            </a:br>
            <a:r>
              <a:rPr lang="en-US" dirty="0"/>
              <a:t>or click icon to add</a:t>
            </a:r>
          </a:p>
        </p:txBody>
      </p:sp>
      <p:graphicFrame>
        <p:nvGraphicFramePr>
          <p:cNvPr id="3" name="Object 2" hidden="1">
            <a:extLst>
              <a:ext uri="{FF2B5EF4-FFF2-40B4-BE49-F238E27FC236}">
                <a16:creationId xmlns:a16="http://schemas.microsoft.com/office/drawing/2014/main" id="{C18526C9-16E3-4A1D-828A-4692734F055E}"/>
              </a:ext>
            </a:extLst>
          </p:cNvPr>
          <p:cNvGraphicFramePr>
            <a:graphicFrameLocks noChangeAspect="1"/>
          </p:cNvGraphicFramePr>
          <p:nvPr userDrawn="1">
            <p:custDataLst>
              <p:tags r:id="rId2"/>
            </p:custDataLst>
            <p:extLst>
              <p:ext uri="{D42A27DB-BD31-4B8C-83A1-F6EECF244321}">
                <p14:modId xmlns:p14="http://schemas.microsoft.com/office/powerpoint/2010/main" val="13011642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732" name="think-cell Slide" r:id="rId5" imgW="473" imgH="474" progId="TCLayout.ActiveDocument.1">
                  <p:embed/>
                </p:oleObj>
              </mc:Choice>
              <mc:Fallback>
                <p:oleObj name="think-cell Slide" r:id="rId5" imgW="473" imgH="474" progId="TCLayout.ActiveDocument.1">
                  <p:embed/>
                  <p:pic>
                    <p:nvPicPr>
                      <p:cNvPr id="3" name="Object 2" hidden="1">
                        <a:extLst>
                          <a:ext uri="{FF2B5EF4-FFF2-40B4-BE49-F238E27FC236}">
                            <a16:creationId xmlns:a16="http://schemas.microsoft.com/office/drawing/2014/main" id="{C18526C9-16E3-4A1D-828A-4692734F055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B2B384D-A05A-4439-838E-B66DA57DCB38}"/>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0" i="0" baseline="0" dirty="0">
              <a:latin typeface="Verdana" panose="020B0604030504040204" pitchFamily="34" charset="0"/>
              <a:ea typeface="+mj-ea"/>
              <a:cs typeface="+mj-cs"/>
              <a:sym typeface="Verdana" panose="020B0604030504040204" pitchFamily="34" charset="0"/>
            </a:endParaRPr>
          </a:p>
        </p:txBody>
      </p:sp>
      <p:sp>
        <p:nvSpPr>
          <p:cNvPr id="15" name="Marcador de texto 2">
            <a:extLst>
              <a:ext uri="{FF2B5EF4-FFF2-40B4-BE49-F238E27FC236}">
                <a16:creationId xmlns:a16="http://schemas.microsoft.com/office/drawing/2014/main" id="{B0631F3F-D69C-4938-9C2D-8DBA1DF60BB1}"/>
              </a:ext>
            </a:extLst>
          </p:cNvPr>
          <p:cNvSpPr>
            <a:spLocks noGrp="1"/>
          </p:cNvSpPr>
          <p:nvPr>
            <p:ph type="body" idx="10" hasCustomPrompt="1"/>
          </p:nvPr>
        </p:nvSpPr>
        <p:spPr>
          <a:xfrm>
            <a:off x="6413267" y="722639"/>
            <a:ext cx="5405250" cy="324000"/>
          </a:xfrm>
          <a:prstGeom prst="rect">
            <a:avLst/>
          </a:prstGeom>
        </p:spPr>
        <p:txBody>
          <a:bodyPr lIns="0" tIns="0" rIns="0" bIns="0" anchor="t"/>
          <a:lstStyle>
            <a:lvl1pPr marL="0" indent="0">
              <a:lnSpc>
                <a:spcPct val="100000"/>
              </a:lnSpc>
              <a:spcBef>
                <a:spcPts val="0"/>
              </a:spcBef>
              <a:buNone/>
              <a:defRPr sz="2000" b="0">
                <a:solidFill>
                  <a:srgbClr val="000000"/>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err="1"/>
              <a:t>Subtitle</a:t>
            </a:r>
            <a:endParaRPr lang="es-ES" dirty="0"/>
          </a:p>
        </p:txBody>
      </p:sp>
      <p:sp>
        <p:nvSpPr>
          <p:cNvPr id="18" name="CuadroTexto 64">
            <a:extLst>
              <a:ext uri="{FF2B5EF4-FFF2-40B4-BE49-F238E27FC236}">
                <a16:creationId xmlns:a16="http://schemas.microsoft.com/office/drawing/2014/main" id="{7EEFB272-44BD-4440-81FD-B5BE8200048F}"/>
              </a:ext>
            </a:extLst>
          </p:cNvPr>
          <p:cNvSpPr txBox="1"/>
          <p:nvPr userDrawn="1"/>
        </p:nvSpPr>
        <p:spPr>
          <a:xfrm>
            <a:off x="10882303" y="6449284"/>
            <a:ext cx="936214" cy="138499"/>
          </a:xfrm>
          <a:prstGeom prst="rect">
            <a:avLst/>
          </a:prstGeom>
          <a:noFill/>
        </p:spPr>
        <p:txBody>
          <a:bodyPr wrap="square" lIns="0" tIns="0" rIns="0" bIns="0" rtlCol="0">
            <a:spAutoFit/>
          </a:bodyPr>
          <a:lstStyle/>
          <a:p>
            <a:pPr algn="r"/>
            <a:fld id="{A4EEDD72-1D6A-6B46-BCFA-C211F73E9379}" type="slidenum">
              <a:rPr lang="es-ES" sz="900" b="1" smtClean="0">
                <a:solidFill>
                  <a:srgbClr val="DA291C"/>
                </a:solidFill>
                <a:latin typeface="+mj-lt"/>
                <a:ea typeface="Verdana" panose="020B0604030504040204" pitchFamily="34" charset="0"/>
                <a:cs typeface="Verdana" panose="020B0604030504040204" pitchFamily="34" charset="0"/>
              </a:rPr>
              <a:pPr algn="r"/>
              <a:t>‹N›</a:t>
            </a:fld>
            <a:endParaRPr lang="es-ES" sz="900" b="1" dirty="0">
              <a:solidFill>
                <a:srgbClr val="DA291C"/>
              </a:solidFill>
              <a:latin typeface="+mj-lt"/>
              <a:ea typeface="Verdana" panose="020B0604030504040204" pitchFamily="34" charset="0"/>
              <a:cs typeface="Verdana" panose="020B0604030504040204" pitchFamily="34" charset="0"/>
            </a:endParaRPr>
          </a:p>
        </p:txBody>
      </p:sp>
      <p:sp>
        <p:nvSpPr>
          <p:cNvPr id="9" name="Title 8">
            <a:extLst>
              <a:ext uri="{FF2B5EF4-FFF2-40B4-BE49-F238E27FC236}">
                <a16:creationId xmlns:a16="http://schemas.microsoft.com/office/drawing/2014/main" id="{965B48A6-C16F-42F8-ABA4-E292AD3ADAB5}"/>
              </a:ext>
            </a:extLst>
          </p:cNvPr>
          <p:cNvSpPr>
            <a:spLocks noGrp="1"/>
          </p:cNvSpPr>
          <p:nvPr>
            <p:ph type="title"/>
          </p:nvPr>
        </p:nvSpPr>
        <p:spPr>
          <a:xfrm>
            <a:off x="6413267" y="252000"/>
            <a:ext cx="5405250" cy="432000"/>
          </a:xfrm>
        </p:spPr>
        <p:txBody>
          <a:bodyPr/>
          <a:lstStyle/>
          <a:p>
            <a:r>
              <a:rPr lang="en-US" dirty="0"/>
              <a:t>Click to edit Master title style</a:t>
            </a:r>
          </a:p>
        </p:txBody>
      </p:sp>
      <p:pic>
        <p:nvPicPr>
          <p:cNvPr id="14" name="Graphic 10">
            <a:extLst>
              <a:ext uri="{FF2B5EF4-FFF2-40B4-BE49-F238E27FC236}">
                <a16:creationId xmlns:a16="http://schemas.microsoft.com/office/drawing/2014/main" id="{76EEEB64-79A9-4166-8CB0-4B981D781095}"/>
              </a:ext>
            </a:extLst>
          </p:cNvPr>
          <p:cNvPicPr>
            <a:picLocks noChangeAspect="1"/>
          </p:cNvPicPr>
          <p:nvPr userDrawn="1"/>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70517" y="6420188"/>
            <a:ext cx="675863" cy="162467"/>
          </a:xfrm>
          <a:prstGeom prst="rect">
            <a:avLst/>
          </a:prstGeom>
        </p:spPr>
      </p:pic>
      <p:sp>
        <p:nvSpPr>
          <p:cNvPr id="19" name="Text Placeholder 7">
            <a:extLst>
              <a:ext uri="{FF2B5EF4-FFF2-40B4-BE49-F238E27FC236}">
                <a16:creationId xmlns:a16="http://schemas.microsoft.com/office/drawing/2014/main" id="{21E41751-3A54-44D7-B054-DDA29617390A}"/>
              </a:ext>
            </a:extLst>
          </p:cNvPr>
          <p:cNvSpPr>
            <a:spLocks noGrp="1"/>
          </p:cNvSpPr>
          <p:nvPr>
            <p:ph type="body" sz="quarter" idx="20"/>
          </p:nvPr>
        </p:nvSpPr>
        <p:spPr>
          <a:xfrm>
            <a:off x="6414224" y="3173979"/>
            <a:ext cx="5404293" cy="1738656"/>
          </a:xfrm>
        </p:spPr>
        <p:txBody>
          <a:bodyPr/>
          <a:lstStyle>
            <a:lvl1pPr>
              <a:defRPr sz="1400"/>
            </a:lvl1pPr>
          </a:lstStyle>
          <a:p>
            <a:pPr lvl="0"/>
            <a:r>
              <a:rPr lang="en-US" dirty="0"/>
              <a:t>Click to edit Master text styles</a:t>
            </a:r>
          </a:p>
        </p:txBody>
      </p:sp>
      <p:sp>
        <p:nvSpPr>
          <p:cNvPr id="20" name="Marcador de texto 5">
            <a:extLst>
              <a:ext uri="{FF2B5EF4-FFF2-40B4-BE49-F238E27FC236}">
                <a16:creationId xmlns:a16="http://schemas.microsoft.com/office/drawing/2014/main" id="{10718DDE-7E26-4940-95D1-5062B930F85D}"/>
              </a:ext>
            </a:extLst>
          </p:cNvPr>
          <p:cNvSpPr>
            <a:spLocks noGrp="1"/>
          </p:cNvSpPr>
          <p:nvPr>
            <p:ph type="body" sz="quarter" idx="21" hasCustomPrompt="1"/>
          </p:nvPr>
        </p:nvSpPr>
        <p:spPr>
          <a:xfrm>
            <a:off x="6414224" y="2191553"/>
            <a:ext cx="2463133" cy="787206"/>
          </a:xfrm>
          <a:prstGeom prst="rect">
            <a:avLst/>
          </a:prstGeom>
        </p:spPr>
        <p:txBody>
          <a:bodyPr lIns="0" tIns="0" rIns="0" bIns="0"/>
          <a:lstStyle>
            <a:lvl1pPr algn="l">
              <a:buNone/>
              <a:defRPr sz="6000" b="1">
                <a:solidFill>
                  <a:schemeClr val="accent1"/>
                </a:solidFill>
              </a:defRPr>
            </a:lvl1pPr>
            <a:lvl2pPr>
              <a:buNone/>
              <a:defRPr/>
            </a:lvl2pPr>
            <a:lvl3pPr>
              <a:buNone/>
              <a:defRPr/>
            </a:lvl3pPr>
            <a:lvl4pPr>
              <a:buNone/>
              <a:defRPr/>
            </a:lvl4pPr>
            <a:lvl5pPr>
              <a:buNone/>
              <a:defRPr/>
            </a:lvl5pPr>
          </a:lstStyle>
          <a:p>
            <a:pPr lvl="0"/>
            <a:r>
              <a:rPr lang="es-ES" dirty="0"/>
              <a:t>#</a:t>
            </a:r>
            <a:endParaRPr lang="en-GB" dirty="0"/>
          </a:p>
        </p:txBody>
      </p:sp>
      <p:sp>
        <p:nvSpPr>
          <p:cNvPr id="12" name="Rectangle 11">
            <a:extLst>
              <a:ext uri="{FF2B5EF4-FFF2-40B4-BE49-F238E27FC236}">
                <a16:creationId xmlns:a16="http://schemas.microsoft.com/office/drawing/2014/main" id="{CB30A2B8-192E-41D0-8A86-311B915A8384}"/>
              </a:ext>
            </a:extLst>
          </p:cNvPr>
          <p:cNvSpPr/>
          <p:nvPr userDrawn="1"/>
        </p:nvSpPr>
        <p:spPr>
          <a:xfrm>
            <a:off x="3051745"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3" name="Rectangle 12">
            <a:extLst>
              <a:ext uri="{FF2B5EF4-FFF2-40B4-BE49-F238E27FC236}">
                <a16:creationId xmlns:a16="http://schemas.microsoft.com/office/drawing/2014/main" id="{211632D0-25BC-485A-823B-161E4396D7B3}"/>
              </a:ext>
            </a:extLst>
          </p:cNvPr>
          <p:cNvSpPr/>
          <p:nvPr userDrawn="1"/>
        </p:nvSpPr>
        <p:spPr>
          <a:xfrm>
            <a:off x="7490"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6" name="Rectangle 15">
            <a:extLst>
              <a:ext uri="{FF2B5EF4-FFF2-40B4-BE49-F238E27FC236}">
                <a16:creationId xmlns:a16="http://schemas.microsoft.com/office/drawing/2014/main" id="{3E07A2AF-C33E-459B-ADD5-015501CE194C}"/>
              </a:ext>
            </a:extLst>
          </p:cNvPr>
          <p:cNvSpPr/>
          <p:nvPr userDrawn="1"/>
        </p:nvSpPr>
        <p:spPr>
          <a:xfrm>
            <a:off x="9149414"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7" name="Rectangle 16">
            <a:extLst>
              <a:ext uri="{FF2B5EF4-FFF2-40B4-BE49-F238E27FC236}">
                <a16:creationId xmlns:a16="http://schemas.microsoft.com/office/drawing/2014/main" id="{DC709EBA-A293-4867-8520-D1E2DCE22AA4}"/>
              </a:ext>
            </a:extLst>
          </p:cNvPr>
          <p:cNvSpPr/>
          <p:nvPr userDrawn="1"/>
        </p:nvSpPr>
        <p:spPr>
          <a:xfrm>
            <a:off x="6105159"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Tree>
    <p:extLst>
      <p:ext uri="{BB962C8B-B14F-4D97-AF65-F5344CB8AC3E}">
        <p14:creationId xmlns:p14="http://schemas.microsoft.com/office/powerpoint/2010/main" val="157421422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1_ text + 2 images">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BF29E734-210D-BC45-815B-FC427C40A195}"/>
              </a:ext>
            </a:extLst>
          </p:cNvPr>
          <p:cNvSpPr/>
          <p:nvPr userDrawn="1"/>
        </p:nvSpPr>
        <p:spPr>
          <a:xfrm>
            <a:off x="6096001" y="0"/>
            <a:ext cx="2941160" cy="6858000"/>
          </a:xfrm>
          <a:prstGeom prst="rect">
            <a:avLst/>
          </a:prstGeom>
          <a:gradFill>
            <a:gsLst>
              <a:gs pos="0">
                <a:schemeClr val="accent1"/>
              </a:gs>
              <a:gs pos="100000">
                <a:schemeClr val="accent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accent4"/>
              </a:solidFill>
            </a:endParaRPr>
          </a:p>
        </p:txBody>
      </p:sp>
      <p:sp>
        <p:nvSpPr>
          <p:cNvPr id="16" name="Rectángulo 1">
            <a:extLst>
              <a:ext uri="{FF2B5EF4-FFF2-40B4-BE49-F238E27FC236}">
                <a16:creationId xmlns:a16="http://schemas.microsoft.com/office/drawing/2014/main" id="{73B0E165-7117-4FDF-B257-8A783A9175B2}"/>
              </a:ext>
            </a:extLst>
          </p:cNvPr>
          <p:cNvSpPr/>
          <p:nvPr userDrawn="1"/>
        </p:nvSpPr>
        <p:spPr>
          <a:xfrm>
            <a:off x="9250841" y="0"/>
            <a:ext cx="2941160" cy="6858000"/>
          </a:xfrm>
          <a:prstGeom prst="rect">
            <a:avLst/>
          </a:prstGeom>
          <a:gradFill>
            <a:gsLst>
              <a:gs pos="0">
                <a:schemeClr val="accent1"/>
              </a:gs>
              <a:gs pos="100000">
                <a:schemeClr val="accent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accent4"/>
              </a:solidFill>
            </a:endParaRPr>
          </a:p>
        </p:txBody>
      </p:sp>
      <p:sp>
        <p:nvSpPr>
          <p:cNvPr id="24" name="Marcador de posición de imagen 2">
            <a:extLst>
              <a:ext uri="{FF2B5EF4-FFF2-40B4-BE49-F238E27FC236}">
                <a16:creationId xmlns:a16="http://schemas.microsoft.com/office/drawing/2014/main" id="{263E57D1-5D12-4810-ABBA-4AD821FCD289}"/>
              </a:ext>
            </a:extLst>
          </p:cNvPr>
          <p:cNvSpPr>
            <a:spLocks noGrp="1"/>
          </p:cNvSpPr>
          <p:nvPr>
            <p:ph type="pic" sz="quarter" idx="12" hasCustomPrompt="1"/>
          </p:nvPr>
        </p:nvSpPr>
        <p:spPr>
          <a:xfrm>
            <a:off x="6096002" y="0"/>
            <a:ext cx="2941159" cy="6858000"/>
          </a:xfrm>
          <a:prstGeom prst="rect">
            <a:avLst/>
          </a:prstGeom>
        </p:spPr>
        <p:txBody>
          <a:bodyPr anchor="ctr"/>
          <a:lstStyle>
            <a:lvl1pPr marL="228600" marR="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a:solidFill>
                  <a:srgbClr val="FFFFFF"/>
                </a:solidFill>
              </a:defRPr>
            </a:lvl1pPr>
          </a:lstStyle>
          <a:p>
            <a:pPr marL="228600" marR="0" lvl="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Drag picture to placeholder </a:t>
            </a:r>
            <a:br>
              <a:rPr lang="en-US" dirty="0"/>
            </a:br>
            <a:r>
              <a:rPr lang="en-US" dirty="0"/>
              <a:t>or click icon to add</a:t>
            </a:r>
          </a:p>
        </p:txBody>
      </p:sp>
      <p:graphicFrame>
        <p:nvGraphicFramePr>
          <p:cNvPr id="3" name="Object 2" hidden="1">
            <a:extLst>
              <a:ext uri="{FF2B5EF4-FFF2-40B4-BE49-F238E27FC236}">
                <a16:creationId xmlns:a16="http://schemas.microsoft.com/office/drawing/2014/main" id="{C18526C9-16E3-4A1D-828A-4692734F055E}"/>
              </a:ext>
            </a:extLst>
          </p:cNvPr>
          <p:cNvGraphicFramePr>
            <a:graphicFrameLocks noChangeAspect="1"/>
          </p:cNvGraphicFramePr>
          <p:nvPr userDrawn="1">
            <p:custDataLst>
              <p:tags r:id="rId2"/>
            </p:custDataLst>
            <p:extLst>
              <p:ext uri="{D42A27DB-BD31-4B8C-83A1-F6EECF244321}">
                <p14:modId xmlns:p14="http://schemas.microsoft.com/office/powerpoint/2010/main" val="15975359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756" name="think-cell Slide" r:id="rId5" imgW="473" imgH="474" progId="TCLayout.ActiveDocument.1">
                  <p:embed/>
                </p:oleObj>
              </mc:Choice>
              <mc:Fallback>
                <p:oleObj name="think-cell Slide" r:id="rId5" imgW="473" imgH="474" progId="TCLayout.ActiveDocument.1">
                  <p:embed/>
                  <p:pic>
                    <p:nvPicPr>
                      <p:cNvPr id="3" name="Object 2" hidden="1">
                        <a:extLst>
                          <a:ext uri="{FF2B5EF4-FFF2-40B4-BE49-F238E27FC236}">
                            <a16:creationId xmlns:a16="http://schemas.microsoft.com/office/drawing/2014/main" id="{C18526C9-16E3-4A1D-828A-4692734F055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B2B384D-A05A-4439-838E-B66DA57DCB38}"/>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0" i="0" baseline="0" dirty="0">
              <a:latin typeface="Verdana" panose="020B0604030504040204" pitchFamily="34" charset="0"/>
              <a:ea typeface="+mj-ea"/>
              <a:cs typeface="+mj-cs"/>
              <a:sym typeface="Verdana" panose="020B0604030504040204" pitchFamily="34" charset="0"/>
            </a:endParaRPr>
          </a:p>
        </p:txBody>
      </p:sp>
      <p:sp>
        <p:nvSpPr>
          <p:cNvPr id="15" name="Marcador de texto 2">
            <a:extLst>
              <a:ext uri="{FF2B5EF4-FFF2-40B4-BE49-F238E27FC236}">
                <a16:creationId xmlns:a16="http://schemas.microsoft.com/office/drawing/2014/main" id="{B0631F3F-D69C-4938-9C2D-8DBA1DF60BB1}"/>
              </a:ext>
            </a:extLst>
          </p:cNvPr>
          <p:cNvSpPr>
            <a:spLocks noGrp="1"/>
          </p:cNvSpPr>
          <p:nvPr>
            <p:ph type="body" idx="10" hasCustomPrompt="1"/>
          </p:nvPr>
        </p:nvSpPr>
        <p:spPr>
          <a:xfrm>
            <a:off x="370518" y="722639"/>
            <a:ext cx="5405250" cy="324000"/>
          </a:xfrm>
          <a:prstGeom prst="rect">
            <a:avLst/>
          </a:prstGeom>
        </p:spPr>
        <p:txBody>
          <a:bodyPr lIns="0" tIns="0" rIns="0" bIns="0" anchor="t"/>
          <a:lstStyle>
            <a:lvl1pPr marL="0" indent="0">
              <a:lnSpc>
                <a:spcPct val="100000"/>
              </a:lnSpc>
              <a:spcBef>
                <a:spcPts val="0"/>
              </a:spcBef>
              <a:buNone/>
              <a:defRPr sz="2000" b="0">
                <a:solidFill>
                  <a:srgbClr val="000000"/>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err="1"/>
              <a:t>Subtitle</a:t>
            </a:r>
            <a:endParaRPr lang="es-ES" dirty="0"/>
          </a:p>
        </p:txBody>
      </p:sp>
      <p:sp>
        <p:nvSpPr>
          <p:cNvPr id="18" name="CuadroTexto 64">
            <a:extLst>
              <a:ext uri="{FF2B5EF4-FFF2-40B4-BE49-F238E27FC236}">
                <a16:creationId xmlns:a16="http://schemas.microsoft.com/office/drawing/2014/main" id="{7EEFB272-44BD-4440-81FD-B5BE8200048F}"/>
              </a:ext>
            </a:extLst>
          </p:cNvPr>
          <p:cNvSpPr txBox="1"/>
          <p:nvPr userDrawn="1"/>
        </p:nvSpPr>
        <p:spPr>
          <a:xfrm>
            <a:off x="10882303" y="6449284"/>
            <a:ext cx="936214" cy="138499"/>
          </a:xfrm>
          <a:prstGeom prst="rect">
            <a:avLst/>
          </a:prstGeom>
          <a:noFill/>
        </p:spPr>
        <p:txBody>
          <a:bodyPr wrap="square" lIns="0" tIns="0" rIns="0" bIns="0" rtlCol="0">
            <a:spAutoFit/>
          </a:bodyPr>
          <a:lstStyle/>
          <a:p>
            <a:pPr algn="r"/>
            <a:fld id="{A4EEDD72-1D6A-6B46-BCFA-C211F73E9379}" type="slidenum">
              <a:rPr lang="es-ES" sz="900" b="1" smtClean="0">
                <a:solidFill>
                  <a:srgbClr val="DA291C"/>
                </a:solidFill>
                <a:latin typeface="Verdana" panose="020B0604030504040204" pitchFamily="34" charset="0"/>
                <a:ea typeface="Verdana" panose="020B0604030504040204" pitchFamily="34" charset="0"/>
                <a:cs typeface="Verdana" panose="020B0604030504040204" pitchFamily="34" charset="0"/>
              </a:rPr>
              <a:pPr algn="r"/>
              <a:t>‹N›</a:t>
            </a:fld>
            <a:endParaRPr lang="es-ES" sz="900" b="1" dirty="0">
              <a:solidFill>
                <a:srgbClr val="DA291C"/>
              </a:solidFill>
              <a:latin typeface="Verdana" panose="020B0604030504040204" pitchFamily="34" charset="0"/>
              <a:ea typeface="Verdana" panose="020B0604030504040204" pitchFamily="34" charset="0"/>
              <a:cs typeface="Verdana" panose="020B0604030504040204" pitchFamily="34" charset="0"/>
            </a:endParaRPr>
          </a:p>
        </p:txBody>
      </p:sp>
      <p:sp>
        <p:nvSpPr>
          <p:cNvPr id="9" name="Title 8">
            <a:extLst>
              <a:ext uri="{FF2B5EF4-FFF2-40B4-BE49-F238E27FC236}">
                <a16:creationId xmlns:a16="http://schemas.microsoft.com/office/drawing/2014/main" id="{965B48A6-C16F-42F8-ABA4-E292AD3ADAB5}"/>
              </a:ext>
            </a:extLst>
          </p:cNvPr>
          <p:cNvSpPr>
            <a:spLocks noGrp="1"/>
          </p:cNvSpPr>
          <p:nvPr>
            <p:ph type="title"/>
          </p:nvPr>
        </p:nvSpPr>
        <p:spPr>
          <a:xfrm>
            <a:off x="370518" y="252000"/>
            <a:ext cx="5405250" cy="432000"/>
          </a:xfrm>
        </p:spPr>
        <p:txBody>
          <a:bodyPr/>
          <a:lstStyle/>
          <a:p>
            <a:r>
              <a:rPr lang="en-US" dirty="0"/>
              <a:t>Click to edit Master title style</a:t>
            </a:r>
          </a:p>
        </p:txBody>
      </p:sp>
      <p:pic>
        <p:nvPicPr>
          <p:cNvPr id="14" name="Graphic 10">
            <a:extLst>
              <a:ext uri="{FF2B5EF4-FFF2-40B4-BE49-F238E27FC236}">
                <a16:creationId xmlns:a16="http://schemas.microsoft.com/office/drawing/2014/main" id="{76EEEB64-79A9-4166-8CB0-4B981D781095}"/>
              </a:ext>
            </a:extLst>
          </p:cNvPr>
          <p:cNvPicPr>
            <a:picLocks noChangeAspect="1"/>
          </p:cNvPicPr>
          <p:nvPr userDrawn="1"/>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70517" y="6420188"/>
            <a:ext cx="675863" cy="162467"/>
          </a:xfrm>
          <a:prstGeom prst="rect">
            <a:avLst/>
          </a:prstGeom>
        </p:spPr>
      </p:pic>
      <p:sp>
        <p:nvSpPr>
          <p:cNvPr id="19" name="Text Placeholder 7">
            <a:extLst>
              <a:ext uri="{FF2B5EF4-FFF2-40B4-BE49-F238E27FC236}">
                <a16:creationId xmlns:a16="http://schemas.microsoft.com/office/drawing/2014/main" id="{21E41751-3A54-44D7-B054-DDA29617390A}"/>
              </a:ext>
            </a:extLst>
          </p:cNvPr>
          <p:cNvSpPr>
            <a:spLocks noGrp="1"/>
          </p:cNvSpPr>
          <p:nvPr>
            <p:ph type="body" sz="quarter" idx="20"/>
          </p:nvPr>
        </p:nvSpPr>
        <p:spPr>
          <a:xfrm>
            <a:off x="371475" y="1393825"/>
            <a:ext cx="5259609" cy="4757738"/>
          </a:xfrm>
        </p:spPr>
        <p:txBody>
          <a:bodyPr/>
          <a:lstStyle>
            <a:lvl1pPr>
              <a:defRPr sz="1400"/>
            </a:lvl1pPr>
          </a:lstStyle>
          <a:p>
            <a:pPr lvl="0"/>
            <a:r>
              <a:rPr lang="en-US" dirty="0"/>
              <a:t>Click to edit Master text styles</a:t>
            </a:r>
          </a:p>
        </p:txBody>
      </p:sp>
      <p:sp>
        <p:nvSpPr>
          <p:cNvPr id="13" name="Marcador de posición de imagen 2">
            <a:extLst>
              <a:ext uri="{FF2B5EF4-FFF2-40B4-BE49-F238E27FC236}">
                <a16:creationId xmlns:a16="http://schemas.microsoft.com/office/drawing/2014/main" id="{14EBE46E-BB97-40AB-9515-9DE1117E2A2C}"/>
              </a:ext>
            </a:extLst>
          </p:cNvPr>
          <p:cNvSpPr>
            <a:spLocks noGrp="1"/>
          </p:cNvSpPr>
          <p:nvPr>
            <p:ph type="pic" sz="quarter" idx="22" hasCustomPrompt="1"/>
          </p:nvPr>
        </p:nvSpPr>
        <p:spPr>
          <a:xfrm>
            <a:off x="9250841" y="0"/>
            <a:ext cx="2941159" cy="6858000"/>
          </a:xfrm>
          <a:prstGeom prst="rect">
            <a:avLst/>
          </a:prstGeom>
        </p:spPr>
        <p:txBody>
          <a:bodyPr anchor="ctr"/>
          <a:lstStyle>
            <a:lvl1pPr marL="228600" marR="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a:solidFill>
                  <a:srgbClr val="FFFFFF"/>
                </a:solidFill>
              </a:defRPr>
            </a:lvl1pPr>
          </a:lstStyle>
          <a:p>
            <a:pPr marL="228600" marR="0" lvl="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Drag picture to placeholder </a:t>
            </a:r>
            <a:br>
              <a:rPr lang="en-US" dirty="0"/>
            </a:br>
            <a:r>
              <a:rPr lang="en-US" dirty="0"/>
              <a:t>or click icon to add</a:t>
            </a:r>
          </a:p>
        </p:txBody>
      </p:sp>
      <p:sp>
        <p:nvSpPr>
          <p:cNvPr id="17" name="Rectangle 16">
            <a:extLst>
              <a:ext uri="{FF2B5EF4-FFF2-40B4-BE49-F238E27FC236}">
                <a16:creationId xmlns:a16="http://schemas.microsoft.com/office/drawing/2014/main" id="{147C1DA8-3C80-4F24-A118-B1456D302ABE}"/>
              </a:ext>
            </a:extLst>
          </p:cNvPr>
          <p:cNvSpPr/>
          <p:nvPr userDrawn="1"/>
        </p:nvSpPr>
        <p:spPr>
          <a:xfrm>
            <a:off x="3051745"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0" name="Rectangle 19">
            <a:extLst>
              <a:ext uri="{FF2B5EF4-FFF2-40B4-BE49-F238E27FC236}">
                <a16:creationId xmlns:a16="http://schemas.microsoft.com/office/drawing/2014/main" id="{42FDE649-CAB0-4851-87E3-8CD95EF5F389}"/>
              </a:ext>
            </a:extLst>
          </p:cNvPr>
          <p:cNvSpPr/>
          <p:nvPr userDrawn="1"/>
        </p:nvSpPr>
        <p:spPr>
          <a:xfrm>
            <a:off x="7490"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1" name="Rectangle 20">
            <a:extLst>
              <a:ext uri="{FF2B5EF4-FFF2-40B4-BE49-F238E27FC236}">
                <a16:creationId xmlns:a16="http://schemas.microsoft.com/office/drawing/2014/main" id="{EC7A32E8-1A3A-4DF3-8875-C2D17FC6B633}"/>
              </a:ext>
            </a:extLst>
          </p:cNvPr>
          <p:cNvSpPr/>
          <p:nvPr userDrawn="1"/>
        </p:nvSpPr>
        <p:spPr>
          <a:xfrm>
            <a:off x="9149414"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2" name="Rectangle 21">
            <a:extLst>
              <a:ext uri="{FF2B5EF4-FFF2-40B4-BE49-F238E27FC236}">
                <a16:creationId xmlns:a16="http://schemas.microsoft.com/office/drawing/2014/main" id="{94CC4757-52E1-40BE-855A-D3523CFBF85E}"/>
              </a:ext>
            </a:extLst>
          </p:cNvPr>
          <p:cNvSpPr/>
          <p:nvPr userDrawn="1"/>
        </p:nvSpPr>
        <p:spPr>
          <a:xfrm>
            <a:off x="6105159"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Tree>
    <p:extLst>
      <p:ext uri="{BB962C8B-B14F-4D97-AF65-F5344CB8AC3E}">
        <p14:creationId xmlns:p14="http://schemas.microsoft.com/office/powerpoint/2010/main" val="316689775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3_ text + 2 images">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BF29E734-210D-BC45-815B-FC427C40A195}"/>
              </a:ext>
            </a:extLst>
          </p:cNvPr>
          <p:cNvSpPr/>
          <p:nvPr userDrawn="1"/>
        </p:nvSpPr>
        <p:spPr>
          <a:xfrm>
            <a:off x="3176" y="0"/>
            <a:ext cx="2941160" cy="6858000"/>
          </a:xfrm>
          <a:prstGeom prst="rect">
            <a:avLst/>
          </a:prstGeom>
          <a:gradFill>
            <a:gsLst>
              <a:gs pos="0">
                <a:schemeClr val="accent1"/>
              </a:gs>
              <a:gs pos="100000">
                <a:schemeClr val="accent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accent4"/>
              </a:solidFill>
            </a:endParaRPr>
          </a:p>
        </p:txBody>
      </p:sp>
      <p:sp>
        <p:nvSpPr>
          <p:cNvPr id="16" name="Rectángulo 1">
            <a:extLst>
              <a:ext uri="{FF2B5EF4-FFF2-40B4-BE49-F238E27FC236}">
                <a16:creationId xmlns:a16="http://schemas.microsoft.com/office/drawing/2014/main" id="{73B0E165-7117-4FDF-B257-8A783A9175B2}"/>
              </a:ext>
            </a:extLst>
          </p:cNvPr>
          <p:cNvSpPr/>
          <p:nvPr userDrawn="1"/>
        </p:nvSpPr>
        <p:spPr>
          <a:xfrm>
            <a:off x="3158016" y="0"/>
            <a:ext cx="2941160" cy="6858000"/>
          </a:xfrm>
          <a:prstGeom prst="rect">
            <a:avLst/>
          </a:prstGeom>
          <a:gradFill>
            <a:gsLst>
              <a:gs pos="0">
                <a:schemeClr val="accent1"/>
              </a:gs>
              <a:gs pos="100000">
                <a:schemeClr val="accent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accent4"/>
              </a:solidFill>
            </a:endParaRPr>
          </a:p>
        </p:txBody>
      </p:sp>
      <p:sp>
        <p:nvSpPr>
          <p:cNvPr id="24" name="Marcador de posición de imagen 2">
            <a:extLst>
              <a:ext uri="{FF2B5EF4-FFF2-40B4-BE49-F238E27FC236}">
                <a16:creationId xmlns:a16="http://schemas.microsoft.com/office/drawing/2014/main" id="{263E57D1-5D12-4810-ABBA-4AD821FCD289}"/>
              </a:ext>
            </a:extLst>
          </p:cNvPr>
          <p:cNvSpPr>
            <a:spLocks noGrp="1"/>
          </p:cNvSpPr>
          <p:nvPr>
            <p:ph type="pic" sz="quarter" idx="12" hasCustomPrompt="1"/>
          </p:nvPr>
        </p:nvSpPr>
        <p:spPr>
          <a:xfrm>
            <a:off x="3177" y="0"/>
            <a:ext cx="2941159" cy="6858000"/>
          </a:xfrm>
          <a:prstGeom prst="rect">
            <a:avLst/>
          </a:prstGeom>
        </p:spPr>
        <p:txBody>
          <a:bodyPr anchor="ctr"/>
          <a:lstStyle>
            <a:lvl1pPr marL="228600" marR="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a:solidFill>
                  <a:srgbClr val="FFFFFF"/>
                </a:solidFill>
              </a:defRPr>
            </a:lvl1pPr>
          </a:lstStyle>
          <a:p>
            <a:pPr marL="228600" marR="0" lvl="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Drag picture to placeholder </a:t>
            </a:r>
            <a:br>
              <a:rPr lang="en-US" dirty="0"/>
            </a:br>
            <a:r>
              <a:rPr lang="en-US" dirty="0"/>
              <a:t>or click icon to add</a:t>
            </a:r>
          </a:p>
        </p:txBody>
      </p:sp>
      <p:graphicFrame>
        <p:nvGraphicFramePr>
          <p:cNvPr id="3" name="Object 2" hidden="1">
            <a:extLst>
              <a:ext uri="{FF2B5EF4-FFF2-40B4-BE49-F238E27FC236}">
                <a16:creationId xmlns:a16="http://schemas.microsoft.com/office/drawing/2014/main" id="{C18526C9-16E3-4A1D-828A-4692734F055E}"/>
              </a:ext>
            </a:extLst>
          </p:cNvPr>
          <p:cNvGraphicFramePr>
            <a:graphicFrameLocks noChangeAspect="1"/>
          </p:cNvGraphicFramePr>
          <p:nvPr userDrawn="1">
            <p:custDataLst>
              <p:tags r:id="rId2"/>
            </p:custDataLst>
            <p:extLst>
              <p:ext uri="{D42A27DB-BD31-4B8C-83A1-F6EECF244321}">
                <p14:modId xmlns:p14="http://schemas.microsoft.com/office/powerpoint/2010/main" val="26770088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780" name="think-cell Slide" r:id="rId5" imgW="473" imgH="474" progId="TCLayout.ActiveDocument.1">
                  <p:embed/>
                </p:oleObj>
              </mc:Choice>
              <mc:Fallback>
                <p:oleObj name="think-cell Slide" r:id="rId5" imgW="473" imgH="474" progId="TCLayout.ActiveDocument.1">
                  <p:embed/>
                  <p:pic>
                    <p:nvPicPr>
                      <p:cNvPr id="3" name="Object 2" hidden="1">
                        <a:extLst>
                          <a:ext uri="{FF2B5EF4-FFF2-40B4-BE49-F238E27FC236}">
                            <a16:creationId xmlns:a16="http://schemas.microsoft.com/office/drawing/2014/main" id="{C18526C9-16E3-4A1D-828A-4692734F055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B2B384D-A05A-4439-838E-B66DA57DCB38}"/>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0" i="0" baseline="0" dirty="0">
              <a:latin typeface="Verdana" panose="020B0604030504040204" pitchFamily="34" charset="0"/>
              <a:ea typeface="+mj-ea"/>
              <a:cs typeface="+mj-cs"/>
              <a:sym typeface="Verdana" panose="020B0604030504040204" pitchFamily="34" charset="0"/>
            </a:endParaRPr>
          </a:p>
        </p:txBody>
      </p:sp>
      <p:sp>
        <p:nvSpPr>
          <p:cNvPr id="15" name="Marcador de texto 2">
            <a:extLst>
              <a:ext uri="{FF2B5EF4-FFF2-40B4-BE49-F238E27FC236}">
                <a16:creationId xmlns:a16="http://schemas.microsoft.com/office/drawing/2014/main" id="{B0631F3F-D69C-4938-9C2D-8DBA1DF60BB1}"/>
              </a:ext>
            </a:extLst>
          </p:cNvPr>
          <p:cNvSpPr>
            <a:spLocks noGrp="1"/>
          </p:cNvSpPr>
          <p:nvPr>
            <p:ph type="body" idx="10" hasCustomPrompt="1"/>
          </p:nvPr>
        </p:nvSpPr>
        <p:spPr>
          <a:xfrm>
            <a:off x="6413267" y="722639"/>
            <a:ext cx="5405250" cy="324000"/>
          </a:xfrm>
          <a:prstGeom prst="rect">
            <a:avLst/>
          </a:prstGeom>
        </p:spPr>
        <p:txBody>
          <a:bodyPr lIns="0" tIns="0" rIns="0" bIns="0" anchor="t"/>
          <a:lstStyle>
            <a:lvl1pPr marL="0" indent="0">
              <a:lnSpc>
                <a:spcPct val="100000"/>
              </a:lnSpc>
              <a:spcBef>
                <a:spcPts val="0"/>
              </a:spcBef>
              <a:buNone/>
              <a:defRPr sz="2000" b="0">
                <a:solidFill>
                  <a:srgbClr val="000000"/>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err="1"/>
              <a:t>Subtitle</a:t>
            </a:r>
            <a:endParaRPr lang="es-ES" dirty="0"/>
          </a:p>
        </p:txBody>
      </p:sp>
      <p:sp>
        <p:nvSpPr>
          <p:cNvPr id="18" name="CuadroTexto 64">
            <a:extLst>
              <a:ext uri="{FF2B5EF4-FFF2-40B4-BE49-F238E27FC236}">
                <a16:creationId xmlns:a16="http://schemas.microsoft.com/office/drawing/2014/main" id="{7EEFB272-44BD-4440-81FD-B5BE8200048F}"/>
              </a:ext>
            </a:extLst>
          </p:cNvPr>
          <p:cNvSpPr txBox="1"/>
          <p:nvPr userDrawn="1"/>
        </p:nvSpPr>
        <p:spPr>
          <a:xfrm>
            <a:off x="10882303" y="6449284"/>
            <a:ext cx="936214" cy="138499"/>
          </a:xfrm>
          <a:prstGeom prst="rect">
            <a:avLst/>
          </a:prstGeom>
          <a:noFill/>
        </p:spPr>
        <p:txBody>
          <a:bodyPr wrap="square" lIns="0" tIns="0" rIns="0" bIns="0" rtlCol="0">
            <a:spAutoFit/>
          </a:bodyPr>
          <a:lstStyle/>
          <a:p>
            <a:pPr algn="r"/>
            <a:fld id="{A4EEDD72-1D6A-6B46-BCFA-C211F73E9379}" type="slidenum">
              <a:rPr lang="es-ES" sz="900" b="1" smtClean="0">
                <a:solidFill>
                  <a:srgbClr val="DA291C"/>
                </a:solidFill>
                <a:latin typeface="+mj-lt"/>
                <a:ea typeface="Verdana" panose="020B0604030504040204" pitchFamily="34" charset="0"/>
                <a:cs typeface="Verdana" panose="020B0604030504040204" pitchFamily="34" charset="0"/>
              </a:rPr>
              <a:pPr algn="r"/>
              <a:t>‹N›</a:t>
            </a:fld>
            <a:endParaRPr lang="es-ES" sz="900" b="1" dirty="0">
              <a:solidFill>
                <a:srgbClr val="DA291C"/>
              </a:solidFill>
              <a:latin typeface="+mj-lt"/>
              <a:ea typeface="Verdana" panose="020B0604030504040204" pitchFamily="34" charset="0"/>
              <a:cs typeface="Verdana" panose="020B0604030504040204" pitchFamily="34" charset="0"/>
            </a:endParaRPr>
          </a:p>
        </p:txBody>
      </p:sp>
      <p:sp>
        <p:nvSpPr>
          <p:cNvPr id="9" name="Title 8">
            <a:extLst>
              <a:ext uri="{FF2B5EF4-FFF2-40B4-BE49-F238E27FC236}">
                <a16:creationId xmlns:a16="http://schemas.microsoft.com/office/drawing/2014/main" id="{965B48A6-C16F-42F8-ABA4-E292AD3ADAB5}"/>
              </a:ext>
            </a:extLst>
          </p:cNvPr>
          <p:cNvSpPr>
            <a:spLocks noGrp="1"/>
          </p:cNvSpPr>
          <p:nvPr>
            <p:ph type="title"/>
          </p:nvPr>
        </p:nvSpPr>
        <p:spPr>
          <a:xfrm>
            <a:off x="6413267" y="252000"/>
            <a:ext cx="5405250" cy="432000"/>
          </a:xfrm>
        </p:spPr>
        <p:txBody>
          <a:bodyPr/>
          <a:lstStyle/>
          <a:p>
            <a:r>
              <a:rPr lang="en-US" dirty="0"/>
              <a:t>Click to edit Master title style</a:t>
            </a:r>
          </a:p>
        </p:txBody>
      </p:sp>
      <p:pic>
        <p:nvPicPr>
          <p:cNvPr id="14" name="Graphic 10">
            <a:extLst>
              <a:ext uri="{FF2B5EF4-FFF2-40B4-BE49-F238E27FC236}">
                <a16:creationId xmlns:a16="http://schemas.microsoft.com/office/drawing/2014/main" id="{76EEEB64-79A9-4166-8CB0-4B981D781095}"/>
              </a:ext>
            </a:extLst>
          </p:cNvPr>
          <p:cNvPicPr>
            <a:picLocks noChangeAspect="1"/>
          </p:cNvPicPr>
          <p:nvPr userDrawn="1"/>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70517" y="6420188"/>
            <a:ext cx="675863" cy="162467"/>
          </a:xfrm>
          <a:prstGeom prst="rect">
            <a:avLst/>
          </a:prstGeom>
        </p:spPr>
      </p:pic>
      <p:sp>
        <p:nvSpPr>
          <p:cNvPr id="19" name="Text Placeholder 7">
            <a:extLst>
              <a:ext uri="{FF2B5EF4-FFF2-40B4-BE49-F238E27FC236}">
                <a16:creationId xmlns:a16="http://schemas.microsoft.com/office/drawing/2014/main" id="{21E41751-3A54-44D7-B054-DDA29617390A}"/>
              </a:ext>
            </a:extLst>
          </p:cNvPr>
          <p:cNvSpPr>
            <a:spLocks noGrp="1"/>
          </p:cNvSpPr>
          <p:nvPr>
            <p:ph type="body" sz="quarter" idx="20"/>
          </p:nvPr>
        </p:nvSpPr>
        <p:spPr>
          <a:xfrm>
            <a:off x="6414224" y="1393825"/>
            <a:ext cx="5404293" cy="4757738"/>
          </a:xfrm>
        </p:spPr>
        <p:txBody>
          <a:bodyPr/>
          <a:lstStyle>
            <a:lvl1pPr>
              <a:defRPr sz="1400"/>
            </a:lvl1pPr>
          </a:lstStyle>
          <a:p>
            <a:pPr lvl="0"/>
            <a:r>
              <a:rPr lang="en-US" dirty="0"/>
              <a:t>Click to edit Master text styles</a:t>
            </a:r>
          </a:p>
        </p:txBody>
      </p:sp>
      <p:sp>
        <p:nvSpPr>
          <p:cNvPr id="13" name="Marcador de posición de imagen 2">
            <a:extLst>
              <a:ext uri="{FF2B5EF4-FFF2-40B4-BE49-F238E27FC236}">
                <a16:creationId xmlns:a16="http://schemas.microsoft.com/office/drawing/2014/main" id="{14EBE46E-BB97-40AB-9515-9DE1117E2A2C}"/>
              </a:ext>
            </a:extLst>
          </p:cNvPr>
          <p:cNvSpPr>
            <a:spLocks noGrp="1"/>
          </p:cNvSpPr>
          <p:nvPr>
            <p:ph type="pic" sz="quarter" idx="22" hasCustomPrompt="1"/>
          </p:nvPr>
        </p:nvSpPr>
        <p:spPr>
          <a:xfrm>
            <a:off x="3158016" y="0"/>
            <a:ext cx="2941159" cy="6858000"/>
          </a:xfrm>
          <a:prstGeom prst="rect">
            <a:avLst/>
          </a:prstGeom>
        </p:spPr>
        <p:txBody>
          <a:bodyPr anchor="ctr"/>
          <a:lstStyle>
            <a:lvl1pPr marL="228600" marR="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a:solidFill>
                  <a:srgbClr val="FFFFFF"/>
                </a:solidFill>
              </a:defRPr>
            </a:lvl1pPr>
          </a:lstStyle>
          <a:p>
            <a:pPr marL="228600" marR="0" lvl="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Drag picture to placeholder </a:t>
            </a:r>
            <a:br>
              <a:rPr lang="en-US" dirty="0"/>
            </a:br>
            <a:r>
              <a:rPr lang="en-US" dirty="0"/>
              <a:t>or click icon to add</a:t>
            </a:r>
          </a:p>
        </p:txBody>
      </p:sp>
      <p:sp>
        <p:nvSpPr>
          <p:cNvPr id="17" name="Rectangle 16">
            <a:extLst>
              <a:ext uri="{FF2B5EF4-FFF2-40B4-BE49-F238E27FC236}">
                <a16:creationId xmlns:a16="http://schemas.microsoft.com/office/drawing/2014/main" id="{AF83C9EE-0D26-4B07-A8F5-61D66DA452F2}"/>
              </a:ext>
            </a:extLst>
          </p:cNvPr>
          <p:cNvSpPr/>
          <p:nvPr userDrawn="1"/>
        </p:nvSpPr>
        <p:spPr>
          <a:xfrm>
            <a:off x="3051745"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0" name="Rectangle 19">
            <a:extLst>
              <a:ext uri="{FF2B5EF4-FFF2-40B4-BE49-F238E27FC236}">
                <a16:creationId xmlns:a16="http://schemas.microsoft.com/office/drawing/2014/main" id="{2D9E82E2-8933-4ADD-8C06-F262F2F839EC}"/>
              </a:ext>
            </a:extLst>
          </p:cNvPr>
          <p:cNvSpPr/>
          <p:nvPr userDrawn="1"/>
        </p:nvSpPr>
        <p:spPr>
          <a:xfrm>
            <a:off x="7490"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1" name="Rectangle 20">
            <a:extLst>
              <a:ext uri="{FF2B5EF4-FFF2-40B4-BE49-F238E27FC236}">
                <a16:creationId xmlns:a16="http://schemas.microsoft.com/office/drawing/2014/main" id="{EB362C08-751D-4493-8368-ED545957D433}"/>
              </a:ext>
            </a:extLst>
          </p:cNvPr>
          <p:cNvSpPr/>
          <p:nvPr userDrawn="1"/>
        </p:nvSpPr>
        <p:spPr>
          <a:xfrm>
            <a:off x="9149414"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2" name="Rectangle 21">
            <a:extLst>
              <a:ext uri="{FF2B5EF4-FFF2-40B4-BE49-F238E27FC236}">
                <a16:creationId xmlns:a16="http://schemas.microsoft.com/office/drawing/2014/main" id="{C1A47E10-1B50-467E-BF6B-3B43AAFF2909}"/>
              </a:ext>
            </a:extLst>
          </p:cNvPr>
          <p:cNvSpPr/>
          <p:nvPr userDrawn="1"/>
        </p:nvSpPr>
        <p:spPr>
          <a:xfrm>
            <a:off x="6105159"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Tree>
    <p:extLst>
      <p:ext uri="{BB962C8B-B14F-4D97-AF65-F5344CB8AC3E}">
        <p14:creationId xmlns:p14="http://schemas.microsoft.com/office/powerpoint/2010/main" val="235378225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2_Subsection with text + image">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BF29E734-210D-BC45-815B-FC427C40A195}"/>
              </a:ext>
            </a:extLst>
          </p:cNvPr>
          <p:cNvSpPr/>
          <p:nvPr userDrawn="1"/>
        </p:nvSpPr>
        <p:spPr>
          <a:xfrm>
            <a:off x="-7838" y="0"/>
            <a:ext cx="6096000" cy="6858000"/>
          </a:xfrm>
          <a:prstGeom prst="rect">
            <a:avLst/>
          </a:prstGeom>
          <a:gradFill>
            <a:gsLst>
              <a:gs pos="0">
                <a:schemeClr val="accent1"/>
              </a:gs>
              <a:gs pos="100000">
                <a:schemeClr val="accent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accent4"/>
              </a:solidFill>
            </a:endParaRPr>
          </a:p>
        </p:txBody>
      </p:sp>
      <p:sp>
        <p:nvSpPr>
          <p:cNvPr id="24" name="Marcador de posición de imagen 2">
            <a:extLst>
              <a:ext uri="{FF2B5EF4-FFF2-40B4-BE49-F238E27FC236}">
                <a16:creationId xmlns:a16="http://schemas.microsoft.com/office/drawing/2014/main" id="{263E57D1-5D12-4810-ABBA-4AD821FCD289}"/>
              </a:ext>
            </a:extLst>
          </p:cNvPr>
          <p:cNvSpPr>
            <a:spLocks noGrp="1"/>
          </p:cNvSpPr>
          <p:nvPr>
            <p:ph type="pic" sz="quarter" idx="12" hasCustomPrompt="1"/>
          </p:nvPr>
        </p:nvSpPr>
        <p:spPr>
          <a:xfrm>
            <a:off x="-7838" y="0"/>
            <a:ext cx="6096000" cy="6858000"/>
          </a:xfrm>
          <a:prstGeom prst="rect">
            <a:avLst/>
          </a:prstGeom>
        </p:spPr>
        <p:txBody>
          <a:bodyPr anchor="ctr"/>
          <a:lstStyle>
            <a:lvl1pPr marL="228600" marR="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a:solidFill>
                  <a:srgbClr val="FFFFFF"/>
                </a:solidFill>
              </a:defRPr>
            </a:lvl1pPr>
          </a:lstStyle>
          <a:p>
            <a:pPr marL="228600" marR="0" lvl="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Drag picture to placeholder </a:t>
            </a:r>
            <a:br>
              <a:rPr lang="en-US" dirty="0"/>
            </a:br>
            <a:r>
              <a:rPr lang="en-US" dirty="0"/>
              <a:t>or click icon to add</a:t>
            </a:r>
          </a:p>
        </p:txBody>
      </p:sp>
      <p:graphicFrame>
        <p:nvGraphicFramePr>
          <p:cNvPr id="3" name="Object 2" hidden="1">
            <a:extLst>
              <a:ext uri="{FF2B5EF4-FFF2-40B4-BE49-F238E27FC236}">
                <a16:creationId xmlns:a16="http://schemas.microsoft.com/office/drawing/2014/main" id="{C18526C9-16E3-4A1D-828A-4692734F055E}"/>
              </a:ext>
            </a:extLst>
          </p:cNvPr>
          <p:cNvGraphicFramePr>
            <a:graphicFrameLocks noChangeAspect="1"/>
          </p:cNvGraphicFramePr>
          <p:nvPr userDrawn="1">
            <p:custDataLst>
              <p:tags r:id="rId2"/>
            </p:custDataLst>
            <p:extLst>
              <p:ext uri="{D42A27DB-BD31-4B8C-83A1-F6EECF244321}">
                <p14:modId xmlns:p14="http://schemas.microsoft.com/office/powerpoint/2010/main" val="8075212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804" name="think-cell Slide" r:id="rId5" imgW="473" imgH="474" progId="TCLayout.ActiveDocument.1">
                  <p:embed/>
                </p:oleObj>
              </mc:Choice>
              <mc:Fallback>
                <p:oleObj name="think-cell Slide" r:id="rId5" imgW="473" imgH="474" progId="TCLayout.ActiveDocument.1">
                  <p:embed/>
                  <p:pic>
                    <p:nvPicPr>
                      <p:cNvPr id="3" name="Object 2" hidden="1">
                        <a:extLst>
                          <a:ext uri="{FF2B5EF4-FFF2-40B4-BE49-F238E27FC236}">
                            <a16:creationId xmlns:a16="http://schemas.microsoft.com/office/drawing/2014/main" id="{C18526C9-16E3-4A1D-828A-4692734F055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B2B384D-A05A-4439-838E-B66DA57DCB38}"/>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0" i="0" baseline="0" dirty="0">
              <a:latin typeface="Verdana" panose="020B0604030504040204" pitchFamily="34" charset="0"/>
              <a:ea typeface="+mj-ea"/>
              <a:cs typeface="+mj-cs"/>
              <a:sym typeface="Verdana" panose="020B0604030504040204" pitchFamily="34" charset="0"/>
            </a:endParaRPr>
          </a:p>
        </p:txBody>
      </p:sp>
      <p:sp>
        <p:nvSpPr>
          <p:cNvPr id="15" name="Marcador de texto 2">
            <a:extLst>
              <a:ext uri="{FF2B5EF4-FFF2-40B4-BE49-F238E27FC236}">
                <a16:creationId xmlns:a16="http://schemas.microsoft.com/office/drawing/2014/main" id="{B0631F3F-D69C-4938-9C2D-8DBA1DF60BB1}"/>
              </a:ext>
            </a:extLst>
          </p:cNvPr>
          <p:cNvSpPr>
            <a:spLocks noGrp="1"/>
          </p:cNvSpPr>
          <p:nvPr>
            <p:ph type="body" idx="10" hasCustomPrompt="1"/>
          </p:nvPr>
        </p:nvSpPr>
        <p:spPr>
          <a:xfrm>
            <a:off x="6415275" y="722639"/>
            <a:ext cx="5405250" cy="324000"/>
          </a:xfrm>
          <a:prstGeom prst="rect">
            <a:avLst/>
          </a:prstGeom>
        </p:spPr>
        <p:txBody>
          <a:bodyPr lIns="0" tIns="0" rIns="0" bIns="0" anchor="t"/>
          <a:lstStyle>
            <a:lvl1pPr marL="0" indent="0">
              <a:lnSpc>
                <a:spcPct val="100000"/>
              </a:lnSpc>
              <a:spcBef>
                <a:spcPts val="0"/>
              </a:spcBef>
              <a:buNone/>
              <a:defRPr sz="2000" b="0">
                <a:solidFill>
                  <a:srgbClr val="000000"/>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err="1"/>
              <a:t>Subtitle</a:t>
            </a:r>
            <a:endParaRPr lang="es-ES" dirty="0"/>
          </a:p>
        </p:txBody>
      </p:sp>
      <p:sp>
        <p:nvSpPr>
          <p:cNvPr id="9" name="Title 8">
            <a:extLst>
              <a:ext uri="{FF2B5EF4-FFF2-40B4-BE49-F238E27FC236}">
                <a16:creationId xmlns:a16="http://schemas.microsoft.com/office/drawing/2014/main" id="{965B48A6-C16F-42F8-ABA4-E292AD3ADAB5}"/>
              </a:ext>
            </a:extLst>
          </p:cNvPr>
          <p:cNvSpPr>
            <a:spLocks noGrp="1"/>
          </p:cNvSpPr>
          <p:nvPr>
            <p:ph type="title"/>
          </p:nvPr>
        </p:nvSpPr>
        <p:spPr>
          <a:xfrm>
            <a:off x="6415275" y="252000"/>
            <a:ext cx="5405250" cy="432000"/>
          </a:xfrm>
        </p:spPr>
        <p:txBody>
          <a:bodyPr/>
          <a:lstStyle/>
          <a:p>
            <a:r>
              <a:rPr lang="en-US" dirty="0"/>
              <a:t>Click to edit Master title style</a:t>
            </a:r>
          </a:p>
        </p:txBody>
      </p:sp>
      <p:pic>
        <p:nvPicPr>
          <p:cNvPr id="14" name="Graphic 10">
            <a:extLst>
              <a:ext uri="{FF2B5EF4-FFF2-40B4-BE49-F238E27FC236}">
                <a16:creationId xmlns:a16="http://schemas.microsoft.com/office/drawing/2014/main" id="{76EEEB64-79A9-4166-8CB0-4B981D781095}"/>
              </a:ext>
            </a:extLst>
          </p:cNvPr>
          <p:cNvPicPr>
            <a:picLocks noChangeAspect="1"/>
          </p:cNvPicPr>
          <p:nvPr userDrawn="1"/>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70517" y="6420188"/>
            <a:ext cx="675863" cy="162467"/>
          </a:xfrm>
          <a:prstGeom prst="rect">
            <a:avLst/>
          </a:prstGeom>
        </p:spPr>
      </p:pic>
      <p:sp>
        <p:nvSpPr>
          <p:cNvPr id="19" name="Text Placeholder 7">
            <a:extLst>
              <a:ext uri="{FF2B5EF4-FFF2-40B4-BE49-F238E27FC236}">
                <a16:creationId xmlns:a16="http://schemas.microsoft.com/office/drawing/2014/main" id="{21E41751-3A54-44D7-B054-DDA29617390A}"/>
              </a:ext>
            </a:extLst>
          </p:cNvPr>
          <p:cNvSpPr>
            <a:spLocks noGrp="1"/>
          </p:cNvSpPr>
          <p:nvPr>
            <p:ph type="body" sz="quarter" idx="20"/>
          </p:nvPr>
        </p:nvSpPr>
        <p:spPr>
          <a:xfrm>
            <a:off x="6414224" y="3173979"/>
            <a:ext cx="5404293" cy="1738656"/>
          </a:xfrm>
        </p:spPr>
        <p:txBody>
          <a:bodyPr/>
          <a:lstStyle>
            <a:lvl1pPr>
              <a:defRPr sz="1400"/>
            </a:lvl1pPr>
          </a:lstStyle>
          <a:p>
            <a:pPr lvl="0"/>
            <a:r>
              <a:rPr lang="en-US" dirty="0"/>
              <a:t>Click to edit Master text styles</a:t>
            </a:r>
          </a:p>
        </p:txBody>
      </p:sp>
      <p:sp>
        <p:nvSpPr>
          <p:cNvPr id="20" name="Marcador de texto 5">
            <a:extLst>
              <a:ext uri="{FF2B5EF4-FFF2-40B4-BE49-F238E27FC236}">
                <a16:creationId xmlns:a16="http://schemas.microsoft.com/office/drawing/2014/main" id="{10718DDE-7E26-4940-95D1-5062B930F85D}"/>
              </a:ext>
            </a:extLst>
          </p:cNvPr>
          <p:cNvSpPr>
            <a:spLocks noGrp="1"/>
          </p:cNvSpPr>
          <p:nvPr>
            <p:ph type="body" sz="quarter" idx="21" hasCustomPrompt="1"/>
          </p:nvPr>
        </p:nvSpPr>
        <p:spPr>
          <a:xfrm>
            <a:off x="6427934" y="2191553"/>
            <a:ext cx="2463133" cy="787206"/>
          </a:xfrm>
          <a:prstGeom prst="rect">
            <a:avLst/>
          </a:prstGeom>
        </p:spPr>
        <p:txBody>
          <a:bodyPr lIns="0" tIns="0" rIns="0" bIns="0"/>
          <a:lstStyle>
            <a:lvl1pPr algn="l">
              <a:buNone/>
              <a:defRPr sz="6000" b="1">
                <a:solidFill>
                  <a:schemeClr val="accent1"/>
                </a:solidFill>
              </a:defRPr>
            </a:lvl1pPr>
            <a:lvl2pPr>
              <a:buNone/>
              <a:defRPr/>
            </a:lvl2pPr>
            <a:lvl3pPr>
              <a:buNone/>
              <a:defRPr/>
            </a:lvl3pPr>
            <a:lvl4pPr>
              <a:buNone/>
              <a:defRPr/>
            </a:lvl4pPr>
            <a:lvl5pPr>
              <a:buNone/>
              <a:defRPr/>
            </a:lvl5pPr>
          </a:lstStyle>
          <a:p>
            <a:pPr lvl="0"/>
            <a:r>
              <a:rPr lang="es-ES" dirty="0"/>
              <a:t>#</a:t>
            </a:r>
            <a:endParaRPr lang="en-GB" dirty="0"/>
          </a:p>
        </p:txBody>
      </p:sp>
      <p:sp>
        <p:nvSpPr>
          <p:cNvPr id="12" name="Rectangle 11">
            <a:extLst>
              <a:ext uri="{FF2B5EF4-FFF2-40B4-BE49-F238E27FC236}">
                <a16:creationId xmlns:a16="http://schemas.microsoft.com/office/drawing/2014/main" id="{5AE7C7B8-191F-429A-A8C5-3023FCE6EDF0}"/>
              </a:ext>
            </a:extLst>
          </p:cNvPr>
          <p:cNvSpPr/>
          <p:nvPr userDrawn="1"/>
        </p:nvSpPr>
        <p:spPr>
          <a:xfrm>
            <a:off x="3051745"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3" name="Rectangle 12">
            <a:extLst>
              <a:ext uri="{FF2B5EF4-FFF2-40B4-BE49-F238E27FC236}">
                <a16:creationId xmlns:a16="http://schemas.microsoft.com/office/drawing/2014/main" id="{2457D5F3-81F9-4AE1-8968-4C37B7224C54}"/>
              </a:ext>
            </a:extLst>
          </p:cNvPr>
          <p:cNvSpPr/>
          <p:nvPr userDrawn="1"/>
        </p:nvSpPr>
        <p:spPr>
          <a:xfrm>
            <a:off x="7490"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6" name="Rectangle 15">
            <a:extLst>
              <a:ext uri="{FF2B5EF4-FFF2-40B4-BE49-F238E27FC236}">
                <a16:creationId xmlns:a16="http://schemas.microsoft.com/office/drawing/2014/main" id="{8F619BDB-3394-4547-BB09-FB00D19F0E74}"/>
              </a:ext>
            </a:extLst>
          </p:cNvPr>
          <p:cNvSpPr/>
          <p:nvPr userDrawn="1"/>
        </p:nvSpPr>
        <p:spPr>
          <a:xfrm>
            <a:off x="9149414"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7" name="Rectangle 16">
            <a:extLst>
              <a:ext uri="{FF2B5EF4-FFF2-40B4-BE49-F238E27FC236}">
                <a16:creationId xmlns:a16="http://schemas.microsoft.com/office/drawing/2014/main" id="{825EA662-CFE6-4ABC-99EB-15E69BC71908}"/>
              </a:ext>
            </a:extLst>
          </p:cNvPr>
          <p:cNvSpPr/>
          <p:nvPr userDrawn="1"/>
        </p:nvSpPr>
        <p:spPr>
          <a:xfrm>
            <a:off x="6105159"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1" name="CuadroTexto 64">
            <a:extLst>
              <a:ext uri="{FF2B5EF4-FFF2-40B4-BE49-F238E27FC236}">
                <a16:creationId xmlns:a16="http://schemas.microsoft.com/office/drawing/2014/main" id="{E62EFA46-1505-4264-B90C-357C56827B54}"/>
              </a:ext>
            </a:extLst>
          </p:cNvPr>
          <p:cNvSpPr txBox="1"/>
          <p:nvPr userDrawn="1"/>
        </p:nvSpPr>
        <p:spPr>
          <a:xfrm>
            <a:off x="10882303" y="6449284"/>
            <a:ext cx="936214" cy="138499"/>
          </a:xfrm>
          <a:prstGeom prst="rect">
            <a:avLst/>
          </a:prstGeom>
          <a:noFill/>
        </p:spPr>
        <p:txBody>
          <a:bodyPr wrap="square" lIns="0" tIns="0" rIns="0" bIns="0" rtlCol="0">
            <a:spAutoFit/>
          </a:bodyPr>
          <a:lstStyle/>
          <a:p>
            <a:pPr algn="r"/>
            <a:fld id="{A4EEDD72-1D6A-6B46-BCFA-C211F73E9379}" type="slidenum">
              <a:rPr lang="es-ES" sz="900" b="1" smtClean="0">
                <a:solidFill>
                  <a:srgbClr val="DA291C"/>
                </a:solidFill>
                <a:latin typeface="+mj-lt"/>
                <a:ea typeface="Verdana" panose="020B0604030504040204" pitchFamily="34" charset="0"/>
                <a:cs typeface="Verdana" panose="020B0604030504040204" pitchFamily="34" charset="0"/>
              </a:rPr>
              <a:pPr algn="r"/>
              <a:t>‹N›</a:t>
            </a:fld>
            <a:endParaRPr lang="es-ES" sz="900" b="1" dirty="0">
              <a:solidFill>
                <a:srgbClr val="DA291C"/>
              </a:solidFill>
              <a:latin typeface="+mj-lt"/>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417319106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lient Log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ACC5AA-949F-4568-A7A2-68F951095AF1}"/>
              </a:ext>
            </a:extLst>
          </p:cNvPr>
          <p:cNvSpPr>
            <a:spLocks noGrp="1"/>
          </p:cNvSpPr>
          <p:nvPr>
            <p:ph type="title"/>
          </p:nvPr>
        </p:nvSpPr>
        <p:spPr/>
        <p:txBody>
          <a:bodyPr/>
          <a:lstStyle/>
          <a:p>
            <a:r>
              <a:rPr lang="en-US"/>
              <a:t>Click to edit Master title style</a:t>
            </a:r>
          </a:p>
        </p:txBody>
      </p:sp>
      <p:sp>
        <p:nvSpPr>
          <p:cNvPr id="3" name="Marcador de texto 2">
            <a:extLst>
              <a:ext uri="{FF2B5EF4-FFF2-40B4-BE49-F238E27FC236}">
                <a16:creationId xmlns:a16="http://schemas.microsoft.com/office/drawing/2014/main" id="{FC1194D8-9C07-42A4-8770-937BB97EE18B}"/>
              </a:ext>
            </a:extLst>
          </p:cNvPr>
          <p:cNvSpPr>
            <a:spLocks noGrp="1"/>
          </p:cNvSpPr>
          <p:nvPr>
            <p:ph type="body" idx="10" hasCustomPrompt="1"/>
          </p:nvPr>
        </p:nvSpPr>
        <p:spPr>
          <a:xfrm>
            <a:off x="368791" y="722639"/>
            <a:ext cx="7776000" cy="324000"/>
          </a:xfrm>
          <a:prstGeom prst="rect">
            <a:avLst/>
          </a:prstGeom>
        </p:spPr>
        <p:txBody>
          <a:bodyPr lIns="0" tIns="0" rIns="0" bIns="0" anchor="t"/>
          <a:lstStyle>
            <a:lvl1pPr marL="0" indent="0">
              <a:lnSpc>
                <a:spcPct val="100000"/>
              </a:lnSpc>
              <a:spcBef>
                <a:spcPts val="0"/>
              </a:spcBef>
              <a:buNone/>
              <a:defRPr sz="2000" b="0">
                <a:solidFill>
                  <a:srgbClr val="000000"/>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err="1"/>
              <a:t>Subtitle</a:t>
            </a:r>
            <a:endParaRPr lang="es-ES" dirty="0"/>
          </a:p>
        </p:txBody>
      </p:sp>
      <p:sp>
        <p:nvSpPr>
          <p:cNvPr id="5" name="Marcador de posición de imagen 2">
            <a:extLst>
              <a:ext uri="{FF2B5EF4-FFF2-40B4-BE49-F238E27FC236}">
                <a16:creationId xmlns:a16="http://schemas.microsoft.com/office/drawing/2014/main" id="{B8047554-68A8-4A25-8A8E-5521C623855D}"/>
              </a:ext>
            </a:extLst>
          </p:cNvPr>
          <p:cNvSpPr>
            <a:spLocks noGrp="1"/>
          </p:cNvSpPr>
          <p:nvPr>
            <p:ph type="pic" sz="quarter" idx="12" hasCustomPrompt="1"/>
          </p:nvPr>
        </p:nvSpPr>
        <p:spPr>
          <a:xfrm>
            <a:off x="371474" y="1971856"/>
            <a:ext cx="3347325" cy="1237225"/>
          </a:xfrm>
          <a:prstGeom prst="rect">
            <a:avLst/>
          </a:prstGeom>
          <a:ln>
            <a:solidFill>
              <a:schemeClr val="accent1"/>
            </a:solidFill>
          </a:ln>
        </p:spPr>
        <p:txBody>
          <a:bodyPr anchor="ctr"/>
          <a:lstStyle>
            <a:lvl1pPr marL="228600" marR="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a:solidFill>
                  <a:schemeClr val="bg2"/>
                </a:solidFill>
              </a:defRPr>
            </a:lvl1pPr>
          </a:lstStyle>
          <a:p>
            <a:pPr marL="228600" marR="0" lvl="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Insert client logo here</a:t>
            </a:r>
          </a:p>
        </p:txBody>
      </p:sp>
      <p:sp>
        <p:nvSpPr>
          <p:cNvPr id="6" name="Marcador de posición de imagen 2">
            <a:extLst>
              <a:ext uri="{FF2B5EF4-FFF2-40B4-BE49-F238E27FC236}">
                <a16:creationId xmlns:a16="http://schemas.microsoft.com/office/drawing/2014/main" id="{58CA0082-9DA6-485D-9D8D-290A77458457}"/>
              </a:ext>
            </a:extLst>
          </p:cNvPr>
          <p:cNvSpPr>
            <a:spLocks noGrp="1"/>
          </p:cNvSpPr>
          <p:nvPr>
            <p:ph type="pic" sz="quarter" idx="13" hasCustomPrompt="1"/>
          </p:nvPr>
        </p:nvSpPr>
        <p:spPr>
          <a:xfrm>
            <a:off x="4417537" y="1971856"/>
            <a:ext cx="3370738" cy="1237225"/>
          </a:xfrm>
          <a:prstGeom prst="rect">
            <a:avLst/>
          </a:prstGeom>
          <a:ln>
            <a:solidFill>
              <a:schemeClr val="accent1"/>
            </a:solidFill>
          </a:ln>
        </p:spPr>
        <p:txBody>
          <a:bodyPr anchor="ctr"/>
          <a:lstStyle>
            <a:lvl1pPr marL="228600" marR="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a:solidFill>
                  <a:schemeClr val="bg2"/>
                </a:solidFill>
              </a:defRPr>
            </a:lvl1pPr>
          </a:lstStyle>
          <a:p>
            <a:pPr marL="228600" marR="0" lvl="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Insert client logo here</a:t>
            </a:r>
          </a:p>
        </p:txBody>
      </p:sp>
      <p:sp>
        <p:nvSpPr>
          <p:cNvPr id="8" name="Marcador de posición de imagen 2">
            <a:extLst>
              <a:ext uri="{FF2B5EF4-FFF2-40B4-BE49-F238E27FC236}">
                <a16:creationId xmlns:a16="http://schemas.microsoft.com/office/drawing/2014/main" id="{89F21956-4998-442B-A3C4-9C3B52C1B89B}"/>
              </a:ext>
            </a:extLst>
          </p:cNvPr>
          <p:cNvSpPr>
            <a:spLocks noGrp="1"/>
          </p:cNvSpPr>
          <p:nvPr>
            <p:ph type="pic" sz="quarter" idx="14" hasCustomPrompt="1"/>
          </p:nvPr>
        </p:nvSpPr>
        <p:spPr>
          <a:xfrm>
            <a:off x="8444462" y="1971856"/>
            <a:ext cx="3370738" cy="1237225"/>
          </a:xfrm>
          <a:prstGeom prst="rect">
            <a:avLst/>
          </a:prstGeom>
          <a:ln>
            <a:solidFill>
              <a:schemeClr val="accent1"/>
            </a:solidFill>
          </a:ln>
        </p:spPr>
        <p:txBody>
          <a:bodyPr anchor="ctr"/>
          <a:lstStyle>
            <a:lvl1pPr marL="228600" marR="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a:solidFill>
                  <a:schemeClr val="bg2"/>
                </a:solidFill>
              </a:defRPr>
            </a:lvl1pPr>
          </a:lstStyle>
          <a:p>
            <a:pPr marL="228600" marR="0" lvl="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Insert client logo here</a:t>
            </a:r>
          </a:p>
        </p:txBody>
      </p:sp>
      <p:sp>
        <p:nvSpPr>
          <p:cNvPr id="9" name="Marcador de posición de imagen 2">
            <a:extLst>
              <a:ext uri="{FF2B5EF4-FFF2-40B4-BE49-F238E27FC236}">
                <a16:creationId xmlns:a16="http://schemas.microsoft.com/office/drawing/2014/main" id="{289A5EEB-795F-462A-B1C1-C5513C87A0C7}"/>
              </a:ext>
            </a:extLst>
          </p:cNvPr>
          <p:cNvSpPr>
            <a:spLocks noGrp="1"/>
          </p:cNvSpPr>
          <p:nvPr>
            <p:ph type="pic" sz="quarter" idx="15" hasCustomPrompt="1"/>
          </p:nvPr>
        </p:nvSpPr>
        <p:spPr>
          <a:xfrm>
            <a:off x="376799" y="3781324"/>
            <a:ext cx="3347325" cy="1237225"/>
          </a:xfrm>
          <a:prstGeom prst="rect">
            <a:avLst/>
          </a:prstGeom>
          <a:ln>
            <a:solidFill>
              <a:schemeClr val="accent1"/>
            </a:solidFill>
          </a:ln>
        </p:spPr>
        <p:txBody>
          <a:bodyPr anchor="ctr"/>
          <a:lstStyle>
            <a:lvl1pPr marL="228600" marR="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a:solidFill>
                  <a:schemeClr val="bg2"/>
                </a:solidFill>
              </a:defRPr>
            </a:lvl1pPr>
          </a:lstStyle>
          <a:p>
            <a:pPr marL="228600" marR="0" lvl="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Insert client logo here</a:t>
            </a:r>
          </a:p>
        </p:txBody>
      </p:sp>
      <p:sp>
        <p:nvSpPr>
          <p:cNvPr id="10" name="Marcador de posición de imagen 2">
            <a:extLst>
              <a:ext uri="{FF2B5EF4-FFF2-40B4-BE49-F238E27FC236}">
                <a16:creationId xmlns:a16="http://schemas.microsoft.com/office/drawing/2014/main" id="{F9907DE7-A9A4-43E1-8603-767CDA87B9DA}"/>
              </a:ext>
            </a:extLst>
          </p:cNvPr>
          <p:cNvSpPr>
            <a:spLocks noGrp="1"/>
          </p:cNvSpPr>
          <p:nvPr>
            <p:ph type="pic" sz="quarter" idx="16" hasCustomPrompt="1"/>
          </p:nvPr>
        </p:nvSpPr>
        <p:spPr>
          <a:xfrm>
            <a:off x="4422862" y="3781324"/>
            <a:ext cx="3370738" cy="1237225"/>
          </a:xfrm>
          <a:prstGeom prst="rect">
            <a:avLst/>
          </a:prstGeom>
          <a:ln>
            <a:solidFill>
              <a:schemeClr val="accent1"/>
            </a:solidFill>
          </a:ln>
        </p:spPr>
        <p:txBody>
          <a:bodyPr anchor="ctr"/>
          <a:lstStyle>
            <a:lvl1pPr marL="228600" marR="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a:solidFill>
                  <a:schemeClr val="bg2"/>
                </a:solidFill>
              </a:defRPr>
            </a:lvl1pPr>
          </a:lstStyle>
          <a:p>
            <a:pPr marL="228600" marR="0" lvl="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Insert client logo here</a:t>
            </a:r>
          </a:p>
        </p:txBody>
      </p:sp>
      <p:sp>
        <p:nvSpPr>
          <p:cNvPr id="11" name="Marcador de posición de imagen 2">
            <a:extLst>
              <a:ext uri="{FF2B5EF4-FFF2-40B4-BE49-F238E27FC236}">
                <a16:creationId xmlns:a16="http://schemas.microsoft.com/office/drawing/2014/main" id="{715A367D-3A19-4613-A602-0E3E913F3989}"/>
              </a:ext>
            </a:extLst>
          </p:cNvPr>
          <p:cNvSpPr>
            <a:spLocks noGrp="1"/>
          </p:cNvSpPr>
          <p:nvPr>
            <p:ph type="pic" sz="quarter" idx="17" hasCustomPrompt="1"/>
          </p:nvPr>
        </p:nvSpPr>
        <p:spPr>
          <a:xfrm>
            <a:off x="8449787" y="3781324"/>
            <a:ext cx="3370738" cy="1237225"/>
          </a:xfrm>
          <a:prstGeom prst="rect">
            <a:avLst/>
          </a:prstGeom>
          <a:ln>
            <a:solidFill>
              <a:schemeClr val="accent1"/>
            </a:solidFill>
          </a:ln>
        </p:spPr>
        <p:txBody>
          <a:bodyPr anchor="ctr"/>
          <a:lstStyle>
            <a:lvl1pPr marL="228600" marR="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a:solidFill>
                  <a:schemeClr val="bg2"/>
                </a:solidFill>
              </a:defRPr>
            </a:lvl1pPr>
          </a:lstStyle>
          <a:p>
            <a:pPr marL="228600" marR="0" lvl="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Insert client logo here</a:t>
            </a:r>
          </a:p>
        </p:txBody>
      </p:sp>
      <p:sp>
        <p:nvSpPr>
          <p:cNvPr id="12" name="Rectangle 11">
            <a:extLst>
              <a:ext uri="{FF2B5EF4-FFF2-40B4-BE49-F238E27FC236}">
                <a16:creationId xmlns:a16="http://schemas.microsoft.com/office/drawing/2014/main" id="{B51D43D1-EDB8-4617-9195-9A772A76094A}"/>
              </a:ext>
            </a:extLst>
          </p:cNvPr>
          <p:cNvSpPr/>
          <p:nvPr userDrawn="1"/>
        </p:nvSpPr>
        <p:spPr>
          <a:xfrm>
            <a:off x="3051745"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3" name="Rectangle 12">
            <a:extLst>
              <a:ext uri="{FF2B5EF4-FFF2-40B4-BE49-F238E27FC236}">
                <a16:creationId xmlns:a16="http://schemas.microsoft.com/office/drawing/2014/main" id="{C6BA317E-69D7-45F4-8F8E-70C4165EB3FA}"/>
              </a:ext>
            </a:extLst>
          </p:cNvPr>
          <p:cNvSpPr/>
          <p:nvPr userDrawn="1"/>
        </p:nvSpPr>
        <p:spPr>
          <a:xfrm>
            <a:off x="7490"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4" name="Rectangle 13">
            <a:extLst>
              <a:ext uri="{FF2B5EF4-FFF2-40B4-BE49-F238E27FC236}">
                <a16:creationId xmlns:a16="http://schemas.microsoft.com/office/drawing/2014/main" id="{234C6D53-4186-4C01-B4E8-7B4358245932}"/>
              </a:ext>
            </a:extLst>
          </p:cNvPr>
          <p:cNvSpPr/>
          <p:nvPr userDrawn="1"/>
        </p:nvSpPr>
        <p:spPr>
          <a:xfrm>
            <a:off x="9149414"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5" name="Rectangle 14">
            <a:extLst>
              <a:ext uri="{FF2B5EF4-FFF2-40B4-BE49-F238E27FC236}">
                <a16:creationId xmlns:a16="http://schemas.microsoft.com/office/drawing/2014/main" id="{FDC93D94-5680-416F-9D35-777E1C5379CD}"/>
              </a:ext>
            </a:extLst>
          </p:cNvPr>
          <p:cNvSpPr/>
          <p:nvPr userDrawn="1"/>
        </p:nvSpPr>
        <p:spPr>
          <a:xfrm>
            <a:off x="6105159"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Tree>
    <p:extLst>
      <p:ext uri="{BB962C8B-B14F-4D97-AF65-F5344CB8AC3E}">
        <p14:creationId xmlns:p14="http://schemas.microsoft.com/office/powerpoint/2010/main" val="104421520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ransition slide A">
    <p:bg>
      <p:bgPr>
        <a:gradFill flip="none" rotWithShape="1">
          <a:gsLst>
            <a:gs pos="0">
              <a:schemeClr val="accent1"/>
            </a:gs>
            <a:gs pos="100000">
              <a:schemeClr val="accent2"/>
            </a:gs>
          </a:gsLst>
          <a:lin ang="5400000" scaled="1"/>
          <a:tileRect/>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799C6CA-CACC-40BA-A825-A176D22A874B}"/>
              </a:ext>
            </a:extLst>
          </p:cNvPr>
          <p:cNvGraphicFramePr>
            <a:graphicFrameLocks noChangeAspect="1"/>
          </p:cNvGraphicFramePr>
          <p:nvPr userDrawn="1">
            <p:custDataLst>
              <p:tags r:id="rId2"/>
            </p:custDataLst>
            <p:extLst>
              <p:ext uri="{D42A27DB-BD31-4B8C-83A1-F6EECF244321}">
                <p14:modId xmlns:p14="http://schemas.microsoft.com/office/powerpoint/2010/main" val="24688400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0" name="think-cell Slide" r:id="rId5" imgW="473" imgH="474" progId="TCLayout.ActiveDocument.1">
                  <p:embed/>
                </p:oleObj>
              </mc:Choice>
              <mc:Fallback>
                <p:oleObj name="think-cell Slide" r:id="rId5" imgW="473" imgH="474" progId="TCLayout.ActiveDocument.1">
                  <p:embed/>
                  <p:pic>
                    <p:nvPicPr>
                      <p:cNvPr id="3" name="Object 2" hidden="1">
                        <a:extLst>
                          <a:ext uri="{FF2B5EF4-FFF2-40B4-BE49-F238E27FC236}">
                            <a16:creationId xmlns:a16="http://schemas.microsoft.com/office/drawing/2014/main" id="{8799C6CA-CACC-40BA-A825-A176D22A874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00FC0C89-C1CE-4776-A3D4-6245EB1A333E}"/>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Verdana" panose="020B0604030504040204" pitchFamily="34" charset="0"/>
              <a:ea typeface="+mj-ea"/>
              <a:cs typeface="+mj-cs"/>
              <a:sym typeface="Verdana" panose="020B0604030504040204" pitchFamily="34" charset="0"/>
            </a:endParaRPr>
          </a:p>
        </p:txBody>
      </p:sp>
      <p:sp>
        <p:nvSpPr>
          <p:cNvPr id="6" name="Title 5">
            <a:extLst>
              <a:ext uri="{FF2B5EF4-FFF2-40B4-BE49-F238E27FC236}">
                <a16:creationId xmlns:a16="http://schemas.microsoft.com/office/drawing/2014/main" id="{A4B4FC7D-4393-4A68-A6C5-568B02850E9B}"/>
              </a:ext>
            </a:extLst>
          </p:cNvPr>
          <p:cNvSpPr>
            <a:spLocks noGrp="1"/>
          </p:cNvSpPr>
          <p:nvPr>
            <p:ph type="title" hasCustomPrompt="1"/>
          </p:nvPr>
        </p:nvSpPr>
        <p:spPr>
          <a:xfrm>
            <a:off x="947739" y="1592263"/>
            <a:ext cx="5148261" cy="2334072"/>
          </a:xfrm>
        </p:spPr>
        <p:txBody>
          <a:bodyPr anchor="b"/>
          <a:lstStyle>
            <a:lvl1pPr>
              <a:defRPr sz="3600">
                <a:solidFill>
                  <a:srgbClr val="FFFFFF"/>
                </a:solidFill>
              </a:defRPr>
            </a:lvl1pPr>
          </a:lstStyle>
          <a:p>
            <a:r>
              <a:rPr lang="en-US"/>
              <a:t>Title</a:t>
            </a:r>
          </a:p>
        </p:txBody>
      </p:sp>
      <p:sp>
        <p:nvSpPr>
          <p:cNvPr id="11" name="Marcador de texto 2">
            <a:extLst>
              <a:ext uri="{FF2B5EF4-FFF2-40B4-BE49-F238E27FC236}">
                <a16:creationId xmlns:a16="http://schemas.microsoft.com/office/drawing/2014/main" id="{7DF24BF0-C3D8-4A33-9A94-03CE8CC973C2}"/>
              </a:ext>
            </a:extLst>
          </p:cNvPr>
          <p:cNvSpPr>
            <a:spLocks noGrp="1"/>
          </p:cNvSpPr>
          <p:nvPr>
            <p:ph type="body" idx="10" hasCustomPrompt="1"/>
          </p:nvPr>
        </p:nvSpPr>
        <p:spPr>
          <a:xfrm>
            <a:off x="947739" y="4093103"/>
            <a:ext cx="5148261" cy="1712385"/>
          </a:xfrm>
          <a:prstGeom prst="rect">
            <a:avLst/>
          </a:prstGeom>
        </p:spPr>
        <p:txBody>
          <a:bodyPr lIns="0" tIns="0" rIns="0" bIns="0" anchor="t"/>
          <a:lstStyle>
            <a:lvl1pPr marL="0" indent="0">
              <a:lnSpc>
                <a:spcPct val="100000"/>
              </a:lnSpc>
              <a:spcBef>
                <a:spcPts val="0"/>
              </a:spcBef>
              <a:buNone/>
              <a:defRPr sz="2400" b="0">
                <a:solidFill>
                  <a:srgbClr val="FFFFFF"/>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err="1"/>
              <a:t>Subtitle</a:t>
            </a:r>
            <a:endParaRPr lang="es-ES" dirty="0"/>
          </a:p>
        </p:txBody>
      </p:sp>
      <p:sp>
        <p:nvSpPr>
          <p:cNvPr id="4" name="CuadroTexto 64">
            <a:extLst>
              <a:ext uri="{FF2B5EF4-FFF2-40B4-BE49-F238E27FC236}">
                <a16:creationId xmlns:a16="http://schemas.microsoft.com/office/drawing/2014/main" id="{CC2249F8-C077-487B-9BA3-4B911902A356}"/>
              </a:ext>
            </a:extLst>
          </p:cNvPr>
          <p:cNvSpPr txBox="1"/>
          <p:nvPr userDrawn="1"/>
        </p:nvSpPr>
        <p:spPr>
          <a:xfrm>
            <a:off x="10882303" y="6449284"/>
            <a:ext cx="936214" cy="138499"/>
          </a:xfrm>
          <a:prstGeom prst="rect">
            <a:avLst/>
          </a:prstGeom>
          <a:noFill/>
        </p:spPr>
        <p:txBody>
          <a:bodyPr wrap="square" lIns="0" tIns="0" rIns="0" bIns="0" rtlCol="0">
            <a:spAutoFit/>
          </a:bodyPr>
          <a:lstStyle/>
          <a:p>
            <a:pPr algn="r"/>
            <a:fld id="{A4EEDD72-1D6A-6B46-BCFA-C211F73E9379}" type="slidenum">
              <a:rPr lang="es-ES" sz="900" b="1" smtClean="0">
                <a:solidFill>
                  <a:schemeClr val="bg1"/>
                </a:solidFill>
                <a:latin typeface="Verdana" panose="020B0604030504040204" pitchFamily="34" charset="0"/>
                <a:ea typeface="Verdana" panose="020B0604030504040204" pitchFamily="34" charset="0"/>
                <a:cs typeface="Verdana" panose="020B0604030504040204" pitchFamily="34" charset="0"/>
              </a:rPr>
              <a:pPr algn="r"/>
              <a:t>‹N›</a:t>
            </a:fld>
            <a:endParaRPr lang="es-ES" sz="90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8" name="Marcador de posición de imagen 2">
            <a:extLst>
              <a:ext uri="{FF2B5EF4-FFF2-40B4-BE49-F238E27FC236}">
                <a16:creationId xmlns:a16="http://schemas.microsoft.com/office/drawing/2014/main" id="{6C35D55E-7563-4493-B483-B85E0BB97F8B}"/>
              </a:ext>
            </a:extLst>
          </p:cNvPr>
          <p:cNvSpPr>
            <a:spLocks noGrp="1"/>
          </p:cNvSpPr>
          <p:nvPr>
            <p:ph type="pic" sz="quarter" idx="12" hasCustomPrompt="1"/>
          </p:nvPr>
        </p:nvSpPr>
        <p:spPr>
          <a:xfrm>
            <a:off x="6538529" y="-14050"/>
            <a:ext cx="5670915" cy="6877222"/>
          </a:xfrm>
          <a:custGeom>
            <a:avLst/>
            <a:gdLst>
              <a:gd name="connsiteX0" fmla="*/ 0 w 4592124"/>
              <a:gd name="connsiteY0" fmla="*/ 0 h 6858000"/>
              <a:gd name="connsiteX1" fmla="*/ 4592124 w 4592124"/>
              <a:gd name="connsiteY1" fmla="*/ 0 h 6858000"/>
              <a:gd name="connsiteX2" fmla="*/ 4592124 w 4592124"/>
              <a:gd name="connsiteY2" fmla="*/ 6858000 h 6858000"/>
              <a:gd name="connsiteX3" fmla="*/ 0 w 4592124"/>
              <a:gd name="connsiteY3" fmla="*/ 6858000 h 6858000"/>
              <a:gd name="connsiteX4" fmla="*/ 0 w 4592124"/>
              <a:gd name="connsiteY4" fmla="*/ 0 h 6858000"/>
              <a:gd name="connsiteX0" fmla="*/ 2549525 w 4592124"/>
              <a:gd name="connsiteY0" fmla="*/ 1058 h 6858000"/>
              <a:gd name="connsiteX1" fmla="*/ 4592124 w 4592124"/>
              <a:gd name="connsiteY1" fmla="*/ 0 h 6858000"/>
              <a:gd name="connsiteX2" fmla="*/ 4592124 w 4592124"/>
              <a:gd name="connsiteY2" fmla="*/ 6858000 h 6858000"/>
              <a:gd name="connsiteX3" fmla="*/ 0 w 4592124"/>
              <a:gd name="connsiteY3" fmla="*/ 6858000 h 6858000"/>
              <a:gd name="connsiteX4" fmla="*/ 2549525 w 4592124"/>
              <a:gd name="connsiteY4" fmla="*/ 1058 h 6858000"/>
              <a:gd name="connsiteX0" fmla="*/ 2549525 w 4592124"/>
              <a:gd name="connsiteY0" fmla="*/ 0 h 6856942"/>
              <a:gd name="connsiteX1" fmla="*/ 4592124 w 4592124"/>
              <a:gd name="connsiteY1" fmla="*/ 1371762 h 6856942"/>
              <a:gd name="connsiteX2" fmla="*/ 4592124 w 4592124"/>
              <a:gd name="connsiteY2" fmla="*/ 6856942 h 6856942"/>
              <a:gd name="connsiteX3" fmla="*/ 0 w 4592124"/>
              <a:gd name="connsiteY3" fmla="*/ 6856942 h 6856942"/>
              <a:gd name="connsiteX4" fmla="*/ 2549525 w 4592124"/>
              <a:gd name="connsiteY4" fmla="*/ 0 h 6856942"/>
              <a:gd name="connsiteX0" fmla="*/ 2045812 w 4592124"/>
              <a:gd name="connsiteY0" fmla="*/ 1058 h 5485180"/>
              <a:gd name="connsiteX1" fmla="*/ 4592124 w 4592124"/>
              <a:gd name="connsiteY1" fmla="*/ 0 h 5485180"/>
              <a:gd name="connsiteX2" fmla="*/ 4592124 w 4592124"/>
              <a:gd name="connsiteY2" fmla="*/ 5485180 h 5485180"/>
              <a:gd name="connsiteX3" fmla="*/ 0 w 4592124"/>
              <a:gd name="connsiteY3" fmla="*/ 5485180 h 5485180"/>
              <a:gd name="connsiteX4" fmla="*/ 2045812 w 4592124"/>
              <a:gd name="connsiteY4" fmla="*/ 1058 h 5485180"/>
              <a:gd name="connsiteX0" fmla="*/ 2028628 w 4592124"/>
              <a:gd name="connsiteY0" fmla="*/ 36027 h 5485180"/>
              <a:gd name="connsiteX1" fmla="*/ 4592124 w 4592124"/>
              <a:gd name="connsiteY1" fmla="*/ 0 h 5485180"/>
              <a:gd name="connsiteX2" fmla="*/ 4592124 w 4592124"/>
              <a:gd name="connsiteY2" fmla="*/ 5485180 h 5485180"/>
              <a:gd name="connsiteX3" fmla="*/ 0 w 4592124"/>
              <a:gd name="connsiteY3" fmla="*/ 5485180 h 5485180"/>
              <a:gd name="connsiteX4" fmla="*/ 2028628 w 4592124"/>
              <a:gd name="connsiteY4" fmla="*/ 36027 h 5485180"/>
              <a:gd name="connsiteX0" fmla="*/ 2028628 w 4592124"/>
              <a:gd name="connsiteY0" fmla="*/ 4509 h 5453662"/>
              <a:gd name="connsiteX1" fmla="*/ 4568296 w 4592124"/>
              <a:gd name="connsiteY1" fmla="*/ 0 h 5453662"/>
              <a:gd name="connsiteX2" fmla="*/ 4592124 w 4592124"/>
              <a:gd name="connsiteY2" fmla="*/ 5453662 h 5453662"/>
              <a:gd name="connsiteX3" fmla="*/ 0 w 4592124"/>
              <a:gd name="connsiteY3" fmla="*/ 5453662 h 5453662"/>
              <a:gd name="connsiteX4" fmla="*/ 2028628 w 4592124"/>
              <a:gd name="connsiteY4" fmla="*/ 4509 h 5453662"/>
              <a:gd name="connsiteX0" fmla="*/ 2028628 w 4743341"/>
              <a:gd name="connsiteY0" fmla="*/ 4509 h 5460656"/>
              <a:gd name="connsiteX1" fmla="*/ 4568296 w 4743341"/>
              <a:gd name="connsiteY1" fmla="*/ 0 h 5460656"/>
              <a:gd name="connsiteX2" fmla="*/ 4743341 w 4743341"/>
              <a:gd name="connsiteY2" fmla="*/ 5460656 h 5460656"/>
              <a:gd name="connsiteX3" fmla="*/ 0 w 4743341"/>
              <a:gd name="connsiteY3" fmla="*/ 5453662 h 5460656"/>
              <a:gd name="connsiteX4" fmla="*/ 2028628 w 4743341"/>
              <a:gd name="connsiteY4" fmla="*/ 4509 h 5460656"/>
              <a:gd name="connsiteX0" fmla="*/ 2028628 w 4760755"/>
              <a:gd name="connsiteY0" fmla="*/ 4509 h 5460656"/>
              <a:gd name="connsiteX1" fmla="*/ 4760755 w 4760755"/>
              <a:gd name="connsiteY1" fmla="*/ 0 h 5460656"/>
              <a:gd name="connsiteX2" fmla="*/ 4743341 w 4760755"/>
              <a:gd name="connsiteY2" fmla="*/ 5460656 h 5460656"/>
              <a:gd name="connsiteX3" fmla="*/ 0 w 4760755"/>
              <a:gd name="connsiteY3" fmla="*/ 5453662 h 5460656"/>
              <a:gd name="connsiteX4" fmla="*/ 2028628 w 4760755"/>
              <a:gd name="connsiteY4" fmla="*/ 4509 h 5460656"/>
              <a:gd name="connsiteX0" fmla="*/ 2042201 w 4774328"/>
              <a:gd name="connsiteY0" fmla="*/ 4509 h 5467473"/>
              <a:gd name="connsiteX1" fmla="*/ 4774328 w 4774328"/>
              <a:gd name="connsiteY1" fmla="*/ 0 h 5467473"/>
              <a:gd name="connsiteX2" fmla="*/ 4756914 w 4774328"/>
              <a:gd name="connsiteY2" fmla="*/ 5460656 h 5467473"/>
              <a:gd name="connsiteX3" fmla="*/ 0 w 4774328"/>
              <a:gd name="connsiteY3" fmla="*/ 5467473 h 5467473"/>
              <a:gd name="connsiteX4" fmla="*/ 2042201 w 4774328"/>
              <a:gd name="connsiteY4" fmla="*/ 4509 h 5467473"/>
              <a:gd name="connsiteX0" fmla="*/ 2042201 w 4774328"/>
              <a:gd name="connsiteY0" fmla="*/ 4509 h 5474466"/>
              <a:gd name="connsiteX1" fmla="*/ 4774328 w 4774328"/>
              <a:gd name="connsiteY1" fmla="*/ 0 h 5474466"/>
              <a:gd name="connsiteX2" fmla="*/ 4765962 w 4774328"/>
              <a:gd name="connsiteY2" fmla="*/ 5474466 h 5474466"/>
              <a:gd name="connsiteX3" fmla="*/ 0 w 4774328"/>
              <a:gd name="connsiteY3" fmla="*/ 5467473 h 5474466"/>
              <a:gd name="connsiteX4" fmla="*/ 2042201 w 4774328"/>
              <a:gd name="connsiteY4" fmla="*/ 4509 h 5474466"/>
              <a:gd name="connsiteX0" fmla="*/ 2042201 w 4778853"/>
              <a:gd name="connsiteY0" fmla="*/ 0 h 5469957"/>
              <a:gd name="connsiteX1" fmla="*/ 4778853 w 4778853"/>
              <a:gd name="connsiteY1" fmla="*/ 4698 h 5469957"/>
              <a:gd name="connsiteX2" fmla="*/ 4765962 w 4778853"/>
              <a:gd name="connsiteY2" fmla="*/ 5469957 h 5469957"/>
              <a:gd name="connsiteX3" fmla="*/ 0 w 4778853"/>
              <a:gd name="connsiteY3" fmla="*/ 5462964 h 5469957"/>
              <a:gd name="connsiteX4" fmla="*/ 2042201 w 4778853"/>
              <a:gd name="connsiteY4" fmla="*/ 0 h 5469957"/>
              <a:gd name="connsiteX0" fmla="*/ 2042201 w 4781135"/>
              <a:gd name="connsiteY0" fmla="*/ 0 h 5462964"/>
              <a:gd name="connsiteX1" fmla="*/ 4778853 w 4781135"/>
              <a:gd name="connsiteY1" fmla="*/ 4698 h 5462964"/>
              <a:gd name="connsiteX2" fmla="*/ 4779535 w 4781135"/>
              <a:gd name="connsiteY2" fmla="*/ 5460751 h 5462964"/>
              <a:gd name="connsiteX3" fmla="*/ 0 w 4781135"/>
              <a:gd name="connsiteY3" fmla="*/ 5462964 h 5462964"/>
              <a:gd name="connsiteX4" fmla="*/ 2042201 w 4781135"/>
              <a:gd name="connsiteY4" fmla="*/ 0 h 5462964"/>
              <a:gd name="connsiteX0" fmla="*/ 2046725 w 4781135"/>
              <a:gd name="connsiteY0" fmla="*/ 0 h 5467567"/>
              <a:gd name="connsiteX1" fmla="*/ 4778853 w 4781135"/>
              <a:gd name="connsiteY1" fmla="*/ 9301 h 5467567"/>
              <a:gd name="connsiteX2" fmla="*/ 4779535 w 4781135"/>
              <a:gd name="connsiteY2" fmla="*/ 5465354 h 5467567"/>
              <a:gd name="connsiteX3" fmla="*/ 0 w 4781135"/>
              <a:gd name="connsiteY3" fmla="*/ 5467567 h 5467567"/>
              <a:gd name="connsiteX4" fmla="*/ 2046725 w 4781135"/>
              <a:gd name="connsiteY4" fmla="*/ 0 h 5467567"/>
              <a:gd name="connsiteX0" fmla="*/ 2046725 w 4779604"/>
              <a:gd name="connsiteY0" fmla="*/ 2821 h 5470388"/>
              <a:gd name="connsiteX1" fmla="*/ 4433343 w 4779604"/>
              <a:gd name="connsiteY1" fmla="*/ 0 h 5470388"/>
              <a:gd name="connsiteX2" fmla="*/ 4779535 w 4779604"/>
              <a:gd name="connsiteY2" fmla="*/ 5468175 h 5470388"/>
              <a:gd name="connsiteX3" fmla="*/ 0 w 4779604"/>
              <a:gd name="connsiteY3" fmla="*/ 5470388 h 5470388"/>
              <a:gd name="connsiteX4" fmla="*/ 2046725 w 4779604"/>
              <a:gd name="connsiteY4" fmla="*/ 2821 h 5470388"/>
              <a:gd name="connsiteX0" fmla="*/ 2046725 w 4433343"/>
              <a:gd name="connsiteY0" fmla="*/ 2821 h 5470388"/>
              <a:gd name="connsiteX1" fmla="*/ 4433343 w 4433343"/>
              <a:gd name="connsiteY1" fmla="*/ 0 h 5470388"/>
              <a:gd name="connsiteX2" fmla="*/ 4426082 w 4433343"/>
              <a:gd name="connsiteY2" fmla="*/ 5468175 h 5470388"/>
              <a:gd name="connsiteX3" fmla="*/ 0 w 4433343"/>
              <a:gd name="connsiteY3" fmla="*/ 5470388 h 5470388"/>
              <a:gd name="connsiteX4" fmla="*/ 2046725 w 4433343"/>
              <a:gd name="connsiteY4" fmla="*/ 2821 h 5470388"/>
              <a:gd name="connsiteX0" fmla="*/ 2046725 w 4433343"/>
              <a:gd name="connsiteY0" fmla="*/ 2821 h 5470388"/>
              <a:gd name="connsiteX1" fmla="*/ 4433343 w 4433343"/>
              <a:gd name="connsiteY1" fmla="*/ 0 h 5470388"/>
              <a:gd name="connsiteX2" fmla="*/ 4426082 w 4433343"/>
              <a:gd name="connsiteY2" fmla="*/ 5468175 h 5470388"/>
              <a:gd name="connsiteX3" fmla="*/ 0 w 4433343"/>
              <a:gd name="connsiteY3" fmla="*/ 5470388 h 5470388"/>
              <a:gd name="connsiteX4" fmla="*/ 2046725 w 4433343"/>
              <a:gd name="connsiteY4" fmla="*/ 2821 h 5470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3343" h="5470388">
                <a:moveTo>
                  <a:pt x="2046725" y="2821"/>
                </a:moveTo>
                <a:lnTo>
                  <a:pt x="4433343" y="0"/>
                </a:lnTo>
                <a:cubicBezTo>
                  <a:pt x="4427538" y="1820219"/>
                  <a:pt x="4431887" y="3647956"/>
                  <a:pt x="4426082" y="5468175"/>
                </a:cubicBezTo>
                <a:lnTo>
                  <a:pt x="0" y="5470388"/>
                </a:lnTo>
                <a:lnTo>
                  <a:pt x="2046725" y="2821"/>
                </a:lnTo>
                <a:close/>
              </a:path>
            </a:pathLst>
          </a:custGeom>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F9900"/>
                </a:solidFill>
                <a:prstDash val="solid"/>
                <a:round/>
                <a:headEnd type="none" w="med" len="med"/>
                <a:tailEnd type="none" w="med" len="med"/>
              </a14:hiddenLine>
            </a:ext>
          </a:extLst>
        </p:spPr>
        <p:txBody>
          <a:bodyPr anchor="ctr"/>
          <a:lstStyle>
            <a:lvl1pPr marL="228600" marR="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a:solidFill>
                  <a:srgbClr val="FFFFFF"/>
                </a:solidFill>
              </a:defRPr>
            </a:lvl1pPr>
          </a:lstStyle>
          <a:p>
            <a:pPr marL="228600" marR="0" lvl="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Drag picture to placeholder </a:t>
            </a:r>
            <a:br>
              <a:rPr lang="en-US" dirty="0"/>
            </a:br>
            <a:r>
              <a:rPr lang="en-US" dirty="0"/>
              <a:t>or click icon to add</a:t>
            </a:r>
          </a:p>
        </p:txBody>
      </p:sp>
      <p:sp>
        <p:nvSpPr>
          <p:cNvPr id="10" name="Rectangle 9">
            <a:extLst>
              <a:ext uri="{FF2B5EF4-FFF2-40B4-BE49-F238E27FC236}">
                <a16:creationId xmlns:a16="http://schemas.microsoft.com/office/drawing/2014/main" id="{D9B3FDCE-92B0-4D77-90B6-4ABEC7571585}"/>
              </a:ext>
            </a:extLst>
          </p:cNvPr>
          <p:cNvSpPr/>
          <p:nvPr userDrawn="1"/>
        </p:nvSpPr>
        <p:spPr>
          <a:xfrm>
            <a:off x="3051745"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2" name="Rectangle 11">
            <a:extLst>
              <a:ext uri="{FF2B5EF4-FFF2-40B4-BE49-F238E27FC236}">
                <a16:creationId xmlns:a16="http://schemas.microsoft.com/office/drawing/2014/main" id="{E3BE0114-44D3-492A-9611-99D541051A5A}"/>
              </a:ext>
            </a:extLst>
          </p:cNvPr>
          <p:cNvSpPr/>
          <p:nvPr userDrawn="1"/>
        </p:nvSpPr>
        <p:spPr>
          <a:xfrm>
            <a:off x="7490"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3" name="Rectangle 12">
            <a:extLst>
              <a:ext uri="{FF2B5EF4-FFF2-40B4-BE49-F238E27FC236}">
                <a16:creationId xmlns:a16="http://schemas.microsoft.com/office/drawing/2014/main" id="{3AA55E4F-FC1E-4ED4-9C8D-40175F4569F6}"/>
              </a:ext>
            </a:extLst>
          </p:cNvPr>
          <p:cNvSpPr/>
          <p:nvPr userDrawn="1"/>
        </p:nvSpPr>
        <p:spPr>
          <a:xfrm>
            <a:off x="9149414"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4" name="Rectangle 13">
            <a:extLst>
              <a:ext uri="{FF2B5EF4-FFF2-40B4-BE49-F238E27FC236}">
                <a16:creationId xmlns:a16="http://schemas.microsoft.com/office/drawing/2014/main" id="{713B124D-9D1E-42DC-8736-6E41F2C0EAA8}"/>
              </a:ext>
            </a:extLst>
          </p:cNvPr>
          <p:cNvSpPr/>
          <p:nvPr userDrawn="1"/>
        </p:nvSpPr>
        <p:spPr>
          <a:xfrm>
            <a:off x="6105159"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Tree>
    <p:extLst>
      <p:ext uri="{BB962C8B-B14F-4D97-AF65-F5344CB8AC3E}">
        <p14:creationId xmlns:p14="http://schemas.microsoft.com/office/powerpoint/2010/main" val="226110217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Screen Mock Ups">
    <p:spTree>
      <p:nvGrpSpPr>
        <p:cNvPr id="1" name=""/>
        <p:cNvGrpSpPr/>
        <p:nvPr/>
      </p:nvGrpSpPr>
      <p:grpSpPr>
        <a:xfrm>
          <a:off x="0" y="0"/>
          <a:ext cx="0" cy="0"/>
          <a:chOff x="0" y="0"/>
          <a:chExt cx="0" cy="0"/>
        </a:xfrm>
      </p:grpSpPr>
      <p:sp>
        <p:nvSpPr>
          <p:cNvPr id="23" name="Rectángulo 1">
            <a:extLst>
              <a:ext uri="{FF2B5EF4-FFF2-40B4-BE49-F238E27FC236}">
                <a16:creationId xmlns:a16="http://schemas.microsoft.com/office/drawing/2014/main" id="{09D36D77-E84A-4443-AE6A-B66BB6340CB0}"/>
              </a:ext>
            </a:extLst>
          </p:cNvPr>
          <p:cNvSpPr/>
          <p:nvPr userDrawn="1"/>
        </p:nvSpPr>
        <p:spPr>
          <a:xfrm>
            <a:off x="-7838" y="0"/>
            <a:ext cx="12199838" cy="2636838"/>
          </a:xfrm>
          <a:prstGeom prst="rect">
            <a:avLst/>
          </a:prstGeom>
          <a:gradFill>
            <a:gsLst>
              <a:gs pos="0">
                <a:schemeClr val="accent1"/>
              </a:gs>
              <a:gs pos="100000">
                <a:schemeClr val="accent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accent4"/>
              </a:solidFill>
            </a:endParaRPr>
          </a:p>
        </p:txBody>
      </p:sp>
      <p:sp>
        <p:nvSpPr>
          <p:cNvPr id="13" name="Marcador de texto 3">
            <a:extLst>
              <a:ext uri="{FF2B5EF4-FFF2-40B4-BE49-F238E27FC236}">
                <a16:creationId xmlns:a16="http://schemas.microsoft.com/office/drawing/2014/main" id="{11C2339C-4F0F-4229-868D-EA06EE2ABB46}"/>
              </a:ext>
            </a:extLst>
          </p:cNvPr>
          <p:cNvSpPr>
            <a:spLocks noGrp="1"/>
          </p:cNvSpPr>
          <p:nvPr>
            <p:ph type="body" sz="quarter" idx="30"/>
          </p:nvPr>
        </p:nvSpPr>
        <p:spPr>
          <a:xfrm>
            <a:off x="371871" y="4798620"/>
            <a:ext cx="2219893" cy="320399"/>
          </a:xfrm>
          <a:prstGeom prst="rect">
            <a:avLst/>
          </a:prstGeom>
        </p:spPr>
        <p:txBody>
          <a:bodyPr lIns="0" tIns="0" rIns="0" bIns="0"/>
          <a:lstStyle>
            <a:lvl1pPr algn="ctr">
              <a:buNone/>
              <a:defRPr sz="1400" b="1">
                <a:solidFill>
                  <a:schemeClr val="tx1"/>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endParaRPr lang="en-GB" dirty="0"/>
          </a:p>
        </p:txBody>
      </p:sp>
      <p:sp>
        <p:nvSpPr>
          <p:cNvPr id="14" name="Text Placeholder 9">
            <a:extLst>
              <a:ext uri="{FF2B5EF4-FFF2-40B4-BE49-F238E27FC236}">
                <a16:creationId xmlns:a16="http://schemas.microsoft.com/office/drawing/2014/main" id="{C968167E-03C0-40CB-A0AA-D4B01F77458D}"/>
              </a:ext>
            </a:extLst>
          </p:cNvPr>
          <p:cNvSpPr>
            <a:spLocks noGrp="1"/>
          </p:cNvSpPr>
          <p:nvPr>
            <p:ph type="body" sz="quarter" idx="31"/>
          </p:nvPr>
        </p:nvSpPr>
        <p:spPr>
          <a:xfrm>
            <a:off x="374672" y="5113608"/>
            <a:ext cx="2223844" cy="361949"/>
          </a:xfrm>
        </p:spPr>
        <p:txBody>
          <a:bodyPr/>
          <a:lstStyle>
            <a:lvl1pPr algn="ctr">
              <a:defRPr sz="1400"/>
            </a:lvl1pPr>
          </a:lstStyle>
          <a:p>
            <a:pPr lvl="0"/>
            <a:r>
              <a:rPr lang="en-US" dirty="0"/>
              <a:t>Click to edit Master text styles</a:t>
            </a:r>
          </a:p>
        </p:txBody>
      </p:sp>
      <p:sp>
        <p:nvSpPr>
          <p:cNvPr id="15" name="Marcador de texto 3">
            <a:extLst>
              <a:ext uri="{FF2B5EF4-FFF2-40B4-BE49-F238E27FC236}">
                <a16:creationId xmlns:a16="http://schemas.microsoft.com/office/drawing/2014/main" id="{74BFD1CF-4E09-4A9C-B27A-9D5AC094404C}"/>
              </a:ext>
            </a:extLst>
          </p:cNvPr>
          <p:cNvSpPr>
            <a:spLocks noGrp="1"/>
          </p:cNvSpPr>
          <p:nvPr>
            <p:ph type="body" sz="quarter" idx="32"/>
          </p:nvPr>
        </p:nvSpPr>
        <p:spPr>
          <a:xfrm>
            <a:off x="9590683" y="4804031"/>
            <a:ext cx="2219893" cy="320399"/>
          </a:xfrm>
          <a:prstGeom prst="rect">
            <a:avLst/>
          </a:prstGeom>
        </p:spPr>
        <p:txBody>
          <a:bodyPr lIns="0" tIns="0" rIns="0" bIns="0"/>
          <a:lstStyle>
            <a:lvl1pPr algn="ctr">
              <a:buNone/>
              <a:defRPr sz="1400" b="1">
                <a:solidFill>
                  <a:schemeClr val="tx1"/>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endParaRPr lang="en-GB" dirty="0"/>
          </a:p>
        </p:txBody>
      </p:sp>
      <p:sp>
        <p:nvSpPr>
          <p:cNvPr id="16" name="Text Placeholder 9">
            <a:extLst>
              <a:ext uri="{FF2B5EF4-FFF2-40B4-BE49-F238E27FC236}">
                <a16:creationId xmlns:a16="http://schemas.microsoft.com/office/drawing/2014/main" id="{E9E7F47C-1F45-43AD-91BE-0E123ECF9C0A}"/>
              </a:ext>
            </a:extLst>
          </p:cNvPr>
          <p:cNvSpPr>
            <a:spLocks noGrp="1"/>
          </p:cNvSpPr>
          <p:nvPr>
            <p:ph type="body" sz="quarter" idx="33"/>
          </p:nvPr>
        </p:nvSpPr>
        <p:spPr>
          <a:xfrm>
            <a:off x="9593484" y="5119019"/>
            <a:ext cx="2223844" cy="361949"/>
          </a:xfrm>
        </p:spPr>
        <p:txBody>
          <a:bodyPr/>
          <a:lstStyle>
            <a:lvl1pPr algn="ctr">
              <a:defRPr sz="1400"/>
            </a:lvl1pPr>
          </a:lstStyle>
          <a:p>
            <a:pPr lvl="0"/>
            <a:r>
              <a:rPr lang="en-US" dirty="0"/>
              <a:t>Click to edit Master text styles</a:t>
            </a:r>
          </a:p>
        </p:txBody>
      </p:sp>
      <p:sp>
        <p:nvSpPr>
          <p:cNvPr id="17" name="Marcador de texto 3">
            <a:extLst>
              <a:ext uri="{FF2B5EF4-FFF2-40B4-BE49-F238E27FC236}">
                <a16:creationId xmlns:a16="http://schemas.microsoft.com/office/drawing/2014/main" id="{E75E755B-551F-41D2-BD2E-92EB287673E0}"/>
              </a:ext>
            </a:extLst>
          </p:cNvPr>
          <p:cNvSpPr>
            <a:spLocks noGrp="1"/>
          </p:cNvSpPr>
          <p:nvPr>
            <p:ph type="body" sz="quarter" idx="34"/>
          </p:nvPr>
        </p:nvSpPr>
        <p:spPr>
          <a:xfrm>
            <a:off x="6479022" y="4804031"/>
            <a:ext cx="2219893" cy="320399"/>
          </a:xfrm>
          <a:prstGeom prst="rect">
            <a:avLst/>
          </a:prstGeom>
        </p:spPr>
        <p:txBody>
          <a:bodyPr lIns="0" tIns="0" rIns="0" bIns="0"/>
          <a:lstStyle>
            <a:lvl1pPr algn="ctr">
              <a:buNone/>
              <a:defRPr sz="1400" b="1">
                <a:solidFill>
                  <a:schemeClr val="tx1"/>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endParaRPr lang="en-GB" dirty="0"/>
          </a:p>
        </p:txBody>
      </p:sp>
      <p:sp>
        <p:nvSpPr>
          <p:cNvPr id="18" name="Text Placeholder 9">
            <a:extLst>
              <a:ext uri="{FF2B5EF4-FFF2-40B4-BE49-F238E27FC236}">
                <a16:creationId xmlns:a16="http://schemas.microsoft.com/office/drawing/2014/main" id="{E60A8A25-6B12-4703-83EF-E18353DE1327}"/>
              </a:ext>
            </a:extLst>
          </p:cNvPr>
          <p:cNvSpPr>
            <a:spLocks noGrp="1"/>
          </p:cNvSpPr>
          <p:nvPr>
            <p:ph type="body" sz="quarter" idx="35"/>
          </p:nvPr>
        </p:nvSpPr>
        <p:spPr>
          <a:xfrm>
            <a:off x="6481823" y="5119019"/>
            <a:ext cx="2223844" cy="361949"/>
          </a:xfrm>
        </p:spPr>
        <p:txBody>
          <a:bodyPr/>
          <a:lstStyle>
            <a:lvl1pPr algn="ctr">
              <a:defRPr sz="1400"/>
            </a:lvl1pPr>
          </a:lstStyle>
          <a:p>
            <a:pPr lvl="0"/>
            <a:r>
              <a:rPr lang="en-US" dirty="0"/>
              <a:t>Click to edit Master text styles</a:t>
            </a:r>
          </a:p>
        </p:txBody>
      </p:sp>
      <p:sp>
        <p:nvSpPr>
          <p:cNvPr id="19" name="Marcador de texto 3">
            <a:extLst>
              <a:ext uri="{FF2B5EF4-FFF2-40B4-BE49-F238E27FC236}">
                <a16:creationId xmlns:a16="http://schemas.microsoft.com/office/drawing/2014/main" id="{1AADA4C3-E6F3-4B58-92B3-3612A9D86125}"/>
              </a:ext>
            </a:extLst>
          </p:cNvPr>
          <p:cNvSpPr>
            <a:spLocks noGrp="1"/>
          </p:cNvSpPr>
          <p:nvPr>
            <p:ph type="body" sz="quarter" idx="36"/>
          </p:nvPr>
        </p:nvSpPr>
        <p:spPr>
          <a:xfrm>
            <a:off x="3473979" y="4809442"/>
            <a:ext cx="2219893" cy="320399"/>
          </a:xfrm>
          <a:prstGeom prst="rect">
            <a:avLst/>
          </a:prstGeom>
        </p:spPr>
        <p:txBody>
          <a:bodyPr lIns="0" tIns="0" rIns="0" bIns="0"/>
          <a:lstStyle>
            <a:lvl1pPr algn="ctr">
              <a:buNone/>
              <a:defRPr sz="1400" b="1">
                <a:solidFill>
                  <a:schemeClr val="tx1"/>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endParaRPr lang="en-GB" dirty="0"/>
          </a:p>
        </p:txBody>
      </p:sp>
      <p:sp>
        <p:nvSpPr>
          <p:cNvPr id="20" name="Text Placeholder 9">
            <a:extLst>
              <a:ext uri="{FF2B5EF4-FFF2-40B4-BE49-F238E27FC236}">
                <a16:creationId xmlns:a16="http://schemas.microsoft.com/office/drawing/2014/main" id="{6A53B84E-7A43-40E1-A41F-784C475CCEF1}"/>
              </a:ext>
            </a:extLst>
          </p:cNvPr>
          <p:cNvSpPr>
            <a:spLocks noGrp="1"/>
          </p:cNvSpPr>
          <p:nvPr>
            <p:ph type="body" sz="quarter" idx="37"/>
          </p:nvPr>
        </p:nvSpPr>
        <p:spPr>
          <a:xfrm>
            <a:off x="3476780" y="5124430"/>
            <a:ext cx="2223844" cy="361949"/>
          </a:xfrm>
        </p:spPr>
        <p:txBody>
          <a:bodyPr/>
          <a:lstStyle>
            <a:lvl1pPr algn="ctr">
              <a:defRPr sz="1400"/>
            </a:lvl1pPr>
          </a:lstStyle>
          <a:p>
            <a:pPr lvl="0"/>
            <a:r>
              <a:rPr lang="en-US" dirty="0"/>
              <a:t>Click to edit Master text styles</a:t>
            </a:r>
          </a:p>
        </p:txBody>
      </p:sp>
      <p:sp>
        <p:nvSpPr>
          <p:cNvPr id="11" name="Rectangle 10">
            <a:extLst>
              <a:ext uri="{FF2B5EF4-FFF2-40B4-BE49-F238E27FC236}">
                <a16:creationId xmlns:a16="http://schemas.microsoft.com/office/drawing/2014/main" id="{F1204B2F-883E-407D-A005-BF7BABD98545}"/>
              </a:ext>
            </a:extLst>
          </p:cNvPr>
          <p:cNvSpPr/>
          <p:nvPr userDrawn="1"/>
        </p:nvSpPr>
        <p:spPr>
          <a:xfrm>
            <a:off x="3051745"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2" name="Rectangle 11">
            <a:extLst>
              <a:ext uri="{FF2B5EF4-FFF2-40B4-BE49-F238E27FC236}">
                <a16:creationId xmlns:a16="http://schemas.microsoft.com/office/drawing/2014/main" id="{441D98CE-B011-4356-A502-CD246FD3262F}"/>
              </a:ext>
            </a:extLst>
          </p:cNvPr>
          <p:cNvSpPr/>
          <p:nvPr userDrawn="1"/>
        </p:nvSpPr>
        <p:spPr>
          <a:xfrm>
            <a:off x="7490"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1" name="Rectangle 20">
            <a:extLst>
              <a:ext uri="{FF2B5EF4-FFF2-40B4-BE49-F238E27FC236}">
                <a16:creationId xmlns:a16="http://schemas.microsoft.com/office/drawing/2014/main" id="{95ACD5AF-C214-49BF-B81B-7E30A84FF64B}"/>
              </a:ext>
            </a:extLst>
          </p:cNvPr>
          <p:cNvSpPr/>
          <p:nvPr userDrawn="1"/>
        </p:nvSpPr>
        <p:spPr>
          <a:xfrm>
            <a:off x="9149414"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2" name="Rectangle 21">
            <a:extLst>
              <a:ext uri="{FF2B5EF4-FFF2-40B4-BE49-F238E27FC236}">
                <a16:creationId xmlns:a16="http://schemas.microsoft.com/office/drawing/2014/main" id="{1A85B380-9EFF-48A6-BCF3-88DC8CD46D85}"/>
              </a:ext>
            </a:extLst>
          </p:cNvPr>
          <p:cNvSpPr/>
          <p:nvPr userDrawn="1"/>
        </p:nvSpPr>
        <p:spPr>
          <a:xfrm>
            <a:off x="6105159"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Tree>
    <p:extLst>
      <p:ext uri="{BB962C8B-B14F-4D97-AF65-F5344CB8AC3E}">
        <p14:creationId xmlns:p14="http://schemas.microsoft.com/office/powerpoint/2010/main" val="17188636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4_Screen Mock Ups">
    <p:spTree>
      <p:nvGrpSpPr>
        <p:cNvPr id="1" name=""/>
        <p:cNvGrpSpPr/>
        <p:nvPr/>
      </p:nvGrpSpPr>
      <p:grpSpPr>
        <a:xfrm>
          <a:off x="0" y="0"/>
          <a:ext cx="0" cy="0"/>
          <a:chOff x="0" y="0"/>
          <a:chExt cx="0" cy="0"/>
        </a:xfrm>
      </p:grpSpPr>
      <p:sp>
        <p:nvSpPr>
          <p:cNvPr id="23" name="Rectángulo 1">
            <a:extLst>
              <a:ext uri="{FF2B5EF4-FFF2-40B4-BE49-F238E27FC236}">
                <a16:creationId xmlns:a16="http://schemas.microsoft.com/office/drawing/2014/main" id="{09D36D77-E84A-4443-AE6A-B66BB6340CB0}"/>
              </a:ext>
            </a:extLst>
          </p:cNvPr>
          <p:cNvSpPr/>
          <p:nvPr userDrawn="1"/>
        </p:nvSpPr>
        <p:spPr>
          <a:xfrm rot="-300000">
            <a:off x="-134184" y="-535618"/>
            <a:ext cx="12373879" cy="2688648"/>
          </a:xfrm>
          <a:custGeom>
            <a:avLst/>
            <a:gdLst>
              <a:gd name="connsiteX0" fmla="*/ 0 w 12316995"/>
              <a:gd name="connsiteY0" fmla="*/ 0 h 2636838"/>
              <a:gd name="connsiteX1" fmla="*/ 12316995 w 12316995"/>
              <a:gd name="connsiteY1" fmla="*/ 0 h 2636838"/>
              <a:gd name="connsiteX2" fmla="*/ 12316995 w 12316995"/>
              <a:gd name="connsiteY2" fmla="*/ 2636838 h 2636838"/>
              <a:gd name="connsiteX3" fmla="*/ 0 w 12316995"/>
              <a:gd name="connsiteY3" fmla="*/ 2636838 h 2636838"/>
              <a:gd name="connsiteX4" fmla="*/ 0 w 12316995"/>
              <a:gd name="connsiteY4" fmla="*/ 0 h 2636838"/>
              <a:gd name="connsiteX0" fmla="*/ 291720 w 12316995"/>
              <a:gd name="connsiteY0" fmla="*/ 0 h 3165979"/>
              <a:gd name="connsiteX1" fmla="*/ 12316995 w 12316995"/>
              <a:gd name="connsiteY1" fmla="*/ 529141 h 3165979"/>
              <a:gd name="connsiteX2" fmla="*/ 12316995 w 12316995"/>
              <a:gd name="connsiteY2" fmla="*/ 3165979 h 3165979"/>
              <a:gd name="connsiteX3" fmla="*/ 0 w 12316995"/>
              <a:gd name="connsiteY3" fmla="*/ 3165979 h 3165979"/>
              <a:gd name="connsiteX4" fmla="*/ 291720 w 12316995"/>
              <a:gd name="connsiteY4" fmla="*/ 0 h 3165979"/>
              <a:gd name="connsiteX0" fmla="*/ 291720 w 12427262"/>
              <a:gd name="connsiteY0" fmla="*/ 0 h 3165979"/>
              <a:gd name="connsiteX1" fmla="*/ 12427262 w 12427262"/>
              <a:gd name="connsiteY1" fmla="*/ 1061639 h 3165979"/>
              <a:gd name="connsiteX2" fmla="*/ 12316995 w 12427262"/>
              <a:gd name="connsiteY2" fmla="*/ 3165979 h 3165979"/>
              <a:gd name="connsiteX3" fmla="*/ 0 w 12427262"/>
              <a:gd name="connsiteY3" fmla="*/ 3165979 h 3165979"/>
              <a:gd name="connsiteX4" fmla="*/ 291720 w 12427262"/>
              <a:gd name="connsiteY4" fmla="*/ 0 h 3165979"/>
              <a:gd name="connsiteX0" fmla="*/ 291720 w 12427262"/>
              <a:gd name="connsiteY0" fmla="*/ 0 h 3165979"/>
              <a:gd name="connsiteX1" fmla="*/ 12427262 w 12427262"/>
              <a:gd name="connsiteY1" fmla="*/ 1061639 h 3165979"/>
              <a:gd name="connsiteX2" fmla="*/ 12259342 w 12427262"/>
              <a:gd name="connsiteY2" fmla="*/ 3160935 h 3165979"/>
              <a:gd name="connsiteX3" fmla="*/ 0 w 12427262"/>
              <a:gd name="connsiteY3" fmla="*/ 3165979 h 3165979"/>
              <a:gd name="connsiteX4" fmla="*/ 291720 w 12427262"/>
              <a:gd name="connsiteY4" fmla="*/ 0 h 3165979"/>
              <a:gd name="connsiteX0" fmla="*/ 291720 w 12432323"/>
              <a:gd name="connsiteY0" fmla="*/ 0 h 3165979"/>
              <a:gd name="connsiteX1" fmla="*/ 12432323 w 12432323"/>
              <a:gd name="connsiteY1" fmla="*/ 1062082 h 3165979"/>
              <a:gd name="connsiteX2" fmla="*/ 12259342 w 12432323"/>
              <a:gd name="connsiteY2" fmla="*/ 3160935 h 3165979"/>
              <a:gd name="connsiteX3" fmla="*/ 0 w 12432323"/>
              <a:gd name="connsiteY3" fmla="*/ 3165979 h 3165979"/>
              <a:gd name="connsiteX4" fmla="*/ 291720 w 12432323"/>
              <a:gd name="connsiteY4" fmla="*/ 0 h 3165979"/>
              <a:gd name="connsiteX0" fmla="*/ 282042 w 12432323"/>
              <a:gd name="connsiteY0" fmla="*/ 0 h 3171925"/>
              <a:gd name="connsiteX1" fmla="*/ 12432323 w 12432323"/>
              <a:gd name="connsiteY1" fmla="*/ 1068028 h 3171925"/>
              <a:gd name="connsiteX2" fmla="*/ 12259342 w 12432323"/>
              <a:gd name="connsiteY2" fmla="*/ 3166881 h 3171925"/>
              <a:gd name="connsiteX3" fmla="*/ 0 w 12432323"/>
              <a:gd name="connsiteY3" fmla="*/ 3171925 h 3171925"/>
              <a:gd name="connsiteX4" fmla="*/ 282042 w 12432323"/>
              <a:gd name="connsiteY4" fmla="*/ 0 h 3171925"/>
              <a:gd name="connsiteX0" fmla="*/ 223598 w 12373879"/>
              <a:gd name="connsiteY0" fmla="*/ 0 h 3166881"/>
              <a:gd name="connsiteX1" fmla="*/ 12373879 w 12373879"/>
              <a:gd name="connsiteY1" fmla="*/ 1068028 h 3166881"/>
              <a:gd name="connsiteX2" fmla="*/ 12200898 w 12373879"/>
              <a:gd name="connsiteY2" fmla="*/ 3166881 h 3166881"/>
              <a:gd name="connsiteX3" fmla="*/ 0 w 12373879"/>
              <a:gd name="connsiteY3" fmla="*/ 2503916 h 3166881"/>
              <a:gd name="connsiteX4" fmla="*/ 223598 w 12373879"/>
              <a:gd name="connsiteY4" fmla="*/ 0 h 3166881"/>
              <a:gd name="connsiteX0" fmla="*/ 223598 w 12373879"/>
              <a:gd name="connsiteY0" fmla="*/ 0 h 2688648"/>
              <a:gd name="connsiteX1" fmla="*/ 12373879 w 12373879"/>
              <a:gd name="connsiteY1" fmla="*/ 1068028 h 2688648"/>
              <a:gd name="connsiteX2" fmla="*/ 12242738 w 12373879"/>
              <a:gd name="connsiteY2" fmla="*/ 2688648 h 2688648"/>
              <a:gd name="connsiteX3" fmla="*/ 0 w 12373879"/>
              <a:gd name="connsiteY3" fmla="*/ 2503916 h 2688648"/>
              <a:gd name="connsiteX4" fmla="*/ 223598 w 12373879"/>
              <a:gd name="connsiteY4" fmla="*/ 0 h 26886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73879" h="2688648">
                <a:moveTo>
                  <a:pt x="223598" y="0"/>
                </a:moveTo>
                <a:lnTo>
                  <a:pt x="12373879" y="1068028"/>
                </a:lnTo>
                <a:lnTo>
                  <a:pt x="12242738" y="2688648"/>
                </a:lnTo>
                <a:lnTo>
                  <a:pt x="0" y="2503916"/>
                </a:lnTo>
                <a:lnTo>
                  <a:pt x="223598" y="0"/>
                </a:lnTo>
                <a:close/>
              </a:path>
            </a:pathLst>
          </a:custGeom>
          <a:gradFill>
            <a:gsLst>
              <a:gs pos="24000">
                <a:schemeClr val="accent1"/>
              </a:gs>
              <a:gs pos="100000">
                <a:schemeClr val="accent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accent4"/>
              </a:solidFill>
            </a:endParaRPr>
          </a:p>
        </p:txBody>
      </p:sp>
      <p:sp>
        <p:nvSpPr>
          <p:cNvPr id="13" name="Marcador de texto 3">
            <a:extLst>
              <a:ext uri="{FF2B5EF4-FFF2-40B4-BE49-F238E27FC236}">
                <a16:creationId xmlns:a16="http://schemas.microsoft.com/office/drawing/2014/main" id="{11C2339C-4F0F-4229-868D-EA06EE2ABB46}"/>
              </a:ext>
            </a:extLst>
          </p:cNvPr>
          <p:cNvSpPr>
            <a:spLocks noGrp="1"/>
          </p:cNvSpPr>
          <p:nvPr>
            <p:ph type="body" sz="quarter" idx="30"/>
          </p:nvPr>
        </p:nvSpPr>
        <p:spPr>
          <a:xfrm>
            <a:off x="371871" y="4798620"/>
            <a:ext cx="2219893" cy="320399"/>
          </a:xfrm>
          <a:prstGeom prst="rect">
            <a:avLst/>
          </a:prstGeom>
        </p:spPr>
        <p:txBody>
          <a:bodyPr lIns="0" tIns="0" rIns="0" bIns="0"/>
          <a:lstStyle>
            <a:lvl1pPr algn="ctr">
              <a:buNone/>
              <a:defRPr sz="1400" b="1">
                <a:solidFill>
                  <a:schemeClr val="tx1"/>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endParaRPr lang="en-GB" dirty="0"/>
          </a:p>
        </p:txBody>
      </p:sp>
      <p:sp>
        <p:nvSpPr>
          <p:cNvPr id="14" name="Text Placeholder 9">
            <a:extLst>
              <a:ext uri="{FF2B5EF4-FFF2-40B4-BE49-F238E27FC236}">
                <a16:creationId xmlns:a16="http://schemas.microsoft.com/office/drawing/2014/main" id="{C968167E-03C0-40CB-A0AA-D4B01F77458D}"/>
              </a:ext>
            </a:extLst>
          </p:cNvPr>
          <p:cNvSpPr>
            <a:spLocks noGrp="1"/>
          </p:cNvSpPr>
          <p:nvPr>
            <p:ph type="body" sz="quarter" idx="31"/>
          </p:nvPr>
        </p:nvSpPr>
        <p:spPr>
          <a:xfrm>
            <a:off x="374672" y="5113608"/>
            <a:ext cx="2223844" cy="361949"/>
          </a:xfrm>
        </p:spPr>
        <p:txBody>
          <a:bodyPr/>
          <a:lstStyle>
            <a:lvl1pPr algn="ctr">
              <a:defRPr sz="1400"/>
            </a:lvl1pPr>
          </a:lstStyle>
          <a:p>
            <a:pPr lvl="0"/>
            <a:r>
              <a:rPr lang="en-US" dirty="0"/>
              <a:t>Click to edit Master text styles</a:t>
            </a:r>
          </a:p>
        </p:txBody>
      </p:sp>
      <p:sp>
        <p:nvSpPr>
          <p:cNvPr id="15" name="Marcador de texto 3">
            <a:extLst>
              <a:ext uri="{FF2B5EF4-FFF2-40B4-BE49-F238E27FC236}">
                <a16:creationId xmlns:a16="http://schemas.microsoft.com/office/drawing/2014/main" id="{74BFD1CF-4E09-4A9C-B27A-9D5AC094404C}"/>
              </a:ext>
            </a:extLst>
          </p:cNvPr>
          <p:cNvSpPr>
            <a:spLocks noGrp="1"/>
          </p:cNvSpPr>
          <p:nvPr>
            <p:ph type="body" sz="quarter" idx="32"/>
          </p:nvPr>
        </p:nvSpPr>
        <p:spPr>
          <a:xfrm>
            <a:off x="9590683" y="4804031"/>
            <a:ext cx="2219893" cy="320399"/>
          </a:xfrm>
          <a:prstGeom prst="rect">
            <a:avLst/>
          </a:prstGeom>
        </p:spPr>
        <p:txBody>
          <a:bodyPr lIns="0" tIns="0" rIns="0" bIns="0"/>
          <a:lstStyle>
            <a:lvl1pPr algn="ctr">
              <a:buNone/>
              <a:defRPr sz="1400" b="1">
                <a:solidFill>
                  <a:schemeClr val="tx1"/>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endParaRPr lang="en-GB" dirty="0"/>
          </a:p>
        </p:txBody>
      </p:sp>
      <p:sp>
        <p:nvSpPr>
          <p:cNvPr id="16" name="Text Placeholder 9">
            <a:extLst>
              <a:ext uri="{FF2B5EF4-FFF2-40B4-BE49-F238E27FC236}">
                <a16:creationId xmlns:a16="http://schemas.microsoft.com/office/drawing/2014/main" id="{E9E7F47C-1F45-43AD-91BE-0E123ECF9C0A}"/>
              </a:ext>
            </a:extLst>
          </p:cNvPr>
          <p:cNvSpPr>
            <a:spLocks noGrp="1"/>
          </p:cNvSpPr>
          <p:nvPr>
            <p:ph type="body" sz="quarter" idx="33"/>
          </p:nvPr>
        </p:nvSpPr>
        <p:spPr>
          <a:xfrm>
            <a:off x="9593484" y="5119019"/>
            <a:ext cx="2223844" cy="361949"/>
          </a:xfrm>
        </p:spPr>
        <p:txBody>
          <a:bodyPr/>
          <a:lstStyle>
            <a:lvl1pPr algn="ctr">
              <a:defRPr sz="1400"/>
            </a:lvl1pPr>
          </a:lstStyle>
          <a:p>
            <a:pPr lvl="0"/>
            <a:r>
              <a:rPr lang="en-US" dirty="0"/>
              <a:t>Click to edit Master text styles</a:t>
            </a:r>
          </a:p>
        </p:txBody>
      </p:sp>
      <p:sp>
        <p:nvSpPr>
          <p:cNvPr id="17" name="Marcador de texto 3">
            <a:extLst>
              <a:ext uri="{FF2B5EF4-FFF2-40B4-BE49-F238E27FC236}">
                <a16:creationId xmlns:a16="http://schemas.microsoft.com/office/drawing/2014/main" id="{E75E755B-551F-41D2-BD2E-92EB287673E0}"/>
              </a:ext>
            </a:extLst>
          </p:cNvPr>
          <p:cNvSpPr>
            <a:spLocks noGrp="1"/>
          </p:cNvSpPr>
          <p:nvPr>
            <p:ph type="body" sz="quarter" idx="34"/>
          </p:nvPr>
        </p:nvSpPr>
        <p:spPr>
          <a:xfrm>
            <a:off x="6479022" y="4804031"/>
            <a:ext cx="2219893" cy="320399"/>
          </a:xfrm>
          <a:prstGeom prst="rect">
            <a:avLst/>
          </a:prstGeom>
        </p:spPr>
        <p:txBody>
          <a:bodyPr lIns="0" tIns="0" rIns="0" bIns="0"/>
          <a:lstStyle>
            <a:lvl1pPr algn="ctr">
              <a:buNone/>
              <a:defRPr sz="1400" b="1">
                <a:solidFill>
                  <a:schemeClr val="tx1"/>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endParaRPr lang="en-GB" dirty="0"/>
          </a:p>
        </p:txBody>
      </p:sp>
      <p:sp>
        <p:nvSpPr>
          <p:cNvPr id="18" name="Text Placeholder 9">
            <a:extLst>
              <a:ext uri="{FF2B5EF4-FFF2-40B4-BE49-F238E27FC236}">
                <a16:creationId xmlns:a16="http://schemas.microsoft.com/office/drawing/2014/main" id="{E60A8A25-6B12-4703-83EF-E18353DE1327}"/>
              </a:ext>
            </a:extLst>
          </p:cNvPr>
          <p:cNvSpPr>
            <a:spLocks noGrp="1"/>
          </p:cNvSpPr>
          <p:nvPr>
            <p:ph type="body" sz="quarter" idx="35"/>
          </p:nvPr>
        </p:nvSpPr>
        <p:spPr>
          <a:xfrm>
            <a:off x="6481823" y="5119019"/>
            <a:ext cx="2223844" cy="361949"/>
          </a:xfrm>
        </p:spPr>
        <p:txBody>
          <a:bodyPr/>
          <a:lstStyle>
            <a:lvl1pPr algn="ctr">
              <a:defRPr sz="1400"/>
            </a:lvl1pPr>
          </a:lstStyle>
          <a:p>
            <a:pPr lvl="0"/>
            <a:r>
              <a:rPr lang="en-US" dirty="0"/>
              <a:t>Click to edit Master text styles</a:t>
            </a:r>
          </a:p>
        </p:txBody>
      </p:sp>
      <p:sp>
        <p:nvSpPr>
          <p:cNvPr id="19" name="Marcador de texto 3">
            <a:extLst>
              <a:ext uri="{FF2B5EF4-FFF2-40B4-BE49-F238E27FC236}">
                <a16:creationId xmlns:a16="http://schemas.microsoft.com/office/drawing/2014/main" id="{1AADA4C3-E6F3-4B58-92B3-3612A9D86125}"/>
              </a:ext>
            </a:extLst>
          </p:cNvPr>
          <p:cNvSpPr>
            <a:spLocks noGrp="1"/>
          </p:cNvSpPr>
          <p:nvPr>
            <p:ph type="body" sz="quarter" idx="36"/>
          </p:nvPr>
        </p:nvSpPr>
        <p:spPr>
          <a:xfrm>
            <a:off x="3473979" y="4809442"/>
            <a:ext cx="2219893" cy="320399"/>
          </a:xfrm>
          <a:prstGeom prst="rect">
            <a:avLst/>
          </a:prstGeom>
        </p:spPr>
        <p:txBody>
          <a:bodyPr lIns="0" tIns="0" rIns="0" bIns="0"/>
          <a:lstStyle>
            <a:lvl1pPr algn="ctr">
              <a:buNone/>
              <a:defRPr sz="1400" b="1">
                <a:solidFill>
                  <a:schemeClr val="tx1"/>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endParaRPr lang="en-GB" dirty="0"/>
          </a:p>
        </p:txBody>
      </p:sp>
      <p:sp>
        <p:nvSpPr>
          <p:cNvPr id="20" name="Text Placeholder 9">
            <a:extLst>
              <a:ext uri="{FF2B5EF4-FFF2-40B4-BE49-F238E27FC236}">
                <a16:creationId xmlns:a16="http://schemas.microsoft.com/office/drawing/2014/main" id="{6A53B84E-7A43-40E1-A41F-784C475CCEF1}"/>
              </a:ext>
            </a:extLst>
          </p:cNvPr>
          <p:cNvSpPr>
            <a:spLocks noGrp="1"/>
          </p:cNvSpPr>
          <p:nvPr>
            <p:ph type="body" sz="quarter" idx="37"/>
          </p:nvPr>
        </p:nvSpPr>
        <p:spPr>
          <a:xfrm>
            <a:off x="3476780" y="5124430"/>
            <a:ext cx="2223844" cy="361949"/>
          </a:xfrm>
        </p:spPr>
        <p:txBody>
          <a:bodyPr/>
          <a:lstStyle>
            <a:lvl1pPr algn="ctr">
              <a:defRPr sz="1400"/>
            </a:lvl1pPr>
          </a:lstStyle>
          <a:p>
            <a:pPr lvl="0"/>
            <a:r>
              <a:rPr lang="en-US" dirty="0"/>
              <a:t>Click to edit Master text styles</a:t>
            </a:r>
          </a:p>
        </p:txBody>
      </p:sp>
      <p:sp>
        <p:nvSpPr>
          <p:cNvPr id="12" name="Rectangle 11">
            <a:extLst>
              <a:ext uri="{FF2B5EF4-FFF2-40B4-BE49-F238E27FC236}">
                <a16:creationId xmlns:a16="http://schemas.microsoft.com/office/drawing/2014/main" id="{B6276DCB-98B4-4B48-A68D-91F554255343}"/>
              </a:ext>
            </a:extLst>
          </p:cNvPr>
          <p:cNvSpPr/>
          <p:nvPr userDrawn="1"/>
        </p:nvSpPr>
        <p:spPr>
          <a:xfrm>
            <a:off x="3051745"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1" name="Rectangle 20">
            <a:extLst>
              <a:ext uri="{FF2B5EF4-FFF2-40B4-BE49-F238E27FC236}">
                <a16:creationId xmlns:a16="http://schemas.microsoft.com/office/drawing/2014/main" id="{9F468FF0-8FEB-42CF-9416-596AA5896A06}"/>
              </a:ext>
            </a:extLst>
          </p:cNvPr>
          <p:cNvSpPr/>
          <p:nvPr userDrawn="1"/>
        </p:nvSpPr>
        <p:spPr>
          <a:xfrm>
            <a:off x="7490"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2" name="Rectangle 21">
            <a:extLst>
              <a:ext uri="{FF2B5EF4-FFF2-40B4-BE49-F238E27FC236}">
                <a16:creationId xmlns:a16="http://schemas.microsoft.com/office/drawing/2014/main" id="{F19A9F7E-2D71-4F94-8040-2D1E6EFAD6A0}"/>
              </a:ext>
            </a:extLst>
          </p:cNvPr>
          <p:cNvSpPr/>
          <p:nvPr userDrawn="1"/>
        </p:nvSpPr>
        <p:spPr>
          <a:xfrm>
            <a:off x="9149414"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4" name="Rectangle 23">
            <a:extLst>
              <a:ext uri="{FF2B5EF4-FFF2-40B4-BE49-F238E27FC236}">
                <a16:creationId xmlns:a16="http://schemas.microsoft.com/office/drawing/2014/main" id="{29CCA70D-E76E-4E9E-B7C5-57DE3F9CD704}"/>
              </a:ext>
            </a:extLst>
          </p:cNvPr>
          <p:cNvSpPr/>
          <p:nvPr userDrawn="1"/>
        </p:nvSpPr>
        <p:spPr>
          <a:xfrm>
            <a:off x="6105159"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Tree>
    <p:extLst>
      <p:ext uri="{BB962C8B-B14F-4D97-AF65-F5344CB8AC3E}">
        <p14:creationId xmlns:p14="http://schemas.microsoft.com/office/powerpoint/2010/main" val="136210561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_Screen Mock Ups">
    <p:spTree>
      <p:nvGrpSpPr>
        <p:cNvPr id="1" name=""/>
        <p:cNvGrpSpPr/>
        <p:nvPr/>
      </p:nvGrpSpPr>
      <p:grpSpPr>
        <a:xfrm>
          <a:off x="0" y="0"/>
          <a:ext cx="0" cy="0"/>
          <a:chOff x="0" y="0"/>
          <a:chExt cx="0" cy="0"/>
        </a:xfrm>
      </p:grpSpPr>
      <p:sp>
        <p:nvSpPr>
          <p:cNvPr id="13" name="Marcador de texto 3">
            <a:extLst>
              <a:ext uri="{FF2B5EF4-FFF2-40B4-BE49-F238E27FC236}">
                <a16:creationId xmlns:a16="http://schemas.microsoft.com/office/drawing/2014/main" id="{11C2339C-4F0F-4229-868D-EA06EE2ABB46}"/>
              </a:ext>
            </a:extLst>
          </p:cNvPr>
          <p:cNvSpPr>
            <a:spLocks noGrp="1"/>
          </p:cNvSpPr>
          <p:nvPr>
            <p:ph type="body" sz="quarter" idx="30"/>
          </p:nvPr>
        </p:nvSpPr>
        <p:spPr>
          <a:xfrm>
            <a:off x="371871" y="3731820"/>
            <a:ext cx="2432289" cy="320399"/>
          </a:xfrm>
          <a:prstGeom prst="rect">
            <a:avLst/>
          </a:prstGeom>
        </p:spPr>
        <p:txBody>
          <a:bodyPr lIns="0" tIns="0" rIns="0" bIns="0"/>
          <a:lstStyle>
            <a:lvl1pPr algn="ctr">
              <a:buNone/>
              <a:defRPr sz="1400" b="1">
                <a:solidFill>
                  <a:schemeClr val="tx1"/>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endParaRPr lang="en-GB" dirty="0"/>
          </a:p>
        </p:txBody>
      </p:sp>
      <p:sp>
        <p:nvSpPr>
          <p:cNvPr id="14" name="Text Placeholder 9">
            <a:extLst>
              <a:ext uri="{FF2B5EF4-FFF2-40B4-BE49-F238E27FC236}">
                <a16:creationId xmlns:a16="http://schemas.microsoft.com/office/drawing/2014/main" id="{C968167E-03C0-40CB-A0AA-D4B01F77458D}"/>
              </a:ext>
            </a:extLst>
          </p:cNvPr>
          <p:cNvSpPr>
            <a:spLocks noGrp="1"/>
          </p:cNvSpPr>
          <p:nvPr>
            <p:ph type="body" sz="quarter" idx="31"/>
          </p:nvPr>
        </p:nvSpPr>
        <p:spPr>
          <a:xfrm>
            <a:off x="374672" y="4046808"/>
            <a:ext cx="2436618" cy="361949"/>
          </a:xfrm>
        </p:spPr>
        <p:txBody>
          <a:bodyPr/>
          <a:lstStyle>
            <a:lvl1pPr algn="ctr">
              <a:defRPr sz="1400"/>
            </a:lvl1pPr>
          </a:lstStyle>
          <a:p>
            <a:pPr lvl="0"/>
            <a:r>
              <a:rPr lang="en-US" dirty="0"/>
              <a:t>Click to edit Master text styles</a:t>
            </a:r>
          </a:p>
        </p:txBody>
      </p:sp>
      <p:sp>
        <p:nvSpPr>
          <p:cNvPr id="19" name="Marcador de texto 3">
            <a:extLst>
              <a:ext uri="{FF2B5EF4-FFF2-40B4-BE49-F238E27FC236}">
                <a16:creationId xmlns:a16="http://schemas.microsoft.com/office/drawing/2014/main" id="{1AADA4C3-E6F3-4B58-92B3-3612A9D86125}"/>
              </a:ext>
            </a:extLst>
          </p:cNvPr>
          <p:cNvSpPr>
            <a:spLocks noGrp="1"/>
          </p:cNvSpPr>
          <p:nvPr>
            <p:ph type="body" sz="quarter" idx="36"/>
          </p:nvPr>
        </p:nvSpPr>
        <p:spPr>
          <a:xfrm>
            <a:off x="3588759" y="3742642"/>
            <a:ext cx="2504440" cy="320399"/>
          </a:xfrm>
          <a:prstGeom prst="rect">
            <a:avLst/>
          </a:prstGeom>
        </p:spPr>
        <p:txBody>
          <a:bodyPr lIns="0" tIns="0" rIns="0" bIns="0"/>
          <a:lstStyle>
            <a:lvl1pPr algn="ctr">
              <a:buNone/>
              <a:defRPr sz="1400" b="1">
                <a:solidFill>
                  <a:schemeClr val="tx1"/>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endParaRPr lang="en-GB" dirty="0"/>
          </a:p>
        </p:txBody>
      </p:sp>
      <p:sp>
        <p:nvSpPr>
          <p:cNvPr id="20" name="Text Placeholder 9">
            <a:extLst>
              <a:ext uri="{FF2B5EF4-FFF2-40B4-BE49-F238E27FC236}">
                <a16:creationId xmlns:a16="http://schemas.microsoft.com/office/drawing/2014/main" id="{6A53B84E-7A43-40E1-A41F-784C475CCEF1}"/>
              </a:ext>
            </a:extLst>
          </p:cNvPr>
          <p:cNvSpPr>
            <a:spLocks noGrp="1"/>
          </p:cNvSpPr>
          <p:nvPr>
            <p:ph type="body" sz="quarter" idx="37"/>
          </p:nvPr>
        </p:nvSpPr>
        <p:spPr>
          <a:xfrm>
            <a:off x="3591764" y="4057630"/>
            <a:ext cx="2508898" cy="361949"/>
          </a:xfrm>
        </p:spPr>
        <p:txBody>
          <a:bodyPr/>
          <a:lstStyle>
            <a:lvl1pPr algn="ctr">
              <a:defRPr sz="1400"/>
            </a:lvl1pPr>
          </a:lstStyle>
          <a:p>
            <a:pPr lvl="0"/>
            <a:r>
              <a:rPr lang="en-US" dirty="0"/>
              <a:t>Click to edit Master text styles</a:t>
            </a:r>
          </a:p>
        </p:txBody>
      </p:sp>
      <p:sp>
        <p:nvSpPr>
          <p:cNvPr id="28" name="Picture Placeholder 27">
            <a:extLst>
              <a:ext uri="{FF2B5EF4-FFF2-40B4-BE49-F238E27FC236}">
                <a16:creationId xmlns:a16="http://schemas.microsoft.com/office/drawing/2014/main" id="{A6DD89D5-9351-401E-8801-E9E0619F7C6A}"/>
              </a:ext>
            </a:extLst>
          </p:cNvPr>
          <p:cNvSpPr>
            <a:spLocks noGrp="1"/>
          </p:cNvSpPr>
          <p:nvPr>
            <p:ph type="pic" sz="quarter" idx="38" hasCustomPrompt="1"/>
          </p:nvPr>
        </p:nvSpPr>
        <p:spPr>
          <a:xfrm>
            <a:off x="6916043" y="1929192"/>
            <a:ext cx="4293295" cy="2708848"/>
          </a:xfrm>
        </p:spPr>
        <p:txBody>
          <a:bodyPr anchor="ctr"/>
          <a:lstStyle>
            <a:lvl1pPr algn="ctr">
              <a:defRPr/>
            </a:lvl1pPr>
          </a:lstStyle>
          <a:p>
            <a:r>
              <a:rPr lang="en-US" dirty="0"/>
              <a:t>Press the icon to add a picture</a:t>
            </a:r>
          </a:p>
        </p:txBody>
      </p:sp>
      <p:sp>
        <p:nvSpPr>
          <p:cNvPr id="27" name="Marcador de texto 3">
            <a:extLst>
              <a:ext uri="{FF2B5EF4-FFF2-40B4-BE49-F238E27FC236}">
                <a16:creationId xmlns:a16="http://schemas.microsoft.com/office/drawing/2014/main" id="{F82B3E85-BA15-4769-B721-60401C1237F5}"/>
              </a:ext>
            </a:extLst>
          </p:cNvPr>
          <p:cNvSpPr>
            <a:spLocks noGrp="1"/>
          </p:cNvSpPr>
          <p:nvPr>
            <p:ph type="body" sz="quarter" idx="39"/>
          </p:nvPr>
        </p:nvSpPr>
        <p:spPr>
          <a:xfrm>
            <a:off x="374672" y="5094225"/>
            <a:ext cx="2432289" cy="320399"/>
          </a:xfrm>
          <a:prstGeom prst="rect">
            <a:avLst/>
          </a:prstGeom>
        </p:spPr>
        <p:txBody>
          <a:bodyPr lIns="0" tIns="0" rIns="0" bIns="0"/>
          <a:lstStyle>
            <a:lvl1pPr algn="ctr">
              <a:buNone/>
              <a:defRPr sz="1400" b="1">
                <a:solidFill>
                  <a:schemeClr val="tx1"/>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endParaRPr lang="en-GB" dirty="0"/>
          </a:p>
        </p:txBody>
      </p:sp>
      <p:sp>
        <p:nvSpPr>
          <p:cNvPr id="29" name="Text Placeholder 9">
            <a:extLst>
              <a:ext uri="{FF2B5EF4-FFF2-40B4-BE49-F238E27FC236}">
                <a16:creationId xmlns:a16="http://schemas.microsoft.com/office/drawing/2014/main" id="{E622973B-EB21-493F-AC5A-FC6B237E72B4}"/>
              </a:ext>
            </a:extLst>
          </p:cNvPr>
          <p:cNvSpPr>
            <a:spLocks noGrp="1"/>
          </p:cNvSpPr>
          <p:nvPr>
            <p:ph type="body" sz="quarter" idx="40"/>
          </p:nvPr>
        </p:nvSpPr>
        <p:spPr>
          <a:xfrm>
            <a:off x="377473" y="5409213"/>
            <a:ext cx="2436618" cy="361949"/>
          </a:xfrm>
        </p:spPr>
        <p:txBody>
          <a:bodyPr/>
          <a:lstStyle>
            <a:lvl1pPr algn="ctr">
              <a:defRPr sz="1400"/>
            </a:lvl1pPr>
          </a:lstStyle>
          <a:p>
            <a:pPr lvl="0"/>
            <a:r>
              <a:rPr lang="en-US" dirty="0"/>
              <a:t>Click to edit Master text styles</a:t>
            </a:r>
          </a:p>
        </p:txBody>
      </p:sp>
      <p:sp>
        <p:nvSpPr>
          <p:cNvPr id="30" name="Marcador de texto 3">
            <a:extLst>
              <a:ext uri="{FF2B5EF4-FFF2-40B4-BE49-F238E27FC236}">
                <a16:creationId xmlns:a16="http://schemas.microsoft.com/office/drawing/2014/main" id="{EF97F695-D66E-4518-9D4E-8D483A4B0A41}"/>
              </a:ext>
            </a:extLst>
          </p:cNvPr>
          <p:cNvSpPr>
            <a:spLocks noGrp="1"/>
          </p:cNvSpPr>
          <p:nvPr>
            <p:ph type="body" sz="quarter" idx="41"/>
          </p:nvPr>
        </p:nvSpPr>
        <p:spPr>
          <a:xfrm>
            <a:off x="3591560" y="5105047"/>
            <a:ext cx="2504440" cy="320399"/>
          </a:xfrm>
          <a:prstGeom prst="rect">
            <a:avLst/>
          </a:prstGeom>
        </p:spPr>
        <p:txBody>
          <a:bodyPr lIns="0" tIns="0" rIns="0" bIns="0"/>
          <a:lstStyle>
            <a:lvl1pPr algn="ctr">
              <a:buNone/>
              <a:defRPr sz="1400" b="1">
                <a:solidFill>
                  <a:schemeClr val="tx1"/>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endParaRPr lang="en-GB" dirty="0"/>
          </a:p>
        </p:txBody>
      </p:sp>
      <p:sp>
        <p:nvSpPr>
          <p:cNvPr id="31" name="Text Placeholder 9">
            <a:extLst>
              <a:ext uri="{FF2B5EF4-FFF2-40B4-BE49-F238E27FC236}">
                <a16:creationId xmlns:a16="http://schemas.microsoft.com/office/drawing/2014/main" id="{8D347E31-039D-430D-8B72-0FC485788C63}"/>
              </a:ext>
            </a:extLst>
          </p:cNvPr>
          <p:cNvSpPr>
            <a:spLocks noGrp="1"/>
          </p:cNvSpPr>
          <p:nvPr>
            <p:ph type="body" sz="quarter" idx="42"/>
          </p:nvPr>
        </p:nvSpPr>
        <p:spPr>
          <a:xfrm>
            <a:off x="3594565" y="5420035"/>
            <a:ext cx="2508898" cy="361949"/>
          </a:xfrm>
        </p:spPr>
        <p:txBody>
          <a:bodyPr/>
          <a:lstStyle>
            <a:lvl1pPr algn="ctr">
              <a:defRPr sz="1400"/>
            </a:lvl1pPr>
          </a:lstStyle>
          <a:p>
            <a:pPr lvl="0"/>
            <a:r>
              <a:rPr lang="en-US" dirty="0"/>
              <a:t>Click to edit Master text styles</a:t>
            </a:r>
          </a:p>
        </p:txBody>
      </p:sp>
      <p:sp>
        <p:nvSpPr>
          <p:cNvPr id="32" name="Marcador de texto 2">
            <a:extLst>
              <a:ext uri="{FF2B5EF4-FFF2-40B4-BE49-F238E27FC236}">
                <a16:creationId xmlns:a16="http://schemas.microsoft.com/office/drawing/2014/main" id="{85FC4A55-CAFB-4125-9A84-91BA6BAAD731}"/>
              </a:ext>
            </a:extLst>
          </p:cNvPr>
          <p:cNvSpPr>
            <a:spLocks noGrp="1"/>
          </p:cNvSpPr>
          <p:nvPr>
            <p:ph type="body" idx="10" hasCustomPrompt="1"/>
          </p:nvPr>
        </p:nvSpPr>
        <p:spPr>
          <a:xfrm>
            <a:off x="370517" y="722639"/>
            <a:ext cx="11450007" cy="324000"/>
          </a:xfrm>
          <a:prstGeom prst="rect">
            <a:avLst/>
          </a:prstGeom>
        </p:spPr>
        <p:txBody>
          <a:bodyPr lIns="0" tIns="0" rIns="0" bIns="0" anchor="t"/>
          <a:lstStyle>
            <a:lvl1pPr marL="0" indent="0">
              <a:lnSpc>
                <a:spcPct val="100000"/>
              </a:lnSpc>
              <a:spcBef>
                <a:spcPts val="0"/>
              </a:spcBef>
              <a:buNone/>
              <a:defRPr sz="2000" b="0">
                <a:solidFill>
                  <a:srgbClr val="000000"/>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err="1"/>
              <a:t>Subtitle</a:t>
            </a:r>
            <a:endParaRPr lang="es-ES" dirty="0"/>
          </a:p>
        </p:txBody>
      </p:sp>
      <p:sp>
        <p:nvSpPr>
          <p:cNvPr id="33" name="Title 8">
            <a:extLst>
              <a:ext uri="{FF2B5EF4-FFF2-40B4-BE49-F238E27FC236}">
                <a16:creationId xmlns:a16="http://schemas.microsoft.com/office/drawing/2014/main" id="{AECD8FAC-3AF3-43EB-BC98-7AF716BD2304}"/>
              </a:ext>
            </a:extLst>
          </p:cNvPr>
          <p:cNvSpPr>
            <a:spLocks noGrp="1"/>
          </p:cNvSpPr>
          <p:nvPr>
            <p:ph type="title"/>
          </p:nvPr>
        </p:nvSpPr>
        <p:spPr>
          <a:xfrm>
            <a:off x="370517" y="252000"/>
            <a:ext cx="11450007" cy="432000"/>
          </a:xfrm>
        </p:spPr>
        <p:txBody>
          <a:bodyPr/>
          <a:lstStyle/>
          <a:p>
            <a:r>
              <a:rPr lang="en-US" dirty="0"/>
              <a:t>Click to edit Master title style</a:t>
            </a:r>
          </a:p>
        </p:txBody>
      </p:sp>
      <p:sp>
        <p:nvSpPr>
          <p:cNvPr id="34" name="Text Placeholder 7">
            <a:extLst>
              <a:ext uri="{FF2B5EF4-FFF2-40B4-BE49-F238E27FC236}">
                <a16:creationId xmlns:a16="http://schemas.microsoft.com/office/drawing/2014/main" id="{E18B091A-F5A5-48BA-9498-2B9DADC9E44B}"/>
              </a:ext>
            </a:extLst>
          </p:cNvPr>
          <p:cNvSpPr>
            <a:spLocks noGrp="1"/>
          </p:cNvSpPr>
          <p:nvPr>
            <p:ph type="body" sz="quarter" idx="20"/>
          </p:nvPr>
        </p:nvSpPr>
        <p:spPr>
          <a:xfrm>
            <a:off x="371475" y="1399564"/>
            <a:ext cx="5724525" cy="1738656"/>
          </a:xfrm>
        </p:spPr>
        <p:txBody>
          <a:bodyPr/>
          <a:lstStyle>
            <a:lvl1pPr>
              <a:defRPr sz="1400"/>
            </a:lvl1pPr>
          </a:lstStyle>
          <a:p>
            <a:pPr lvl="0"/>
            <a:r>
              <a:rPr lang="en-US" dirty="0"/>
              <a:t>Click to edit Master text styles</a:t>
            </a:r>
          </a:p>
        </p:txBody>
      </p:sp>
      <p:sp>
        <p:nvSpPr>
          <p:cNvPr id="15" name="Rectangle 14">
            <a:extLst>
              <a:ext uri="{FF2B5EF4-FFF2-40B4-BE49-F238E27FC236}">
                <a16:creationId xmlns:a16="http://schemas.microsoft.com/office/drawing/2014/main" id="{422A22CA-A59E-43A1-BDD5-0E7496683085}"/>
              </a:ext>
            </a:extLst>
          </p:cNvPr>
          <p:cNvSpPr/>
          <p:nvPr userDrawn="1"/>
        </p:nvSpPr>
        <p:spPr>
          <a:xfrm>
            <a:off x="3051745"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6" name="Rectangle 15">
            <a:extLst>
              <a:ext uri="{FF2B5EF4-FFF2-40B4-BE49-F238E27FC236}">
                <a16:creationId xmlns:a16="http://schemas.microsoft.com/office/drawing/2014/main" id="{10130961-FC0F-408F-8206-4FA9B9CFCADD}"/>
              </a:ext>
            </a:extLst>
          </p:cNvPr>
          <p:cNvSpPr/>
          <p:nvPr userDrawn="1"/>
        </p:nvSpPr>
        <p:spPr>
          <a:xfrm>
            <a:off x="7490"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7" name="Rectangle 16">
            <a:extLst>
              <a:ext uri="{FF2B5EF4-FFF2-40B4-BE49-F238E27FC236}">
                <a16:creationId xmlns:a16="http://schemas.microsoft.com/office/drawing/2014/main" id="{A9A64599-9E1E-4B1A-A332-A4C0FEC21997}"/>
              </a:ext>
            </a:extLst>
          </p:cNvPr>
          <p:cNvSpPr/>
          <p:nvPr userDrawn="1"/>
        </p:nvSpPr>
        <p:spPr>
          <a:xfrm>
            <a:off x="9149414"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8" name="Rectangle 17">
            <a:extLst>
              <a:ext uri="{FF2B5EF4-FFF2-40B4-BE49-F238E27FC236}">
                <a16:creationId xmlns:a16="http://schemas.microsoft.com/office/drawing/2014/main" id="{F911A4A3-9068-4D45-B1AA-B018463FD469}"/>
              </a:ext>
            </a:extLst>
          </p:cNvPr>
          <p:cNvSpPr/>
          <p:nvPr userDrawn="1"/>
        </p:nvSpPr>
        <p:spPr>
          <a:xfrm>
            <a:off x="6105159"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Tree>
    <p:extLst>
      <p:ext uri="{BB962C8B-B14F-4D97-AF65-F5344CB8AC3E}">
        <p14:creationId xmlns:p14="http://schemas.microsoft.com/office/powerpoint/2010/main" val="547893932"/>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3_Screen Mock Ups">
    <p:spTree>
      <p:nvGrpSpPr>
        <p:cNvPr id="1" name=""/>
        <p:cNvGrpSpPr/>
        <p:nvPr/>
      </p:nvGrpSpPr>
      <p:grpSpPr>
        <a:xfrm>
          <a:off x="0" y="0"/>
          <a:ext cx="0" cy="0"/>
          <a:chOff x="0" y="0"/>
          <a:chExt cx="0" cy="0"/>
        </a:xfrm>
      </p:grpSpPr>
      <p:sp>
        <p:nvSpPr>
          <p:cNvPr id="13" name="Marcador de texto 3">
            <a:extLst>
              <a:ext uri="{FF2B5EF4-FFF2-40B4-BE49-F238E27FC236}">
                <a16:creationId xmlns:a16="http://schemas.microsoft.com/office/drawing/2014/main" id="{11C2339C-4F0F-4229-868D-EA06EE2ABB46}"/>
              </a:ext>
            </a:extLst>
          </p:cNvPr>
          <p:cNvSpPr>
            <a:spLocks noGrp="1"/>
          </p:cNvSpPr>
          <p:nvPr>
            <p:ph type="body" sz="quarter" idx="30"/>
          </p:nvPr>
        </p:nvSpPr>
        <p:spPr>
          <a:xfrm>
            <a:off x="371871" y="4627196"/>
            <a:ext cx="2432289" cy="320399"/>
          </a:xfrm>
          <a:prstGeom prst="rect">
            <a:avLst/>
          </a:prstGeom>
        </p:spPr>
        <p:txBody>
          <a:bodyPr lIns="0" tIns="0" rIns="0" bIns="0"/>
          <a:lstStyle>
            <a:lvl1pPr algn="ctr">
              <a:buNone/>
              <a:defRPr sz="1400" b="1">
                <a:solidFill>
                  <a:schemeClr val="tx1"/>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endParaRPr lang="en-GB" dirty="0"/>
          </a:p>
        </p:txBody>
      </p:sp>
      <p:sp>
        <p:nvSpPr>
          <p:cNvPr id="19" name="Marcador de texto 3">
            <a:extLst>
              <a:ext uri="{FF2B5EF4-FFF2-40B4-BE49-F238E27FC236}">
                <a16:creationId xmlns:a16="http://schemas.microsoft.com/office/drawing/2014/main" id="{1AADA4C3-E6F3-4B58-92B3-3612A9D86125}"/>
              </a:ext>
            </a:extLst>
          </p:cNvPr>
          <p:cNvSpPr>
            <a:spLocks noGrp="1"/>
          </p:cNvSpPr>
          <p:nvPr>
            <p:ph type="body" sz="quarter" idx="36"/>
          </p:nvPr>
        </p:nvSpPr>
        <p:spPr>
          <a:xfrm>
            <a:off x="9310087" y="4638018"/>
            <a:ext cx="2504440" cy="320399"/>
          </a:xfrm>
          <a:prstGeom prst="rect">
            <a:avLst/>
          </a:prstGeom>
        </p:spPr>
        <p:txBody>
          <a:bodyPr lIns="0" tIns="0" rIns="0" bIns="0"/>
          <a:lstStyle>
            <a:lvl1pPr algn="ctr">
              <a:buNone/>
              <a:defRPr sz="1400" b="1">
                <a:solidFill>
                  <a:schemeClr val="tx1"/>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endParaRPr lang="en-GB" dirty="0"/>
          </a:p>
        </p:txBody>
      </p:sp>
      <p:sp>
        <p:nvSpPr>
          <p:cNvPr id="27" name="Marcador de texto 3">
            <a:extLst>
              <a:ext uri="{FF2B5EF4-FFF2-40B4-BE49-F238E27FC236}">
                <a16:creationId xmlns:a16="http://schemas.microsoft.com/office/drawing/2014/main" id="{F82B3E85-BA15-4769-B721-60401C1237F5}"/>
              </a:ext>
            </a:extLst>
          </p:cNvPr>
          <p:cNvSpPr>
            <a:spLocks noGrp="1"/>
          </p:cNvSpPr>
          <p:nvPr>
            <p:ph type="body" sz="quarter" idx="39"/>
          </p:nvPr>
        </p:nvSpPr>
        <p:spPr>
          <a:xfrm>
            <a:off x="374672" y="5789576"/>
            <a:ext cx="2432289" cy="320399"/>
          </a:xfrm>
          <a:prstGeom prst="rect">
            <a:avLst/>
          </a:prstGeom>
        </p:spPr>
        <p:txBody>
          <a:bodyPr lIns="0" tIns="0" rIns="0" bIns="0"/>
          <a:lstStyle>
            <a:lvl1pPr algn="ctr">
              <a:buNone/>
              <a:defRPr sz="1400" b="1">
                <a:solidFill>
                  <a:schemeClr val="tx1"/>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endParaRPr lang="en-GB" dirty="0"/>
          </a:p>
        </p:txBody>
      </p:sp>
      <p:sp>
        <p:nvSpPr>
          <p:cNvPr id="30" name="Marcador de texto 3">
            <a:extLst>
              <a:ext uri="{FF2B5EF4-FFF2-40B4-BE49-F238E27FC236}">
                <a16:creationId xmlns:a16="http://schemas.microsoft.com/office/drawing/2014/main" id="{EF97F695-D66E-4518-9D4E-8D483A4B0A41}"/>
              </a:ext>
            </a:extLst>
          </p:cNvPr>
          <p:cNvSpPr>
            <a:spLocks noGrp="1"/>
          </p:cNvSpPr>
          <p:nvPr>
            <p:ph type="body" sz="quarter" idx="41"/>
          </p:nvPr>
        </p:nvSpPr>
        <p:spPr>
          <a:xfrm>
            <a:off x="9312888" y="5800398"/>
            <a:ext cx="2504440" cy="320399"/>
          </a:xfrm>
          <a:prstGeom prst="rect">
            <a:avLst/>
          </a:prstGeom>
        </p:spPr>
        <p:txBody>
          <a:bodyPr lIns="0" tIns="0" rIns="0" bIns="0"/>
          <a:lstStyle>
            <a:lvl1pPr algn="ctr">
              <a:buNone/>
              <a:defRPr sz="1400" b="1">
                <a:solidFill>
                  <a:schemeClr val="tx1"/>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endParaRPr lang="en-GB" dirty="0"/>
          </a:p>
        </p:txBody>
      </p:sp>
      <p:sp>
        <p:nvSpPr>
          <p:cNvPr id="32" name="Marcador de texto 2">
            <a:extLst>
              <a:ext uri="{FF2B5EF4-FFF2-40B4-BE49-F238E27FC236}">
                <a16:creationId xmlns:a16="http://schemas.microsoft.com/office/drawing/2014/main" id="{85FC4A55-CAFB-4125-9A84-91BA6BAAD731}"/>
              </a:ext>
            </a:extLst>
          </p:cNvPr>
          <p:cNvSpPr>
            <a:spLocks noGrp="1"/>
          </p:cNvSpPr>
          <p:nvPr>
            <p:ph type="body" idx="10" hasCustomPrompt="1"/>
          </p:nvPr>
        </p:nvSpPr>
        <p:spPr>
          <a:xfrm>
            <a:off x="370517" y="722639"/>
            <a:ext cx="11450007" cy="324000"/>
          </a:xfrm>
          <a:prstGeom prst="rect">
            <a:avLst/>
          </a:prstGeom>
        </p:spPr>
        <p:txBody>
          <a:bodyPr lIns="0" tIns="0" rIns="0" bIns="0" anchor="t"/>
          <a:lstStyle>
            <a:lvl1pPr marL="0" indent="0">
              <a:lnSpc>
                <a:spcPct val="100000"/>
              </a:lnSpc>
              <a:spcBef>
                <a:spcPts val="0"/>
              </a:spcBef>
              <a:buNone/>
              <a:defRPr sz="2000" b="0">
                <a:solidFill>
                  <a:srgbClr val="000000"/>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err="1"/>
              <a:t>Subtitle</a:t>
            </a:r>
            <a:endParaRPr lang="es-ES" dirty="0"/>
          </a:p>
        </p:txBody>
      </p:sp>
      <p:sp>
        <p:nvSpPr>
          <p:cNvPr id="33" name="Title 8">
            <a:extLst>
              <a:ext uri="{FF2B5EF4-FFF2-40B4-BE49-F238E27FC236}">
                <a16:creationId xmlns:a16="http://schemas.microsoft.com/office/drawing/2014/main" id="{AECD8FAC-3AF3-43EB-BC98-7AF716BD2304}"/>
              </a:ext>
            </a:extLst>
          </p:cNvPr>
          <p:cNvSpPr>
            <a:spLocks noGrp="1"/>
          </p:cNvSpPr>
          <p:nvPr>
            <p:ph type="title"/>
          </p:nvPr>
        </p:nvSpPr>
        <p:spPr>
          <a:xfrm>
            <a:off x="370517" y="252000"/>
            <a:ext cx="11450007" cy="432000"/>
          </a:xfrm>
        </p:spPr>
        <p:txBody>
          <a:bodyPr/>
          <a:lstStyle/>
          <a:p>
            <a:r>
              <a:rPr lang="en-US" dirty="0"/>
              <a:t>Click to edit Master title style</a:t>
            </a:r>
          </a:p>
        </p:txBody>
      </p:sp>
      <p:sp>
        <p:nvSpPr>
          <p:cNvPr id="34" name="Text Placeholder 7">
            <a:extLst>
              <a:ext uri="{FF2B5EF4-FFF2-40B4-BE49-F238E27FC236}">
                <a16:creationId xmlns:a16="http://schemas.microsoft.com/office/drawing/2014/main" id="{E18B091A-F5A5-48BA-9498-2B9DADC9E44B}"/>
              </a:ext>
            </a:extLst>
          </p:cNvPr>
          <p:cNvSpPr>
            <a:spLocks noGrp="1"/>
          </p:cNvSpPr>
          <p:nvPr>
            <p:ph type="body" sz="quarter" idx="20"/>
          </p:nvPr>
        </p:nvSpPr>
        <p:spPr>
          <a:xfrm>
            <a:off x="371475" y="1399564"/>
            <a:ext cx="11449049" cy="1237274"/>
          </a:xfrm>
        </p:spPr>
        <p:txBody>
          <a:bodyPr/>
          <a:lstStyle>
            <a:lvl1pPr>
              <a:defRPr sz="1400"/>
            </a:lvl1pPr>
          </a:lstStyle>
          <a:p>
            <a:pPr lvl="0"/>
            <a:r>
              <a:rPr lang="en-US" dirty="0"/>
              <a:t>Click to edit Master text styles</a:t>
            </a:r>
          </a:p>
        </p:txBody>
      </p:sp>
      <p:sp>
        <p:nvSpPr>
          <p:cNvPr id="16" name="Marcador de texto 3">
            <a:extLst>
              <a:ext uri="{FF2B5EF4-FFF2-40B4-BE49-F238E27FC236}">
                <a16:creationId xmlns:a16="http://schemas.microsoft.com/office/drawing/2014/main" id="{59A96C03-4158-458D-8652-890E50F8BBED}"/>
              </a:ext>
            </a:extLst>
          </p:cNvPr>
          <p:cNvSpPr>
            <a:spLocks noGrp="1"/>
          </p:cNvSpPr>
          <p:nvPr>
            <p:ph type="body" sz="quarter" idx="42"/>
          </p:nvPr>
        </p:nvSpPr>
        <p:spPr>
          <a:xfrm>
            <a:off x="377869" y="3448902"/>
            <a:ext cx="2432289" cy="320399"/>
          </a:xfrm>
          <a:prstGeom prst="rect">
            <a:avLst/>
          </a:prstGeom>
        </p:spPr>
        <p:txBody>
          <a:bodyPr lIns="0" tIns="0" rIns="0" bIns="0"/>
          <a:lstStyle>
            <a:lvl1pPr algn="ctr">
              <a:buNone/>
              <a:defRPr sz="1400" b="1">
                <a:solidFill>
                  <a:schemeClr val="tx1"/>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endParaRPr lang="en-GB" dirty="0"/>
          </a:p>
        </p:txBody>
      </p:sp>
      <p:sp>
        <p:nvSpPr>
          <p:cNvPr id="17" name="Marcador de texto 3">
            <a:extLst>
              <a:ext uri="{FF2B5EF4-FFF2-40B4-BE49-F238E27FC236}">
                <a16:creationId xmlns:a16="http://schemas.microsoft.com/office/drawing/2014/main" id="{52C1C7B7-D568-4B6F-BB4C-4BBC03CD2D54}"/>
              </a:ext>
            </a:extLst>
          </p:cNvPr>
          <p:cNvSpPr>
            <a:spLocks noGrp="1"/>
          </p:cNvSpPr>
          <p:nvPr>
            <p:ph type="body" sz="quarter" idx="43"/>
          </p:nvPr>
        </p:nvSpPr>
        <p:spPr>
          <a:xfrm>
            <a:off x="9316085" y="3459724"/>
            <a:ext cx="2504440" cy="320399"/>
          </a:xfrm>
          <a:prstGeom prst="rect">
            <a:avLst/>
          </a:prstGeom>
        </p:spPr>
        <p:txBody>
          <a:bodyPr lIns="0" tIns="0" rIns="0" bIns="0"/>
          <a:lstStyle>
            <a:lvl1pPr algn="ctr">
              <a:buNone/>
              <a:defRPr sz="1400" b="1">
                <a:solidFill>
                  <a:schemeClr val="tx1"/>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endParaRPr lang="en-GB" dirty="0"/>
          </a:p>
        </p:txBody>
      </p:sp>
      <p:sp>
        <p:nvSpPr>
          <p:cNvPr id="21" name="Picture Placeholder 27">
            <a:extLst>
              <a:ext uri="{FF2B5EF4-FFF2-40B4-BE49-F238E27FC236}">
                <a16:creationId xmlns:a16="http://schemas.microsoft.com/office/drawing/2014/main" id="{6ACEBDA2-4AFD-4B02-8924-6168C184C44E}"/>
              </a:ext>
            </a:extLst>
          </p:cNvPr>
          <p:cNvSpPr>
            <a:spLocks noGrp="1"/>
          </p:cNvSpPr>
          <p:nvPr>
            <p:ph type="pic" sz="quarter" idx="38" hasCustomPrompt="1"/>
          </p:nvPr>
        </p:nvSpPr>
        <p:spPr>
          <a:xfrm>
            <a:off x="3995073" y="3759141"/>
            <a:ext cx="4188808" cy="3100340"/>
          </a:xfrm>
        </p:spPr>
        <p:txBody>
          <a:bodyPr anchor="ctr"/>
          <a:lstStyle>
            <a:lvl1pPr marL="0" marR="0" indent="0" algn="ctr" defTabSz="914400" rtl="0" eaLnBrk="1" fontAlgn="auto" latinLnBrk="0" hangingPunct="1">
              <a:lnSpc>
                <a:spcPct val="90000"/>
              </a:lnSpc>
              <a:spcBef>
                <a:spcPts val="1800"/>
              </a:spcBef>
              <a:spcAft>
                <a:spcPts val="0"/>
              </a:spcAft>
              <a:buClrTx/>
              <a:buSzTx/>
              <a:buFontTx/>
              <a:buNone/>
              <a:tabLst/>
              <a:defRPr/>
            </a:lvl1pPr>
          </a:lstStyle>
          <a:p>
            <a:pPr marL="0" marR="0" lvl="0" indent="0" algn="l" defTabSz="914400" rtl="0" eaLnBrk="1" fontAlgn="auto" latinLnBrk="0" hangingPunct="1">
              <a:lnSpc>
                <a:spcPct val="90000"/>
              </a:lnSpc>
              <a:spcBef>
                <a:spcPts val="1800"/>
              </a:spcBef>
              <a:spcAft>
                <a:spcPts val="0"/>
              </a:spcAft>
              <a:buClrTx/>
              <a:buSzTx/>
              <a:buFontTx/>
              <a:buNone/>
              <a:tabLst/>
              <a:defRPr/>
            </a:pPr>
            <a:r>
              <a:rPr lang="en-US" dirty="0"/>
              <a:t>Press the icon to add a picture</a:t>
            </a:r>
          </a:p>
          <a:p>
            <a:endParaRPr lang="en-US" dirty="0"/>
          </a:p>
        </p:txBody>
      </p:sp>
      <p:sp>
        <p:nvSpPr>
          <p:cNvPr id="12" name="Rectangle 11">
            <a:extLst>
              <a:ext uri="{FF2B5EF4-FFF2-40B4-BE49-F238E27FC236}">
                <a16:creationId xmlns:a16="http://schemas.microsoft.com/office/drawing/2014/main" id="{AC20BBD9-A5E0-44AB-AC5F-E2A7B2480C0B}"/>
              </a:ext>
            </a:extLst>
          </p:cNvPr>
          <p:cNvSpPr/>
          <p:nvPr userDrawn="1"/>
        </p:nvSpPr>
        <p:spPr>
          <a:xfrm>
            <a:off x="3051745"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4" name="Rectangle 13">
            <a:extLst>
              <a:ext uri="{FF2B5EF4-FFF2-40B4-BE49-F238E27FC236}">
                <a16:creationId xmlns:a16="http://schemas.microsoft.com/office/drawing/2014/main" id="{EF7A1BB1-95EC-4C96-8312-70F030F08C45}"/>
              </a:ext>
            </a:extLst>
          </p:cNvPr>
          <p:cNvSpPr/>
          <p:nvPr userDrawn="1"/>
        </p:nvSpPr>
        <p:spPr>
          <a:xfrm>
            <a:off x="7490"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5" name="Rectangle 14">
            <a:extLst>
              <a:ext uri="{FF2B5EF4-FFF2-40B4-BE49-F238E27FC236}">
                <a16:creationId xmlns:a16="http://schemas.microsoft.com/office/drawing/2014/main" id="{4FDBB2C6-0F37-45B8-98D0-7DE9E3A6012B}"/>
              </a:ext>
            </a:extLst>
          </p:cNvPr>
          <p:cNvSpPr/>
          <p:nvPr userDrawn="1"/>
        </p:nvSpPr>
        <p:spPr>
          <a:xfrm>
            <a:off x="9149414"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8" name="Rectangle 17">
            <a:extLst>
              <a:ext uri="{FF2B5EF4-FFF2-40B4-BE49-F238E27FC236}">
                <a16:creationId xmlns:a16="http://schemas.microsoft.com/office/drawing/2014/main" id="{0873937B-C3E2-419E-B52C-EFB082FC1D4B}"/>
              </a:ext>
            </a:extLst>
          </p:cNvPr>
          <p:cNvSpPr/>
          <p:nvPr userDrawn="1"/>
        </p:nvSpPr>
        <p:spPr>
          <a:xfrm>
            <a:off x="6105159"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Tree>
    <p:extLst>
      <p:ext uri="{BB962C8B-B14F-4D97-AF65-F5344CB8AC3E}">
        <p14:creationId xmlns:p14="http://schemas.microsoft.com/office/powerpoint/2010/main" val="430029353"/>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1_End">
    <p:bg>
      <p:bgPr>
        <a:gradFill>
          <a:gsLst>
            <a:gs pos="0">
              <a:schemeClr val="accent1"/>
            </a:gs>
            <a:gs pos="100000">
              <a:schemeClr val="accent2"/>
            </a:gs>
          </a:gsLst>
          <a:lin ang="5400000" scaled="0"/>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36EEC91-FAE8-4ABD-9FB4-C659BE81729A}"/>
              </a:ext>
            </a:extLst>
          </p:cNvPr>
          <p:cNvGraphicFramePr>
            <a:graphicFrameLocks noChangeAspect="1"/>
          </p:cNvGraphicFramePr>
          <p:nvPr userDrawn="1">
            <p:custDataLst>
              <p:tags r:id="rId2"/>
            </p:custDataLst>
            <p:extLst>
              <p:ext uri="{D42A27DB-BD31-4B8C-83A1-F6EECF244321}">
                <p14:modId xmlns:p14="http://schemas.microsoft.com/office/powerpoint/2010/main" val="2297820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828" name="think-cell Slide" r:id="rId4" imgW="473" imgH="474" progId="TCLayout.ActiveDocument.1">
                  <p:embed/>
                </p:oleObj>
              </mc:Choice>
              <mc:Fallback>
                <p:oleObj name="think-cell Slide" r:id="rId4" imgW="473" imgH="474" progId="TCLayout.ActiveDocument.1">
                  <p:embed/>
                  <p:pic>
                    <p:nvPicPr>
                      <p:cNvPr id="3" name="Object 2" hidden="1">
                        <a:extLst>
                          <a:ext uri="{FF2B5EF4-FFF2-40B4-BE49-F238E27FC236}">
                            <a16:creationId xmlns:a16="http://schemas.microsoft.com/office/drawing/2014/main" id="{336EEC91-FAE8-4ABD-9FB4-C659BE81729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Picture 7">
            <a:extLst>
              <a:ext uri="{FF2B5EF4-FFF2-40B4-BE49-F238E27FC236}">
                <a16:creationId xmlns:a16="http://schemas.microsoft.com/office/drawing/2014/main" id="{588F6A14-7494-EC4A-867C-864E07DD2DFD}"/>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698500" y="532355"/>
            <a:ext cx="2412941" cy="591595"/>
          </a:xfrm>
          <a:prstGeom prst="rect">
            <a:avLst/>
          </a:prstGeom>
        </p:spPr>
      </p:pic>
      <p:sp>
        <p:nvSpPr>
          <p:cNvPr id="16" name="Título 1">
            <a:extLst>
              <a:ext uri="{FF2B5EF4-FFF2-40B4-BE49-F238E27FC236}">
                <a16:creationId xmlns:a16="http://schemas.microsoft.com/office/drawing/2014/main" id="{5AA3C8B9-7162-4D6C-AA6C-7DFFC38AFCF4}"/>
              </a:ext>
            </a:extLst>
          </p:cNvPr>
          <p:cNvSpPr>
            <a:spLocks noGrp="1"/>
          </p:cNvSpPr>
          <p:nvPr>
            <p:ph type="ctrTitle"/>
          </p:nvPr>
        </p:nvSpPr>
        <p:spPr>
          <a:xfrm>
            <a:off x="1524000" y="3127496"/>
            <a:ext cx="9144000" cy="677108"/>
          </a:xfrm>
          <a:prstGeom prst="rect">
            <a:avLst/>
          </a:prstGeom>
        </p:spPr>
        <p:txBody>
          <a:bodyPr anchor="ctr">
            <a:spAutoFit/>
          </a:bodyPr>
          <a:lstStyle>
            <a:lvl1pPr algn="ctr">
              <a:lnSpc>
                <a:spcPct val="100000"/>
              </a:lnSpc>
              <a:defRPr sz="4400" b="1" cap="all" baseline="0">
                <a:solidFill>
                  <a:schemeClr val="bg1"/>
                </a:solidFill>
                <a:latin typeface="+mj-lt"/>
              </a:defRPr>
            </a:lvl1pPr>
          </a:lstStyle>
          <a:p>
            <a:endParaRPr lang="es-ES" dirty="0"/>
          </a:p>
        </p:txBody>
      </p:sp>
      <p:sp>
        <p:nvSpPr>
          <p:cNvPr id="8" name="Rectangle 7">
            <a:extLst>
              <a:ext uri="{FF2B5EF4-FFF2-40B4-BE49-F238E27FC236}">
                <a16:creationId xmlns:a16="http://schemas.microsoft.com/office/drawing/2014/main" id="{AEE16D09-B50F-49D3-9890-32CDE491179B}"/>
              </a:ext>
            </a:extLst>
          </p:cNvPr>
          <p:cNvSpPr/>
          <p:nvPr userDrawn="1"/>
        </p:nvSpPr>
        <p:spPr>
          <a:xfrm>
            <a:off x="3051745"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9" name="Rectangle 8">
            <a:extLst>
              <a:ext uri="{FF2B5EF4-FFF2-40B4-BE49-F238E27FC236}">
                <a16:creationId xmlns:a16="http://schemas.microsoft.com/office/drawing/2014/main" id="{F8077B31-7589-4F46-8022-30057D5345F2}"/>
              </a:ext>
            </a:extLst>
          </p:cNvPr>
          <p:cNvSpPr/>
          <p:nvPr userDrawn="1"/>
        </p:nvSpPr>
        <p:spPr>
          <a:xfrm>
            <a:off x="7490"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0" name="Rectangle 9">
            <a:extLst>
              <a:ext uri="{FF2B5EF4-FFF2-40B4-BE49-F238E27FC236}">
                <a16:creationId xmlns:a16="http://schemas.microsoft.com/office/drawing/2014/main" id="{C9619344-FE0F-44CA-9811-7CDC969750D5}"/>
              </a:ext>
            </a:extLst>
          </p:cNvPr>
          <p:cNvSpPr/>
          <p:nvPr userDrawn="1"/>
        </p:nvSpPr>
        <p:spPr>
          <a:xfrm>
            <a:off x="9149414"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1" name="Rectangle 10">
            <a:extLst>
              <a:ext uri="{FF2B5EF4-FFF2-40B4-BE49-F238E27FC236}">
                <a16:creationId xmlns:a16="http://schemas.microsoft.com/office/drawing/2014/main" id="{FC95EE11-5D93-48EA-AB2A-C71B3C6FC35F}"/>
              </a:ext>
            </a:extLst>
          </p:cNvPr>
          <p:cNvSpPr/>
          <p:nvPr userDrawn="1"/>
        </p:nvSpPr>
        <p:spPr>
          <a:xfrm>
            <a:off x="6105159"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Tree>
    <p:extLst>
      <p:ext uri="{BB962C8B-B14F-4D97-AF65-F5344CB8AC3E}">
        <p14:creationId xmlns:p14="http://schemas.microsoft.com/office/powerpoint/2010/main" val="313833430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hank you - with COntact - 2">
    <p:spTree>
      <p:nvGrpSpPr>
        <p:cNvPr id="1" name=""/>
        <p:cNvGrpSpPr/>
        <p:nvPr/>
      </p:nvGrpSpPr>
      <p:grpSpPr>
        <a:xfrm>
          <a:off x="0" y="0"/>
          <a:ext cx="0" cy="0"/>
          <a:chOff x="0" y="0"/>
          <a:chExt cx="0" cy="0"/>
        </a:xfrm>
      </p:grpSpPr>
      <p:sp>
        <p:nvSpPr>
          <p:cNvPr id="13" name="Marcador de texto 3">
            <a:extLst>
              <a:ext uri="{FF2B5EF4-FFF2-40B4-BE49-F238E27FC236}">
                <a16:creationId xmlns:a16="http://schemas.microsoft.com/office/drawing/2014/main" id="{11C2339C-4F0F-4229-868D-EA06EE2ABB46}"/>
              </a:ext>
            </a:extLst>
          </p:cNvPr>
          <p:cNvSpPr>
            <a:spLocks noGrp="1"/>
          </p:cNvSpPr>
          <p:nvPr>
            <p:ph type="body" sz="quarter" idx="30"/>
          </p:nvPr>
        </p:nvSpPr>
        <p:spPr>
          <a:xfrm>
            <a:off x="2931898" y="2136122"/>
            <a:ext cx="3161302" cy="320399"/>
          </a:xfrm>
          <a:prstGeom prst="rect">
            <a:avLst/>
          </a:prstGeom>
        </p:spPr>
        <p:txBody>
          <a:bodyPr lIns="0" tIns="0" rIns="0" bIns="0"/>
          <a:lstStyle>
            <a:lvl1pPr algn="l">
              <a:buNone/>
              <a:defRPr sz="1800" b="1">
                <a:solidFill>
                  <a:schemeClr val="tx1"/>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endParaRPr lang="en-GB" dirty="0"/>
          </a:p>
        </p:txBody>
      </p:sp>
      <p:sp>
        <p:nvSpPr>
          <p:cNvPr id="14" name="Text Placeholder 9">
            <a:extLst>
              <a:ext uri="{FF2B5EF4-FFF2-40B4-BE49-F238E27FC236}">
                <a16:creationId xmlns:a16="http://schemas.microsoft.com/office/drawing/2014/main" id="{C968167E-03C0-40CB-A0AA-D4B01F77458D}"/>
              </a:ext>
            </a:extLst>
          </p:cNvPr>
          <p:cNvSpPr>
            <a:spLocks noGrp="1"/>
          </p:cNvSpPr>
          <p:nvPr>
            <p:ph type="body" sz="quarter" idx="31"/>
          </p:nvPr>
        </p:nvSpPr>
        <p:spPr>
          <a:xfrm>
            <a:off x="2934698" y="2472883"/>
            <a:ext cx="3166928" cy="361949"/>
          </a:xfrm>
        </p:spPr>
        <p:txBody>
          <a:bodyPr/>
          <a:lstStyle>
            <a:lvl1pPr algn="l">
              <a:defRPr sz="1400"/>
            </a:lvl1pPr>
          </a:lstStyle>
          <a:p>
            <a:pPr lvl="0"/>
            <a:r>
              <a:rPr lang="en-US" dirty="0"/>
              <a:t>Click to edit Master text styles</a:t>
            </a:r>
          </a:p>
        </p:txBody>
      </p:sp>
      <p:sp>
        <p:nvSpPr>
          <p:cNvPr id="32" name="Marcador de texto 2">
            <a:extLst>
              <a:ext uri="{FF2B5EF4-FFF2-40B4-BE49-F238E27FC236}">
                <a16:creationId xmlns:a16="http://schemas.microsoft.com/office/drawing/2014/main" id="{85FC4A55-CAFB-4125-9A84-91BA6BAAD731}"/>
              </a:ext>
            </a:extLst>
          </p:cNvPr>
          <p:cNvSpPr>
            <a:spLocks noGrp="1"/>
          </p:cNvSpPr>
          <p:nvPr>
            <p:ph type="body" idx="10" hasCustomPrompt="1"/>
          </p:nvPr>
        </p:nvSpPr>
        <p:spPr>
          <a:xfrm>
            <a:off x="370517" y="722639"/>
            <a:ext cx="11450007" cy="324000"/>
          </a:xfrm>
          <a:prstGeom prst="rect">
            <a:avLst/>
          </a:prstGeom>
        </p:spPr>
        <p:txBody>
          <a:bodyPr lIns="0" tIns="0" rIns="0" bIns="0" anchor="t"/>
          <a:lstStyle>
            <a:lvl1pPr marL="0" indent="0">
              <a:lnSpc>
                <a:spcPct val="100000"/>
              </a:lnSpc>
              <a:spcBef>
                <a:spcPts val="0"/>
              </a:spcBef>
              <a:buNone/>
              <a:defRPr sz="2000" b="0">
                <a:solidFill>
                  <a:srgbClr val="000000"/>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err="1"/>
              <a:t>Subtitle</a:t>
            </a:r>
            <a:endParaRPr lang="es-ES" dirty="0"/>
          </a:p>
        </p:txBody>
      </p:sp>
      <p:sp>
        <p:nvSpPr>
          <p:cNvPr id="33" name="Title 8">
            <a:extLst>
              <a:ext uri="{FF2B5EF4-FFF2-40B4-BE49-F238E27FC236}">
                <a16:creationId xmlns:a16="http://schemas.microsoft.com/office/drawing/2014/main" id="{AECD8FAC-3AF3-43EB-BC98-7AF716BD2304}"/>
              </a:ext>
            </a:extLst>
          </p:cNvPr>
          <p:cNvSpPr>
            <a:spLocks noGrp="1"/>
          </p:cNvSpPr>
          <p:nvPr>
            <p:ph type="title"/>
          </p:nvPr>
        </p:nvSpPr>
        <p:spPr>
          <a:xfrm>
            <a:off x="370517" y="252000"/>
            <a:ext cx="11450007" cy="432000"/>
          </a:xfrm>
        </p:spPr>
        <p:txBody>
          <a:bodyPr/>
          <a:lstStyle/>
          <a:p>
            <a:r>
              <a:rPr lang="en-US" dirty="0"/>
              <a:t>Click to edit Master title style</a:t>
            </a:r>
          </a:p>
        </p:txBody>
      </p:sp>
      <p:sp>
        <p:nvSpPr>
          <p:cNvPr id="15" name="Rectangle 14">
            <a:extLst>
              <a:ext uri="{FF2B5EF4-FFF2-40B4-BE49-F238E27FC236}">
                <a16:creationId xmlns:a16="http://schemas.microsoft.com/office/drawing/2014/main" id="{422A22CA-A59E-43A1-BDD5-0E7496683085}"/>
              </a:ext>
            </a:extLst>
          </p:cNvPr>
          <p:cNvSpPr/>
          <p:nvPr userDrawn="1"/>
        </p:nvSpPr>
        <p:spPr>
          <a:xfrm>
            <a:off x="3051745"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6" name="Rectangle 15">
            <a:extLst>
              <a:ext uri="{FF2B5EF4-FFF2-40B4-BE49-F238E27FC236}">
                <a16:creationId xmlns:a16="http://schemas.microsoft.com/office/drawing/2014/main" id="{10130961-FC0F-408F-8206-4FA9B9CFCADD}"/>
              </a:ext>
            </a:extLst>
          </p:cNvPr>
          <p:cNvSpPr/>
          <p:nvPr userDrawn="1"/>
        </p:nvSpPr>
        <p:spPr>
          <a:xfrm>
            <a:off x="7490"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7" name="Rectangle 16">
            <a:extLst>
              <a:ext uri="{FF2B5EF4-FFF2-40B4-BE49-F238E27FC236}">
                <a16:creationId xmlns:a16="http://schemas.microsoft.com/office/drawing/2014/main" id="{A9A64599-9E1E-4B1A-A332-A4C0FEC21997}"/>
              </a:ext>
            </a:extLst>
          </p:cNvPr>
          <p:cNvSpPr/>
          <p:nvPr userDrawn="1"/>
        </p:nvSpPr>
        <p:spPr>
          <a:xfrm>
            <a:off x="9149414"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8" name="Rectangle 17">
            <a:extLst>
              <a:ext uri="{FF2B5EF4-FFF2-40B4-BE49-F238E27FC236}">
                <a16:creationId xmlns:a16="http://schemas.microsoft.com/office/drawing/2014/main" id="{F911A4A3-9068-4D45-B1AA-B018463FD469}"/>
              </a:ext>
            </a:extLst>
          </p:cNvPr>
          <p:cNvSpPr/>
          <p:nvPr userDrawn="1"/>
        </p:nvSpPr>
        <p:spPr>
          <a:xfrm>
            <a:off x="6105159"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1" name="Rectángulo 1">
            <a:extLst>
              <a:ext uri="{FF2B5EF4-FFF2-40B4-BE49-F238E27FC236}">
                <a16:creationId xmlns:a16="http://schemas.microsoft.com/office/drawing/2014/main" id="{FDCEEA5F-15DA-47AD-BA15-4F01CD0CD14E}"/>
              </a:ext>
            </a:extLst>
          </p:cNvPr>
          <p:cNvSpPr/>
          <p:nvPr userDrawn="1"/>
        </p:nvSpPr>
        <p:spPr>
          <a:xfrm>
            <a:off x="6547911" y="-5081"/>
            <a:ext cx="5669541" cy="6872077"/>
          </a:xfrm>
          <a:custGeom>
            <a:avLst/>
            <a:gdLst>
              <a:gd name="connsiteX0" fmla="*/ 0 w 3267919"/>
              <a:gd name="connsiteY0" fmla="*/ 0 h 6858000"/>
              <a:gd name="connsiteX1" fmla="*/ 3267919 w 3267919"/>
              <a:gd name="connsiteY1" fmla="*/ 0 h 6858000"/>
              <a:gd name="connsiteX2" fmla="*/ 3267919 w 3267919"/>
              <a:gd name="connsiteY2" fmla="*/ 6858000 h 6858000"/>
              <a:gd name="connsiteX3" fmla="*/ 0 w 3267919"/>
              <a:gd name="connsiteY3" fmla="*/ 6858000 h 6858000"/>
              <a:gd name="connsiteX4" fmla="*/ 0 w 3267919"/>
              <a:gd name="connsiteY4" fmla="*/ 0 h 6858000"/>
              <a:gd name="connsiteX0" fmla="*/ 2835797 w 6103716"/>
              <a:gd name="connsiteY0" fmla="*/ 0 h 6858000"/>
              <a:gd name="connsiteX1" fmla="*/ 6103716 w 6103716"/>
              <a:gd name="connsiteY1" fmla="*/ 0 h 6858000"/>
              <a:gd name="connsiteX2" fmla="*/ 6103716 w 6103716"/>
              <a:gd name="connsiteY2" fmla="*/ 6858000 h 6858000"/>
              <a:gd name="connsiteX3" fmla="*/ 0 w 6103716"/>
              <a:gd name="connsiteY3" fmla="*/ 6858000 h 6858000"/>
              <a:gd name="connsiteX4" fmla="*/ 2835797 w 6103716"/>
              <a:gd name="connsiteY4" fmla="*/ 0 h 6858000"/>
              <a:gd name="connsiteX0" fmla="*/ 2835797 w 7255397"/>
              <a:gd name="connsiteY0" fmla="*/ 5788 h 6863788"/>
              <a:gd name="connsiteX1" fmla="*/ 7255397 w 7255397"/>
              <a:gd name="connsiteY1" fmla="*/ 0 h 6863788"/>
              <a:gd name="connsiteX2" fmla="*/ 6103716 w 7255397"/>
              <a:gd name="connsiteY2" fmla="*/ 6863788 h 6863788"/>
              <a:gd name="connsiteX3" fmla="*/ 0 w 7255397"/>
              <a:gd name="connsiteY3" fmla="*/ 6863788 h 6863788"/>
              <a:gd name="connsiteX4" fmla="*/ 2835797 w 7255397"/>
              <a:gd name="connsiteY4" fmla="*/ 5788 h 6863788"/>
              <a:gd name="connsiteX0" fmla="*/ 2835797 w 7255397"/>
              <a:gd name="connsiteY0" fmla="*/ 5788 h 6863788"/>
              <a:gd name="connsiteX1" fmla="*/ 7255397 w 7255397"/>
              <a:gd name="connsiteY1" fmla="*/ 0 h 6863788"/>
              <a:gd name="connsiteX2" fmla="*/ 7232248 w 7255397"/>
              <a:gd name="connsiteY2" fmla="*/ 6863788 h 6863788"/>
              <a:gd name="connsiteX3" fmla="*/ 0 w 7255397"/>
              <a:gd name="connsiteY3" fmla="*/ 6863788 h 6863788"/>
              <a:gd name="connsiteX4" fmla="*/ 2835797 w 7255397"/>
              <a:gd name="connsiteY4" fmla="*/ 5788 h 6863788"/>
              <a:gd name="connsiteX0" fmla="*/ 2586941 w 7006541"/>
              <a:gd name="connsiteY0" fmla="*/ 5788 h 6869576"/>
              <a:gd name="connsiteX1" fmla="*/ 7006541 w 7006541"/>
              <a:gd name="connsiteY1" fmla="*/ 0 h 6869576"/>
              <a:gd name="connsiteX2" fmla="*/ 6983392 w 7006541"/>
              <a:gd name="connsiteY2" fmla="*/ 6863788 h 6869576"/>
              <a:gd name="connsiteX3" fmla="*/ 0 w 7006541"/>
              <a:gd name="connsiteY3" fmla="*/ 6869576 h 6869576"/>
              <a:gd name="connsiteX4" fmla="*/ 2586941 w 7006541"/>
              <a:gd name="connsiteY4" fmla="*/ 5788 h 6869576"/>
              <a:gd name="connsiteX0" fmla="*/ 2586941 w 7006541"/>
              <a:gd name="connsiteY0" fmla="*/ 5788 h 6869576"/>
              <a:gd name="connsiteX1" fmla="*/ 7006541 w 7006541"/>
              <a:gd name="connsiteY1" fmla="*/ 0 h 6869576"/>
              <a:gd name="connsiteX2" fmla="*/ 6983392 w 7006541"/>
              <a:gd name="connsiteY2" fmla="*/ 6863788 h 6869576"/>
              <a:gd name="connsiteX3" fmla="*/ 0 w 7006541"/>
              <a:gd name="connsiteY3" fmla="*/ 6869576 h 6869576"/>
              <a:gd name="connsiteX4" fmla="*/ 2586941 w 7006541"/>
              <a:gd name="connsiteY4" fmla="*/ 5788 h 6869576"/>
              <a:gd name="connsiteX0" fmla="*/ 2586941 w 6983416"/>
              <a:gd name="connsiteY0" fmla="*/ 0 h 6863788"/>
              <a:gd name="connsiteX1" fmla="*/ 5148805 w 6983416"/>
              <a:gd name="connsiteY1" fmla="*/ 0 h 6863788"/>
              <a:gd name="connsiteX2" fmla="*/ 6983392 w 6983416"/>
              <a:gd name="connsiteY2" fmla="*/ 6858000 h 6863788"/>
              <a:gd name="connsiteX3" fmla="*/ 0 w 6983416"/>
              <a:gd name="connsiteY3" fmla="*/ 6863788 h 6863788"/>
              <a:gd name="connsiteX4" fmla="*/ 2586941 w 6983416"/>
              <a:gd name="connsiteY4" fmla="*/ 0 h 6863788"/>
              <a:gd name="connsiteX0" fmla="*/ 2586941 w 6983421"/>
              <a:gd name="connsiteY0" fmla="*/ 0 h 6863788"/>
              <a:gd name="connsiteX1" fmla="*/ 5513407 w 6983421"/>
              <a:gd name="connsiteY1" fmla="*/ 0 h 6863788"/>
              <a:gd name="connsiteX2" fmla="*/ 6983392 w 6983421"/>
              <a:gd name="connsiteY2" fmla="*/ 6858000 h 6863788"/>
              <a:gd name="connsiteX3" fmla="*/ 0 w 6983421"/>
              <a:gd name="connsiteY3" fmla="*/ 6863788 h 6863788"/>
              <a:gd name="connsiteX4" fmla="*/ 2586941 w 6983421"/>
              <a:gd name="connsiteY4" fmla="*/ 0 h 6863788"/>
              <a:gd name="connsiteX0" fmla="*/ 2586941 w 5513407"/>
              <a:gd name="connsiteY0" fmla="*/ 0 h 6869575"/>
              <a:gd name="connsiteX1" fmla="*/ 5513407 w 5513407"/>
              <a:gd name="connsiteY1" fmla="*/ 0 h 6869575"/>
              <a:gd name="connsiteX2" fmla="*/ 5183529 w 5513407"/>
              <a:gd name="connsiteY2" fmla="*/ 6869575 h 6869575"/>
              <a:gd name="connsiteX3" fmla="*/ 0 w 5513407"/>
              <a:gd name="connsiteY3" fmla="*/ 6863788 h 6869575"/>
              <a:gd name="connsiteX4" fmla="*/ 2586941 w 5513407"/>
              <a:gd name="connsiteY4" fmla="*/ 0 h 6869575"/>
              <a:gd name="connsiteX0" fmla="*/ 2586941 w 5513407"/>
              <a:gd name="connsiteY0" fmla="*/ 0 h 6863788"/>
              <a:gd name="connsiteX1" fmla="*/ 5513407 w 5513407"/>
              <a:gd name="connsiteY1" fmla="*/ 0 h 6863788"/>
              <a:gd name="connsiteX2" fmla="*/ 5496045 w 5513407"/>
              <a:gd name="connsiteY2" fmla="*/ 6829064 h 6863788"/>
              <a:gd name="connsiteX3" fmla="*/ 0 w 5513407"/>
              <a:gd name="connsiteY3" fmla="*/ 6863788 h 6863788"/>
              <a:gd name="connsiteX4" fmla="*/ 2586941 w 5513407"/>
              <a:gd name="connsiteY4" fmla="*/ 0 h 6863788"/>
              <a:gd name="connsiteX0" fmla="*/ 2586941 w 5520913"/>
              <a:gd name="connsiteY0" fmla="*/ 0 h 6863788"/>
              <a:gd name="connsiteX1" fmla="*/ 5513407 w 5520913"/>
              <a:gd name="connsiteY1" fmla="*/ 0 h 6863788"/>
              <a:gd name="connsiteX2" fmla="*/ 5519195 w 5520913"/>
              <a:gd name="connsiteY2" fmla="*/ 6840638 h 6863788"/>
              <a:gd name="connsiteX3" fmla="*/ 0 w 5520913"/>
              <a:gd name="connsiteY3" fmla="*/ 6863788 h 6863788"/>
              <a:gd name="connsiteX4" fmla="*/ 2586941 w 5520913"/>
              <a:gd name="connsiteY4" fmla="*/ 0 h 6863788"/>
              <a:gd name="connsiteX0" fmla="*/ 2586941 w 5543249"/>
              <a:gd name="connsiteY0" fmla="*/ 0 h 6863788"/>
              <a:gd name="connsiteX1" fmla="*/ 5513407 w 5543249"/>
              <a:gd name="connsiteY1" fmla="*/ 0 h 6863788"/>
              <a:gd name="connsiteX2" fmla="*/ 5542344 w 5543249"/>
              <a:gd name="connsiteY2" fmla="*/ 6852213 h 6863788"/>
              <a:gd name="connsiteX3" fmla="*/ 0 w 5543249"/>
              <a:gd name="connsiteY3" fmla="*/ 6863788 h 6863788"/>
              <a:gd name="connsiteX4" fmla="*/ 2586941 w 5543249"/>
              <a:gd name="connsiteY4" fmla="*/ 0 h 6863788"/>
              <a:gd name="connsiteX0" fmla="*/ 2586941 w 5543249"/>
              <a:gd name="connsiteY0" fmla="*/ 0 h 6863788"/>
              <a:gd name="connsiteX1" fmla="*/ 5513407 w 5543249"/>
              <a:gd name="connsiteY1" fmla="*/ 0 h 6863788"/>
              <a:gd name="connsiteX2" fmla="*/ 5542344 w 5543249"/>
              <a:gd name="connsiteY2" fmla="*/ 6852213 h 6863788"/>
              <a:gd name="connsiteX3" fmla="*/ 0 w 5543249"/>
              <a:gd name="connsiteY3" fmla="*/ 6863788 h 6863788"/>
              <a:gd name="connsiteX4" fmla="*/ 2586941 w 5543249"/>
              <a:gd name="connsiteY4" fmla="*/ 0 h 6863788"/>
              <a:gd name="connsiteX0" fmla="*/ 2552723 w 5509031"/>
              <a:gd name="connsiteY0" fmla="*/ 0 h 6852213"/>
              <a:gd name="connsiteX1" fmla="*/ 5479189 w 5509031"/>
              <a:gd name="connsiteY1" fmla="*/ 0 h 6852213"/>
              <a:gd name="connsiteX2" fmla="*/ 5508126 w 5509031"/>
              <a:gd name="connsiteY2" fmla="*/ 6852213 h 6852213"/>
              <a:gd name="connsiteX3" fmla="*/ 0 w 5509031"/>
              <a:gd name="connsiteY3" fmla="*/ 6789649 h 6852213"/>
              <a:gd name="connsiteX4" fmla="*/ 2552723 w 5509031"/>
              <a:gd name="connsiteY4" fmla="*/ 0 h 6852213"/>
              <a:gd name="connsiteX0" fmla="*/ 2552723 w 5494413"/>
              <a:gd name="connsiteY0" fmla="*/ 0 h 6789649"/>
              <a:gd name="connsiteX1" fmla="*/ 5479189 w 5494413"/>
              <a:gd name="connsiteY1" fmla="*/ 0 h 6789649"/>
              <a:gd name="connsiteX2" fmla="*/ 5493109 w 5494413"/>
              <a:gd name="connsiteY2" fmla="*/ 6606924 h 6789649"/>
              <a:gd name="connsiteX3" fmla="*/ 0 w 5494413"/>
              <a:gd name="connsiteY3" fmla="*/ 6789649 h 6789649"/>
              <a:gd name="connsiteX4" fmla="*/ 2552723 w 5494413"/>
              <a:gd name="connsiteY4" fmla="*/ 0 h 6789649"/>
              <a:gd name="connsiteX0" fmla="*/ 2552723 w 5479189"/>
              <a:gd name="connsiteY0" fmla="*/ 0 h 6789649"/>
              <a:gd name="connsiteX1" fmla="*/ 5479189 w 5479189"/>
              <a:gd name="connsiteY1" fmla="*/ 0 h 6789649"/>
              <a:gd name="connsiteX2" fmla="*/ 5433038 w 5479189"/>
              <a:gd name="connsiteY2" fmla="*/ 6757102 h 6789649"/>
              <a:gd name="connsiteX3" fmla="*/ 0 w 5479189"/>
              <a:gd name="connsiteY3" fmla="*/ 6789649 h 6789649"/>
              <a:gd name="connsiteX4" fmla="*/ 2552723 w 5479189"/>
              <a:gd name="connsiteY4" fmla="*/ 0 h 6789649"/>
              <a:gd name="connsiteX0" fmla="*/ 2552723 w 6003412"/>
              <a:gd name="connsiteY0" fmla="*/ 0 h 6789649"/>
              <a:gd name="connsiteX1" fmla="*/ 5479189 w 6003412"/>
              <a:gd name="connsiteY1" fmla="*/ 0 h 6789649"/>
              <a:gd name="connsiteX2" fmla="*/ 6003331 w 6003412"/>
              <a:gd name="connsiteY2" fmla="*/ 6762805 h 6789649"/>
              <a:gd name="connsiteX3" fmla="*/ 0 w 6003412"/>
              <a:gd name="connsiteY3" fmla="*/ 6789649 h 6789649"/>
              <a:gd name="connsiteX4" fmla="*/ 2552723 w 6003412"/>
              <a:gd name="connsiteY4" fmla="*/ 0 h 6789649"/>
              <a:gd name="connsiteX0" fmla="*/ 2564128 w 6014817"/>
              <a:gd name="connsiteY0" fmla="*/ 0 h 6766838"/>
              <a:gd name="connsiteX1" fmla="*/ 5490594 w 6014817"/>
              <a:gd name="connsiteY1" fmla="*/ 0 h 6766838"/>
              <a:gd name="connsiteX2" fmla="*/ 6014736 w 6014817"/>
              <a:gd name="connsiteY2" fmla="*/ 6762805 h 6766838"/>
              <a:gd name="connsiteX3" fmla="*/ 0 w 6014817"/>
              <a:gd name="connsiteY3" fmla="*/ 6766838 h 6766838"/>
              <a:gd name="connsiteX4" fmla="*/ 2564128 w 6014817"/>
              <a:gd name="connsiteY4" fmla="*/ 0 h 6766838"/>
              <a:gd name="connsiteX0" fmla="*/ 2564128 w 6020966"/>
              <a:gd name="connsiteY0" fmla="*/ 0 h 6766838"/>
              <a:gd name="connsiteX1" fmla="*/ 6020966 w 6020966"/>
              <a:gd name="connsiteY1" fmla="*/ 0 h 6766838"/>
              <a:gd name="connsiteX2" fmla="*/ 6014736 w 6020966"/>
              <a:gd name="connsiteY2" fmla="*/ 6762805 h 6766838"/>
              <a:gd name="connsiteX3" fmla="*/ 0 w 6020966"/>
              <a:gd name="connsiteY3" fmla="*/ 6766838 h 6766838"/>
              <a:gd name="connsiteX4" fmla="*/ 2564128 w 6020966"/>
              <a:gd name="connsiteY4" fmla="*/ 0 h 6766838"/>
              <a:gd name="connsiteX0" fmla="*/ 2564128 w 6022729"/>
              <a:gd name="connsiteY0" fmla="*/ 0 h 6766838"/>
              <a:gd name="connsiteX1" fmla="*/ 6020966 w 6022729"/>
              <a:gd name="connsiteY1" fmla="*/ 0 h 6766838"/>
              <a:gd name="connsiteX2" fmla="*/ 6020440 w 6022729"/>
              <a:gd name="connsiteY2" fmla="*/ 6757103 h 6766838"/>
              <a:gd name="connsiteX3" fmla="*/ 0 w 6022729"/>
              <a:gd name="connsiteY3" fmla="*/ 6766838 h 6766838"/>
              <a:gd name="connsiteX4" fmla="*/ 2564128 w 6022729"/>
              <a:gd name="connsiteY4" fmla="*/ 0 h 6766838"/>
              <a:gd name="connsiteX0" fmla="*/ 2564128 w 6020537"/>
              <a:gd name="connsiteY0" fmla="*/ 0 h 6766838"/>
              <a:gd name="connsiteX1" fmla="*/ 5581840 w 6020537"/>
              <a:gd name="connsiteY1" fmla="*/ 0 h 6766838"/>
              <a:gd name="connsiteX2" fmla="*/ 6020440 w 6020537"/>
              <a:gd name="connsiteY2" fmla="*/ 6757103 h 6766838"/>
              <a:gd name="connsiteX3" fmla="*/ 0 w 6020537"/>
              <a:gd name="connsiteY3" fmla="*/ 6766838 h 6766838"/>
              <a:gd name="connsiteX4" fmla="*/ 2564128 w 6020537"/>
              <a:gd name="connsiteY4" fmla="*/ 0 h 6766838"/>
              <a:gd name="connsiteX0" fmla="*/ 2564128 w 5581840"/>
              <a:gd name="connsiteY0" fmla="*/ 0 h 6768508"/>
              <a:gd name="connsiteX1" fmla="*/ 5581840 w 5581840"/>
              <a:gd name="connsiteY1" fmla="*/ 0 h 6768508"/>
              <a:gd name="connsiteX2" fmla="*/ 5147893 w 5581840"/>
              <a:gd name="connsiteY2" fmla="*/ 6768508 h 6768508"/>
              <a:gd name="connsiteX3" fmla="*/ 0 w 5581840"/>
              <a:gd name="connsiteY3" fmla="*/ 6766838 h 6768508"/>
              <a:gd name="connsiteX4" fmla="*/ 2564128 w 5581840"/>
              <a:gd name="connsiteY4" fmla="*/ 0 h 6768508"/>
              <a:gd name="connsiteX0" fmla="*/ 2564128 w 5581840"/>
              <a:gd name="connsiteY0" fmla="*/ 0 h 6766838"/>
              <a:gd name="connsiteX1" fmla="*/ 5581840 w 5581840"/>
              <a:gd name="connsiteY1" fmla="*/ 0 h 6766838"/>
              <a:gd name="connsiteX2" fmla="*/ 5569910 w 5581840"/>
              <a:gd name="connsiteY2" fmla="*/ 6757103 h 6766838"/>
              <a:gd name="connsiteX3" fmla="*/ 0 w 5581840"/>
              <a:gd name="connsiteY3" fmla="*/ 6766838 h 6766838"/>
              <a:gd name="connsiteX4" fmla="*/ 2564128 w 5581840"/>
              <a:gd name="connsiteY4" fmla="*/ 0 h 6766838"/>
              <a:gd name="connsiteX0" fmla="*/ 2564128 w 5586846"/>
              <a:gd name="connsiteY0" fmla="*/ 5006 h 6771844"/>
              <a:gd name="connsiteX1" fmla="*/ 5586846 w 5586846"/>
              <a:gd name="connsiteY1" fmla="*/ 0 h 6771844"/>
              <a:gd name="connsiteX2" fmla="*/ 5569910 w 5586846"/>
              <a:gd name="connsiteY2" fmla="*/ 6762109 h 6771844"/>
              <a:gd name="connsiteX3" fmla="*/ 0 w 5586846"/>
              <a:gd name="connsiteY3" fmla="*/ 6771844 h 6771844"/>
              <a:gd name="connsiteX4" fmla="*/ 2564128 w 5586846"/>
              <a:gd name="connsiteY4" fmla="*/ 5006 h 6771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86846" h="6771844">
                <a:moveTo>
                  <a:pt x="2564128" y="5006"/>
                </a:moveTo>
                <a:lnTo>
                  <a:pt x="5586846" y="0"/>
                </a:lnTo>
                <a:cubicBezTo>
                  <a:pt x="5579130" y="2287929"/>
                  <a:pt x="5577626" y="4474180"/>
                  <a:pt x="5569910" y="6762109"/>
                </a:cubicBezTo>
                <a:lnTo>
                  <a:pt x="0" y="6771844"/>
                </a:lnTo>
                <a:lnTo>
                  <a:pt x="2564128" y="5006"/>
                </a:lnTo>
                <a:close/>
              </a:path>
            </a:pathLst>
          </a:custGeom>
          <a:gradFill>
            <a:gsLst>
              <a:gs pos="0">
                <a:schemeClr val="accent1"/>
              </a:gs>
              <a:gs pos="100000">
                <a:schemeClr val="accent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accent4"/>
              </a:solidFill>
            </a:endParaRPr>
          </a:p>
        </p:txBody>
      </p:sp>
      <p:sp>
        <p:nvSpPr>
          <p:cNvPr id="23" name="Picture Placeholder 9">
            <a:extLst>
              <a:ext uri="{FF2B5EF4-FFF2-40B4-BE49-F238E27FC236}">
                <a16:creationId xmlns:a16="http://schemas.microsoft.com/office/drawing/2014/main" id="{2E22CC52-2F7D-456F-8105-9ED037B9BFE9}"/>
              </a:ext>
            </a:extLst>
          </p:cNvPr>
          <p:cNvSpPr>
            <a:spLocks noGrp="1"/>
          </p:cNvSpPr>
          <p:nvPr>
            <p:ph type="pic" sz="quarter" idx="43"/>
          </p:nvPr>
        </p:nvSpPr>
        <p:spPr>
          <a:xfrm>
            <a:off x="400973" y="2133541"/>
            <a:ext cx="2253327" cy="2197159"/>
          </a:xfrm>
        </p:spPr>
        <p:txBody>
          <a:bodyPr/>
          <a:lstStyle/>
          <a:p>
            <a:endParaRPr lang="en-US" dirty="0"/>
          </a:p>
        </p:txBody>
      </p:sp>
    </p:spTree>
    <p:extLst>
      <p:ext uri="{BB962C8B-B14F-4D97-AF65-F5344CB8AC3E}">
        <p14:creationId xmlns:p14="http://schemas.microsoft.com/office/powerpoint/2010/main" val="351013911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2_Thank you with Contact">
    <p:bg>
      <p:bgPr>
        <a:gradFill>
          <a:gsLst>
            <a:gs pos="0">
              <a:schemeClr val="accent1"/>
            </a:gs>
            <a:gs pos="100000">
              <a:schemeClr val="accent2"/>
            </a:gs>
          </a:gsLst>
          <a:lin ang="5400000" scaled="0"/>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36EEC91-FAE8-4ABD-9FB4-C659BE81729A}"/>
              </a:ext>
            </a:extLst>
          </p:cNvPr>
          <p:cNvGraphicFramePr>
            <a:graphicFrameLocks noChangeAspect="1"/>
          </p:cNvGraphicFramePr>
          <p:nvPr userDrawn="1">
            <p:custDataLst>
              <p:tags r:id="rId2"/>
            </p:custDataLst>
            <p:extLst>
              <p:ext uri="{D42A27DB-BD31-4B8C-83A1-F6EECF244321}">
                <p14:modId xmlns:p14="http://schemas.microsoft.com/office/powerpoint/2010/main" val="1271020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8852" name="think-cell Slide" r:id="rId4" imgW="473" imgH="474" progId="TCLayout.ActiveDocument.1">
                  <p:embed/>
                </p:oleObj>
              </mc:Choice>
              <mc:Fallback>
                <p:oleObj name="think-cell Slide" r:id="rId4" imgW="473" imgH="474" progId="TCLayout.ActiveDocument.1">
                  <p:embed/>
                  <p:pic>
                    <p:nvPicPr>
                      <p:cNvPr id="3" name="Object 2" hidden="1">
                        <a:extLst>
                          <a:ext uri="{FF2B5EF4-FFF2-40B4-BE49-F238E27FC236}">
                            <a16:creationId xmlns:a16="http://schemas.microsoft.com/office/drawing/2014/main" id="{336EEC91-FAE8-4ABD-9FB4-C659BE81729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Picture 7">
            <a:extLst>
              <a:ext uri="{FF2B5EF4-FFF2-40B4-BE49-F238E27FC236}">
                <a16:creationId xmlns:a16="http://schemas.microsoft.com/office/drawing/2014/main" id="{588F6A14-7494-EC4A-867C-864E07DD2DFD}"/>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698500" y="532355"/>
            <a:ext cx="2412941" cy="591595"/>
          </a:xfrm>
          <a:prstGeom prst="rect">
            <a:avLst/>
          </a:prstGeom>
        </p:spPr>
      </p:pic>
      <p:sp>
        <p:nvSpPr>
          <p:cNvPr id="16" name="Título 1">
            <a:extLst>
              <a:ext uri="{FF2B5EF4-FFF2-40B4-BE49-F238E27FC236}">
                <a16:creationId xmlns:a16="http://schemas.microsoft.com/office/drawing/2014/main" id="{5AA3C8B9-7162-4D6C-AA6C-7DFFC38AFCF4}"/>
              </a:ext>
            </a:extLst>
          </p:cNvPr>
          <p:cNvSpPr>
            <a:spLocks noGrp="1"/>
          </p:cNvSpPr>
          <p:nvPr>
            <p:ph type="ctrTitle"/>
          </p:nvPr>
        </p:nvSpPr>
        <p:spPr>
          <a:xfrm>
            <a:off x="1524000" y="3127496"/>
            <a:ext cx="9144000" cy="677108"/>
          </a:xfrm>
          <a:prstGeom prst="rect">
            <a:avLst/>
          </a:prstGeom>
        </p:spPr>
        <p:txBody>
          <a:bodyPr anchor="ctr">
            <a:spAutoFit/>
          </a:bodyPr>
          <a:lstStyle>
            <a:lvl1pPr algn="ctr">
              <a:lnSpc>
                <a:spcPct val="100000"/>
              </a:lnSpc>
              <a:defRPr sz="4400" b="1" cap="all" baseline="0">
                <a:solidFill>
                  <a:schemeClr val="bg1"/>
                </a:solidFill>
                <a:latin typeface="+mj-lt"/>
              </a:defRPr>
            </a:lvl1pPr>
          </a:lstStyle>
          <a:p>
            <a:endParaRPr lang="es-ES" dirty="0"/>
          </a:p>
        </p:txBody>
      </p:sp>
      <p:sp>
        <p:nvSpPr>
          <p:cNvPr id="8" name="Rectangle 7">
            <a:extLst>
              <a:ext uri="{FF2B5EF4-FFF2-40B4-BE49-F238E27FC236}">
                <a16:creationId xmlns:a16="http://schemas.microsoft.com/office/drawing/2014/main" id="{AEE16D09-B50F-49D3-9890-32CDE491179B}"/>
              </a:ext>
            </a:extLst>
          </p:cNvPr>
          <p:cNvSpPr/>
          <p:nvPr userDrawn="1"/>
        </p:nvSpPr>
        <p:spPr>
          <a:xfrm>
            <a:off x="3051745"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9" name="Rectangle 8">
            <a:extLst>
              <a:ext uri="{FF2B5EF4-FFF2-40B4-BE49-F238E27FC236}">
                <a16:creationId xmlns:a16="http://schemas.microsoft.com/office/drawing/2014/main" id="{F8077B31-7589-4F46-8022-30057D5345F2}"/>
              </a:ext>
            </a:extLst>
          </p:cNvPr>
          <p:cNvSpPr/>
          <p:nvPr userDrawn="1"/>
        </p:nvSpPr>
        <p:spPr>
          <a:xfrm>
            <a:off x="7490"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0" name="Rectangle 9">
            <a:extLst>
              <a:ext uri="{FF2B5EF4-FFF2-40B4-BE49-F238E27FC236}">
                <a16:creationId xmlns:a16="http://schemas.microsoft.com/office/drawing/2014/main" id="{C9619344-FE0F-44CA-9811-7CDC969750D5}"/>
              </a:ext>
            </a:extLst>
          </p:cNvPr>
          <p:cNvSpPr/>
          <p:nvPr userDrawn="1"/>
        </p:nvSpPr>
        <p:spPr>
          <a:xfrm>
            <a:off x="9149414"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1" name="Rectangle 10">
            <a:extLst>
              <a:ext uri="{FF2B5EF4-FFF2-40B4-BE49-F238E27FC236}">
                <a16:creationId xmlns:a16="http://schemas.microsoft.com/office/drawing/2014/main" id="{FC95EE11-5D93-48EA-AB2A-C71B3C6FC35F}"/>
              </a:ext>
            </a:extLst>
          </p:cNvPr>
          <p:cNvSpPr/>
          <p:nvPr userDrawn="1"/>
        </p:nvSpPr>
        <p:spPr>
          <a:xfrm>
            <a:off x="6105159"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2" name="Marcador de texto 3">
            <a:extLst>
              <a:ext uri="{FF2B5EF4-FFF2-40B4-BE49-F238E27FC236}">
                <a16:creationId xmlns:a16="http://schemas.microsoft.com/office/drawing/2014/main" id="{A6DEB12D-B8CE-43E3-A309-C6B6E6120E55}"/>
              </a:ext>
            </a:extLst>
          </p:cNvPr>
          <p:cNvSpPr>
            <a:spLocks noGrp="1"/>
          </p:cNvSpPr>
          <p:nvPr>
            <p:ph type="body" sz="quarter" idx="30" hasCustomPrompt="1"/>
          </p:nvPr>
        </p:nvSpPr>
        <p:spPr>
          <a:xfrm>
            <a:off x="4403724" y="4094081"/>
            <a:ext cx="3384551" cy="320399"/>
          </a:xfrm>
          <a:prstGeom prst="rect">
            <a:avLst/>
          </a:prstGeom>
        </p:spPr>
        <p:txBody>
          <a:bodyPr lIns="0" tIns="0" rIns="0" bIns="0"/>
          <a:lstStyle>
            <a:lvl1pPr algn="ctr">
              <a:buNone/>
              <a:defRPr sz="1400" b="1">
                <a:solidFill>
                  <a:schemeClr val="bg1"/>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n-GB" dirty="0"/>
              <a:t>Contact name</a:t>
            </a:r>
          </a:p>
        </p:txBody>
      </p:sp>
      <p:sp>
        <p:nvSpPr>
          <p:cNvPr id="13" name="Text Placeholder 9">
            <a:extLst>
              <a:ext uri="{FF2B5EF4-FFF2-40B4-BE49-F238E27FC236}">
                <a16:creationId xmlns:a16="http://schemas.microsoft.com/office/drawing/2014/main" id="{AE83DBF4-3F90-4FD2-9D2C-B89826114A5E}"/>
              </a:ext>
            </a:extLst>
          </p:cNvPr>
          <p:cNvSpPr>
            <a:spLocks noGrp="1"/>
          </p:cNvSpPr>
          <p:nvPr>
            <p:ph type="body" sz="quarter" idx="31" hasCustomPrompt="1"/>
          </p:nvPr>
        </p:nvSpPr>
        <p:spPr>
          <a:xfrm>
            <a:off x="4407027" y="4352767"/>
            <a:ext cx="3390575" cy="361949"/>
          </a:xfrm>
        </p:spPr>
        <p:txBody>
          <a:bodyPr/>
          <a:lstStyle>
            <a:lvl1pPr algn="ctr">
              <a:defRPr sz="1400">
                <a:solidFill>
                  <a:schemeClr val="bg1"/>
                </a:solidFill>
              </a:defRPr>
            </a:lvl1pPr>
          </a:lstStyle>
          <a:p>
            <a:pPr lvl="0"/>
            <a:r>
              <a:rPr lang="en-US" dirty="0"/>
              <a:t>Title </a:t>
            </a:r>
          </a:p>
        </p:txBody>
      </p:sp>
    </p:spTree>
    <p:extLst>
      <p:ext uri="{BB962C8B-B14F-4D97-AF65-F5344CB8AC3E}">
        <p14:creationId xmlns:p14="http://schemas.microsoft.com/office/powerpoint/2010/main" val="202107393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Layout personalizzato">
    <p:spTree>
      <p:nvGrpSpPr>
        <p:cNvPr id="1" name=""/>
        <p:cNvGrpSpPr/>
        <p:nvPr/>
      </p:nvGrpSpPr>
      <p:grpSpPr>
        <a:xfrm>
          <a:off x="0" y="0"/>
          <a:ext cx="0" cy="0"/>
          <a:chOff x="0" y="0"/>
          <a:chExt cx="0" cy="0"/>
        </a:xfrm>
      </p:grpSpPr>
    </p:spTree>
    <p:extLst>
      <p:ext uri="{BB962C8B-B14F-4D97-AF65-F5344CB8AC3E}">
        <p14:creationId xmlns:p14="http://schemas.microsoft.com/office/powerpoint/2010/main" val="653803524"/>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4800" b="1" i="0">
                <a:solidFill>
                  <a:schemeClr val="bg1"/>
                </a:solidFill>
                <a:latin typeface="Roboto"/>
                <a:cs typeface="Roboto"/>
              </a:defRPr>
            </a:lvl1pPr>
          </a:lstStyle>
          <a:p>
            <a:endParaRPr/>
          </a:p>
        </p:txBody>
      </p:sp>
      <p:sp>
        <p:nvSpPr>
          <p:cNvPr id="3" name="Holder 3"/>
          <p:cNvSpPr>
            <a:spLocks noGrp="1"/>
          </p:cNvSpPr>
          <p:nvPr>
            <p:ph type="body" idx="1"/>
          </p:nvPr>
        </p:nvSpPr>
        <p:spPr/>
        <p:txBody>
          <a:bodyPr lIns="0" tIns="0" rIns="0" bIns="0"/>
          <a:lstStyle>
            <a:lvl1pPr>
              <a:defRPr sz="1400" b="0" i="0">
                <a:solidFill>
                  <a:srgbClr val="333333"/>
                </a:solidFill>
                <a:latin typeface="Roboto"/>
                <a:cs typeface="Roboto"/>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10/2022</a:t>
            </a:fld>
            <a:endParaRPr lang="en-US"/>
          </a:p>
        </p:txBody>
      </p:sp>
      <p:sp>
        <p:nvSpPr>
          <p:cNvPr id="6" name="Holder 6"/>
          <p:cNvSpPr>
            <a:spLocks noGrp="1"/>
          </p:cNvSpPr>
          <p:nvPr>
            <p:ph type="sldNum" sz="quarter" idx="7"/>
          </p:nvPr>
        </p:nvSpPr>
        <p:spPr/>
        <p:txBody>
          <a:bodyPr lIns="0" tIns="0" rIns="0" bIns="0"/>
          <a:lstStyle>
            <a:lvl1pPr>
              <a:defRPr sz="1200" b="0" i="0">
                <a:solidFill>
                  <a:schemeClr val="tx1"/>
                </a:solidFill>
                <a:latin typeface="Roboto"/>
                <a:cs typeface="Roboto"/>
              </a:defRPr>
            </a:lvl1pPr>
          </a:lstStyle>
          <a:p>
            <a:pPr marL="38100">
              <a:lnSpc>
                <a:spcPct val="100000"/>
              </a:lnSpc>
              <a:spcBef>
                <a:spcPts val="10"/>
              </a:spcBef>
            </a:pPr>
            <a:fld id="{81D60167-4931-47E6-BA6A-407CBD079E47}" type="slidenum">
              <a:rPr spc="-5" dirty="0"/>
              <a:t>‹N›</a:t>
            </a:fld>
            <a:endParaRPr spc="-5" dirty="0"/>
          </a:p>
        </p:txBody>
      </p:sp>
    </p:spTree>
    <p:extLst>
      <p:ext uri="{BB962C8B-B14F-4D97-AF65-F5344CB8AC3E}">
        <p14:creationId xmlns:p14="http://schemas.microsoft.com/office/powerpoint/2010/main" val="155051643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ransition slide B">
    <p:bg>
      <p:bgPr>
        <a:gradFill flip="none" rotWithShape="1">
          <a:gsLst>
            <a:gs pos="0">
              <a:schemeClr val="accent1"/>
            </a:gs>
            <a:gs pos="100000">
              <a:schemeClr val="accent2"/>
            </a:gs>
          </a:gsLst>
          <a:lin ang="5400000" scaled="1"/>
          <a:tileRect/>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799C6CA-CACC-40BA-A825-A176D22A874B}"/>
              </a:ext>
            </a:extLst>
          </p:cNvPr>
          <p:cNvGraphicFramePr>
            <a:graphicFrameLocks noChangeAspect="1"/>
          </p:cNvGraphicFramePr>
          <p:nvPr userDrawn="1">
            <p:custDataLst>
              <p:tags r:id="rId2"/>
            </p:custDataLst>
            <p:extLst>
              <p:ext uri="{D42A27DB-BD31-4B8C-83A1-F6EECF244321}">
                <p14:modId xmlns:p14="http://schemas.microsoft.com/office/powerpoint/2010/main" val="42051444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4" name="think-cell Slide" r:id="rId5" imgW="473" imgH="474" progId="TCLayout.ActiveDocument.1">
                  <p:embed/>
                </p:oleObj>
              </mc:Choice>
              <mc:Fallback>
                <p:oleObj name="think-cell Slide" r:id="rId5" imgW="473" imgH="474" progId="TCLayout.ActiveDocument.1">
                  <p:embed/>
                  <p:pic>
                    <p:nvPicPr>
                      <p:cNvPr id="3" name="Object 2" hidden="1">
                        <a:extLst>
                          <a:ext uri="{FF2B5EF4-FFF2-40B4-BE49-F238E27FC236}">
                            <a16:creationId xmlns:a16="http://schemas.microsoft.com/office/drawing/2014/main" id="{8799C6CA-CACC-40BA-A825-A176D22A874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00FC0C89-C1CE-4776-A3D4-6245EB1A333E}"/>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Verdana" panose="020B0604030504040204" pitchFamily="34" charset="0"/>
              <a:ea typeface="+mj-ea"/>
              <a:cs typeface="+mj-cs"/>
              <a:sym typeface="Verdana" panose="020B0604030504040204" pitchFamily="34" charset="0"/>
            </a:endParaRPr>
          </a:p>
        </p:txBody>
      </p:sp>
      <p:sp>
        <p:nvSpPr>
          <p:cNvPr id="6" name="Title 5">
            <a:extLst>
              <a:ext uri="{FF2B5EF4-FFF2-40B4-BE49-F238E27FC236}">
                <a16:creationId xmlns:a16="http://schemas.microsoft.com/office/drawing/2014/main" id="{A4B4FC7D-4393-4A68-A6C5-568B02850E9B}"/>
              </a:ext>
            </a:extLst>
          </p:cNvPr>
          <p:cNvSpPr>
            <a:spLocks noGrp="1"/>
          </p:cNvSpPr>
          <p:nvPr>
            <p:ph type="title" hasCustomPrompt="1"/>
          </p:nvPr>
        </p:nvSpPr>
        <p:spPr>
          <a:xfrm>
            <a:off x="6096000" y="1592263"/>
            <a:ext cx="5148261" cy="2334072"/>
          </a:xfrm>
        </p:spPr>
        <p:txBody>
          <a:bodyPr anchor="b"/>
          <a:lstStyle>
            <a:lvl1pPr>
              <a:defRPr sz="3600">
                <a:solidFill>
                  <a:srgbClr val="FFFFFF"/>
                </a:solidFill>
              </a:defRPr>
            </a:lvl1pPr>
          </a:lstStyle>
          <a:p>
            <a:r>
              <a:rPr lang="en-US" dirty="0"/>
              <a:t>Title</a:t>
            </a:r>
          </a:p>
        </p:txBody>
      </p:sp>
      <p:sp>
        <p:nvSpPr>
          <p:cNvPr id="11" name="Marcador de texto 2">
            <a:extLst>
              <a:ext uri="{FF2B5EF4-FFF2-40B4-BE49-F238E27FC236}">
                <a16:creationId xmlns:a16="http://schemas.microsoft.com/office/drawing/2014/main" id="{7DF24BF0-C3D8-4A33-9A94-03CE8CC973C2}"/>
              </a:ext>
            </a:extLst>
          </p:cNvPr>
          <p:cNvSpPr>
            <a:spLocks noGrp="1"/>
          </p:cNvSpPr>
          <p:nvPr>
            <p:ph type="body" idx="10" hasCustomPrompt="1"/>
          </p:nvPr>
        </p:nvSpPr>
        <p:spPr>
          <a:xfrm>
            <a:off x="6096000" y="4093103"/>
            <a:ext cx="5148261" cy="1712385"/>
          </a:xfrm>
          <a:prstGeom prst="rect">
            <a:avLst/>
          </a:prstGeom>
        </p:spPr>
        <p:txBody>
          <a:bodyPr lIns="0" tIns="0" rIns="0" bIns="0" anchor="t"/>
          <a:lstStyle>
            <a:lvl1pPr marL="0" indent="0">
              <a:lnSpc>
                <a:spcPct val="100000"/>
              </a:lnSpc>
              <a:spcBef>
                <a:spcPts val="0"/>
              </a:spcBef>
              <a:buNone/>
              <a:defRPr sz="2400" b="0">
                <a:solidFill>
                  <a:srgbClr val="FFFFFF"/>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err="1"/>
              <a:t>Subtitle</a:t>
            </a:r>
            <a:endParaRPr lang="es-ES" dirty="0"/>
          </a:p>
        </p:txBody>
      </p:sp>
      <p:sp>
        <p:nvSpPr>
          <p:cNvPr id="4" name="CuadroTexto 64">
            <a:extLst>
              <a:ext uri="{FF2B5EF4-FFF2-40B4-BE49-F238E27FC236}">
                <a16:creationId xmlns:a16="http://schemas.microsoft.com/office/drawing/2014/main" id="{CC2249F8-C077-487B-9BA3-4B911902A356}"/>
              </a:ext>
            </a:extLst>
          </p:cNvPr>
          <p:cNvSpPr txBox="1"/>
          <p:nvPr userDrawn="1"/>
        </p:nvSpPr>
        <p:spPr>
          <a:xfrm>
            <a:off x="10882303" y="6449284"/>
            <a:ext cx="936214" cy="138499"/>
          </a:xfrm>
          <a:prstGeom prst="rect">
            <a:avLst/>
          </a:prstGeom>
          <a:noFill/>
        </p:spPr>
        <p:txBody>
          <a:bodyPr wrap="square" lIns="0" tIns="0" rIns="0" bIns="0" rtlCol="0">
            <a:spAutoFit/>
          </a:bodyPr>
          <a:lstStyle/>
          <a:p>
            <a:pPr algn="r"/>
            <a:fld id="{A4EEDD72-1D6A-6B46-BCFA-C211F73E9379}" type="slidenum">
              <a:rPr lang="es-ES" sz="900" b="1" smtClean="0">
                <a:solidFill>
                  <a:schemeClr val="bg1"/>
                </a:solidFill>
                <a:latin typeface="Verdana" panose="020B0604030504040204" pitchFamily="34" charset="0"/>
                <a:ea typeface="Verdana" panose="020B0604030504040204" pitchFamily="34" charset="0"/>
                <a:cs typeface="Verdana" panose="020B0604030504040204" pitchFamily="34" charset="0"/>
              </a:rPr>
              <a:pPr algn="r"/>
              <a:t>‹N›</a:t>
            </a:fld>
            <a:endParaRPr lang="es-ES" sz="90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18" name="Marcador de posición de imagen 2">
            <a:extLst>
              <a:ext uri="{FF2B5EF4-FFF2-40B4-BE49-F238E27FC236}">
                <a16:creationId xmlns:a16="http://schemas.microsoft.com/office/drawing/2014/main" id="{03104E4C-2AF5-40C4-90D4-0A999BFE96C2}"/>
              </a:ext>
            </a:extLst>
          </p:cNvPr>
          <p:cNvSpPr>
            <a:spLocks noGrp="1"/>
          </p:cNvSpPr>
          <p:nvPr>
            <p:ph type="pic" sz="quarter" idx="13" hasCustomPrompt="1"/>
          </p:nvPr>
        </p:nvSpPr>
        <p:spPr>
          <a:xfrm>
            <a:off x="-9663" y="-7891"/>
            <a:ext cx="6113779" cy="6873015"/>
          </a:xfrm>
          <a:custGeom>
            <a:avLst/>
            <a:gdLst>
              <a:gd name="connsiteX0" fmla="*/ 0 w 4672405"/>
              <a:gd name="connsiteY0" fmla="*/ 0 h 6858000"/>
              <a:gd name="connsiteX1" fmla="*/ 4672405 w 4672405"/>
              <a:gd name="connsiteY1" fmla="*/ 0 h 6858000"/>
              <a:gd name="connsiteX2" fmla="*/ 4672405 w 4672405"/>
              <a:gd name="connsiteY2" fmla="*/ 6858000 h 6858000"/>
              <a:gd name="connsiteX3" fmla="*/ 0 w 4672405"/>
              <a:gd name="connsiteY3" fmla="*/ 6858000 h 6858000"/>
              <a:gd name="connsiteX4" fmla="*/ 0 w 4672405"/>
              <a:gd name="connsiteY4" fmla="*/ 0 h 6858000"/>
              <a:gd name="connsiteX0" fmla="*/ 0 w 4672405"/>
              <a:gd name="connsiteY0" fmla="*/ 0 h 6860046"/>
              <a:gd name="connsiteX1" fmla="*/ 4672405 w 4672405"/>
              <a:gd name="connsiteY1" fmla="*/ 0 h 6860046"/>
              <a:gd name="connsiteX2" fmla="*/ 2080582 w 4672405"/>
              <a:gd name="connsiteY2" fmla="*/ 6860046 h 6860046"/>
              <a:gd name="connsiteX3" fmla="*/ 0 w 4672405"/>
              <a:gd name="connsiteY3" fmla="*/ 6858000 h 6860046"/>
              <a:gd name="connsiteX4" fmla="*/ 0 w 4672405"/>
              <a:gd name="connsiteY4" fmla="*/ 0 h 6860046"/>
              <a:gd name="connsiteX0" fmla="*/ 0 w 4193499"/>
              <a:gd name="connsiteY0" fmla="*/ 0 h 6860046"/>
              <a:gd name="connsiteX1" fmla="*/ 4193499 w 4193499"/>
              <a:gd name="connsiteY1" fmla="*/ 1270943 h 6860046"/>
              <a:gd name="connsiteX2" fmla="*/ 2080582 w 4193499"/>
              <a:gd name="connsiteY2" fmla="*/ 6860046 h 6860046"/>
              <a:gd name="connsiteX3" fmla="*/ 0 w 4193499"/>
              <a:gd name="connsiteY3" fmla="*/ 6858000 h 6860046"/>
              <a:gd name="connsiteX4" fmla="*/ 0 w 4193499"/>
              <a:gd name="connsiteY4" fmla="*/ 0 h 6860046"/>
              <a:gd name="connsiteX0" fmla="*/ 0 w 4193499"/>
              <a:gd name="connsiteY0" fmla="*/ 24560 h 5589103"/>
              <a:gd name="connsiteX1" fmla="*/ 4193499 w 4193499"/>
              <a:gd name="connsiteY1" fmla="*/ 0 h 5589103"/>
              <a:gd name="connsiteX2" fmla="*/ 2080582 w 4193499"/>
              <a:gd name="connsiteY2" fmla="*/ 5589103 h 5589103"/>
              <a:gd name="connsiteX3" fmla="*/ 0 w 4193499"/>
              <a:gd name="connsiteY3" fmla="*/ 5587057 h 5589103"/>
              <a:gd name="connsiteX4" fmla="*/ 0 w 4193499"/>
              <a:gd name="connsiteY4" fmla="*/ 24560 h 5589103"/>
              <a:gd name="connsiteX0" fmla="*/ 0 w 4201685"/>
              <a:gd name="connsiteY0" fmla="*/ 1 h 5564544"/>
              <a:gd name="connsiteX1" fmla="*/ 4201685 w 4201685"/>
              <a:gd name="connsiteY1" fmla="*/ 0 h 5564544"/>
              <a:gd name="connsiteX2" fmla="*/ 2080582 w 4201685"/>
              <a:gd name="connsiteY2" fmla="*/ 5564544 h 5564544"/>
              <a:gd name="connsiteX3" fmla="*/ 0 w 4201685"/>
              <a:gd name="connsiteY3" fmla="*/ 5562498 h 5564544"/>
              <a:gd name="connsiteX4" fmla="*/ 0 w 4201685"/>
              <a:gd name="connsiteY4" fmla="*/ 1 h 5564544"/>
              <a:gd name="connsiteX0" fmla="*/ 712220 w 4913905"/>
              <a:gd name="connsiteY0" fmla="*/ 1 h 5564544"/>
              <a:gd name="connsiteX1" fmla="*/ 4913905 w 4913905"/>
              <a:gd name="connsiteY1" fmla="*/ 0 h 5564544"/>
              <a:gd name="connsiteX2" fmla="*/ 2792802 w 4913905"/>
              <a:gd name="connsiteY2" fmla="*/ 5564544 h 5564544"/>
              <a:gd name="connsiteX3" fmla="*/ 0 w 4913905"/>
              <a:gd name="connsiteY3" fmla="*/ 5533846 h 5564544"/>
              <a:gd name="connsiteX4" fmla="*/ 712220 w 4913905"/>
              <a:gd name="connsiteY4" fmla="*/ 1 h 5564544"/>
              <a:gd name="connsiteX0" fmla="*/ 712220 w 4913905"/>
              <a:gd name="connsiteY0" fmla="*/ 1 h 5533846"/>
              <a:gd name="connsiteX1" fmla="*/ 4913905 w 4913905"/>
              <a:gd name="connsiteY1" fmla="*/ 0 h 5533846"/>
              <a:gd name="connsiteX2" fmla="*/ 2813269 w 4913905"/>
              <a:gd name="connsiteY2" fmla="*/ 5523612 h 5533846"/>
              <a:gd name="connsiteX3" fmla="*/ 0 w 4913905"/>
              <a:gd name="connsiteY3" fmla="*/ 5533846 h 5533846"/>
              <a:gd name="connsiteX4" fmla="*/ 712220 w 4913905"/>
              <a:gd name="connsiteY4" fmla="*/ 1 h 5533846"/>
              <a:gd name="connsiteX0" fmla="*/ 1 w 4913905"/>
              <a:gd name="connsiteY0" fmla="*/ 1 h 5533846"/>
              <a:gd name="connsiteX1" fmla="*/ 4913905 w 4913905"/>
              <a:gd name="connsiteY1" fmla="*/ 0 h 5533846"/>
              <a:gd name="connsiteX2" fmla="*/ 2813269 w 4913905"/>
              <a:gd name="connsiteY2" fmla="*/ 5523612 h 5533846"/>
              <a:gd name="connsiteX3" fmla="*/ 0 w 4913905"/>
              <a:gd name="connsiteY3" fmla="*/ 5533846 h 5533846"/>
              <a:gd name="connsiteX4" fmla="*/ 1 w 4913905"/>
              <a:gd name="connsiteY4" fmla="*/ 1 h 5533846"/>
              <a:gd name="connsiteX0" fmla="*/ 1 w 4913905"/>
              <a:gd name="connsiteY0" fmla="*/ 1 h 5523612"/>
              <a:gd name="connsiteX1" fmla="*/ 4913905 w 4913905"/>
              <a:gd name="connsiteY1" fmla="*/ 0 h 5523612"/>
              <a:gd name="connsiteX2" fmla="*/ 2813269 w 4913905"/>
              <a:gd name="connsiteY2" fmla="*/ 5523612 h 5523612"/>
              <a:gd name="connsiteX3" fmla="*/ 0 w 4913905"/>
              <a:gd name="connsiteY3" fmla="*/ 5521566 h 5523612"/>
              <a:gd name="connsiteX4" fmla="*/ 1 w 4913905"/>
              <a:gd name="connsiteY4" fmla="*/ 1 h 5523612"/>
              <a:gd name="connsiteX0" fmla="*/ 1 w 4913905"/>
              <a:gd name="connsiteY0" fmla="*/ 1 h 5521566"/>
              <a:gd name="connsiteX1" fmla="*/ 4913905 w 4913905"/>
              <a:gd name="connsiteY1" fmla="*/ 0 h 5521566"/>
              <a:gd name="connsiteX2" fmla="*/ 2819409 w 4913905"/>
              <a:gd name="connsiteY2" fmla="*/ 5517472 h 5521566"/>
              <a:gd name="connsiteX3" fmla="*/ 0 w 4913905"/>
              <a:gd name="connsiteY3" fmla="*/ 5521566 h 5521566"/>
              <a:gd name="connsiteX4" fmla="*/ 1 w 4913905"/>
              <a:gd name="connsiteY4" fmla="*/ 1 h 5521566"/>
              <a:gd name="connsiteX0" fmla="*/ 8187 w 4922091"/>
              <a:gd name="connsiteY0" fmla="*/ 1 h 5525659"/>
              <a:gd name="connsiteX1" fmla="*/ 4922091 w 4922091"/>
              <a:gd name="connsiteY1" fmla="*/ 0 h 5525659"/>
              <a:gd name="connsiteX2" fmla="*/ 2827595 w 4922091"/>
              <a:gd name="connsiteY2" fmla="*/ 5517472 h 5525659"/>
              <a:gd name="connsiteX3" fmla="*/ 0 w 4922091"/>
              <a:gd name="connsiteY3" fmla="*/ 5525659 h 5525659"/>
              <a:gd name="connsiteX4" fmla="*/ 8187 w 4922091"/>
              <a:gd name="connsiteY4" fmla="*/ 1 h 5525659"/>
              <a:gd name="connsiteX0" fmla="*/ 8187 w 4922091"/>
              <a:gd name="connsiteY0" fmla="*/ 1 h 5525659"/>
              <a:gd name="connsiteX1" fmla="*/ 4922091 w 4922091"/>
              <a:gd name="connsiteY1" fmla="*/ 0 h 5525659"/>
              <a:gd name="connsiteX2" fmla="*/ 2827595 w 4922091"/>
              <a:gd name="connsiteY2" fmla="*/ 5525659 h 5525659"/>
              <a:gd name="connsiteX3" fmla="*/ 0 w 4922091"/>
              <a:gd name="connsiteY3" fmla="*/ 5525659 h 5525659"/>
              <a:gd name="connsiteX4" fmla="*/ 8187 w 4922091"/>
              <a:gd name="connsiteY4" fmla="*/ 1 h 5525659"/>
              <a:gd name="connsiteX0" fmla="*/ 4094 w 4922091"/>
              <a:gd name="connsiteY0" fmla="*/ 0 h 5537938"/>
              <a:gd name="connsiteX1" fmla="*/ 4922091 w 4922091"/>
              <a:gd name="connsiteY1" fmla="*/ 12279 h 5537938"/>
              <a:gd name="connsiteX2" fmla="*/ 2827595 w 4922091"/>
              <a:gd name="connsiteY2" fmla="*/ 5537938 h 5537938"/>
              <a:gd name="connsiteX3" fmla="*/ 0 w 4922091"/>
              <a:gd name="connsiteY3" fmla="*/ 5537938 h 5537938"/>
              <a:gd name="connsiteX4" fmla="*/ 4094 w 4922091"/>
              <a:gd name="connsiteY4" fmla="*/ 0 h 5537938"/>
              <a:gd name="connsiteX0" fmla="*/ 4094 w 4926184"/>
              <a:gd name="connsiteY0" fmla="*/ 1 h 5537939"/>
              <a:gd name="connsiteX1" fmla="*/ 4926184 w 4926184"/>
              <a:gd name="connsiteY1" fmla="*/ 0 h 5537939"/>
              <a:gd name="connsiteX2" fmla="*/ 2827595 w 4926184"/>
              <a:gd name="connsiteY2" fmla="*/ 5537939 h 5537939"/>
              <a:gd name="connsiteX3" fmla="*/ 0 w 4926184"/>
              <a:gd name="connsiteY3" fmla="*/ 5537939 h 5537939"/>
              <a:gd name="connsiteX4" fmla="*/ 4094 w 4926184"/>
              <a:gd name="connsiteY4" fmla="*/ 1 h 55379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26184" h="5537939">
                <a:moveTo>
                  <a:pt x="4094" y="1"/>
                </a:moveTo>
                <a:lnTo>
                  <a:pt x="4926184" y="0"/>
                </a:lnTo>
                <a:lnTo>
                  <a:pt x="2827595" y="5537939"/>
                </a:lnTo>
                <a:lnTo>
                  <a:pt x="0" y="5537939"/>
                </a:lnTo>
                <a:cubicBezTo>
                  <a:pt x="0" y="3693324"/>
                  <a:pt x="4094" y="1844616"/>
                  <a:pt x="4094" y="1"/>
                </a:cubicBezTo>
                <a:close/>
              </a:path>
            </a:pathLst>
          </a:custGeom>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30C1D7"/>
                </a:solidFill>
                <a:prstDash val="solid"/>
                <a:round/>
                <a:headEnd type="none" w="med" len="med"/>
                <a:tailEnd type="none" w="med" len="med"/>
              </a14:hiddenLine>
            </a:ext>
          </a:extLst>
        </p:spPr>
        <p:txBody>
          <a:bodyPr anchor="ctr"/>
          <a:lstStyle>
            <a:lvl1pPr marL="228600" marR="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a:solidFill>
                  <a:srgbClr val="FFFFFF"/>
                </a:solidFill>
              </a:defRPr>
            </a:lvl1pPr>
          </a:lstStyle>
          <a:p>
            <a:pPr marL="228600" marR="0" lvl="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Drag picture to placeholder </a:t>
            </a:r>
            <a:br>
              <a:rPr lang="en-US" dirty="0"/>
            </a:br>
            <a:r>
              <a:rPr lang="en-US" dirty="0"/>
              <a:t>or click icon to add</a:t>
            </a:r>
          </a:p>
        </p:txBody>
      </p:sp>
      <p:sp>
        <p:nvSpPr>
          <p:cNvPr id="8" name="Rectangle 7">
            <a:extLst>
              <a:ext uri="{FF2B5EF4-FFF2-40B4-BE49-F238E27FC236}">
                <a16:creationId xmlns:a16="http://schemas.microsoft.com/office/drawing/2014/main" id="{5030A68E-DF48-486D-8622-E6914C45B0A6}"/>
              </a:ext>
            </a:extLst>
          </p:cNvPr>
          <p:cNvSpPr/>
          <p:nvPr userDrawn="1"/>
        </p:nvSpPr>
        <p:spPr>
          <a:xfrm>
            <a:off x="3051745"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9" name="Rectangle 8">
            <a:extLst>
              <a:ext uri="{FF2B5EF4-FFF2-40B4-BE49-F238E27FC236}">
                <a16:creationId xmlns:a16="http://schemas.microsoft.com/office/drawing/2014/main" id="{F1E1F4D4-6383-4562-B0FB-7F2221633E0E}"/>
              </a:ext>
            </a:extLst>
          </p:cNvPr>
          <p:cNvSpPr/>
          <p:nvPr userDrawn="1"/>
        </p:nvSpPr>
        <p:spPr>
          <a:xfrm>
            <a:off x="7490"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0" name="Rectangle 9">
            <a:extLst>
              <a:ext uri="{FF2B5EF4-FFF2-40B4-BE49-F238E27FC236}">
                <a16:creationId xmlns:a16="http://schemas.microsoft.com/office/drawing/2014/main" id="{999A84D5-C8EC-484A-B5C8-027702F3B735}"/>
              </a:ext>
            </a:extLst>
          </p:cNvPr>
          <p:cNvSpPr/>
          <p:nvPr userDrawn="1"/>
        </p:nvSpPr>
        <p:spPr>
          <a:xfrm>
            <a:off x="9149414"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2" name="Rectangle 11">
            <a:extLst>
              <a:ext uri="{FF2B5EF4-FFF2-40B4-BE49-F238E27FC236}">
                <a16:creationId xmlns:a16="http://schemas.microsoft.com/office/drawing/2014/main" id="{A3C037ED-4AAE-4E31-B4F3-2CF9FDB39685}"/>
              </a:ext>
            </a:extLst>
          </p:cNvPr>
          <p:cNvSpPr/>
          <p:nvPr userDrawn="1"/>
        </p:nvSpPr>
        <p:spPr>
          <a:xfrm>
            <a:off x="6105159"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Tree>
    <p:extLst>
      <p:ext uri="{BB962C8B-B14F-4D97-AF65-F5344CB8AC3E}">
        <p14:creationId xmlns:p14="http://schemas.microsoft.com/office/powerpoint/2010/main" val="3882838985"/>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theme" Target="../theme/theme1.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90" Type="http://schemas.openxmlformats.org/officeDocument/2006/relationships/vmlDrawing" Target="../drawings/vmlDrawing1.vml"/><Relationship Id="rId95" Type="http://schemas.openxmlformats.org/officeDocument/2006/relationships/image" Target="../media/image2.png"/><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93" Type="http://schemas.openxmlformats.org/officeDocument/2006/relationships/oleObject" Target="../embeddings/oleObject1.bin"/><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91" Type="http://schemas.openxmlformats.org/officeDocument/2006/relationships/tags" Target="../tags/tag2.xml"/><Relationship Id="rId96" Type="http://schemas.openxmlformats.org/officeDocument/2006/relationships/image" Target="../media/image3.svg"/><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tags" Target="../tags/tag3.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3C9BE0B-3F56-44E1-8B59-B57673D24D64}"/>
              </a:ext>
            </a:extLst>
          </p:cNvPr>
          <p:cNvGraphicFramePr>
            <a:graphicFrameLocks noChangeAspect="1"/>
          </p:cNvGraphicFramePr>
          <p:nvPr userDrawn="1">
            <p:custDataLst>
              <p:tags r:id="rId91"/>
            </p:custDataLst>
            <p:extLst>
              <p:ext uri="{D42A27DB-BD31-4B8C-83A1-F6EECF244321}">
                <p14:modId xmlns:p14="http://schemas.microsoft.com/office/powerpoint/2010/main" val="22982760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8" name="think-cell Slide" r:id="rId93" imgW="473" imgH="473" progId="TCLayout.ActiveDocument.1">
                  <p:embed/>
                </p:oleObj>
              </mc:Choice>
              <mc:Fallback>
                <p:oleObj name="think-cell Slide" r:id="rId93" imgW="473" imgH="473" progId="TCLayout.ActiveDocument.1">
                  <p:embed/>
                  <p:pic>
                    <p:nvPicPr>
                      <p:cNvPr id="2" name="Object 1" hidden="1">
                        <a:extLst>
                          <a:ext uri="{FF2B5EF4-FFF2-40B4-BE49-F238E27FC236}">
                            <a16:creationId xmlns:a16="http://schemas.microsoft.com/office/drawing/2014/main" id="{F3C9BE0B-3F56-44E1-8B59-B57673D24D64}"/>
                          </a:ext>
                        </a:extLst>
                      </p:cNvPr>
                      <p:cNvPicPr/>
                      <p:nvPr/>
                    </p:nvPicPr>
                    <p:blipFill>
                      <a:blip r:embed="rId94"/>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A207068-595A-449F-9005-546C42C36DE3}"/>
              </a:ext>
            </a:extLst>
          </p:cNvPr>
          <p:cNvSpPr/>
          <p:nvPr userDrawn="1">
            <p:custDataLst>
              <p:tags r:id="rId9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Verdana" panose="020B0604030504040204" pitchFamily="34" charset="0"/>
              <a:ea typeface="+mj-ea"/>
              <a:cs typeface="+mj-cs"/>
              <a:sym typeface="Verdana" panose="020B0604030504040204" pitchFamily="34" charset="0"/>
            </a:endParaRPr>
          </a:p>
        </p:txBody>
      </p:sp>
      <p:pic>
        <p:nvPicPr>
          <p:cNvPr id="62" name="Graphic 10">
            <a:extLst>
              <a:ext uri="{FF2B5EF4-FFF2-40B4-BE49-F238E27FC236}">
                <a16:creationId xmlns:a16="http://schemas.microsoft.com/office/drawing/2014/main" id="{D9AAF837-5663-3E44-AF80-3E2DC7183F40}"/>
              </a:ext>
            </a:extLst>
          </p:cNvPr>
          <p:cNvPicPr>
            <a:picLocks noChangeAspect="1"/>
          </p:cNvPicPr>
          <p:nvPr userDrawn="1"/>
        </p:nvPicPr>
        <p:blipFill>
          <a:blip r:embed="rId95" cstate="email">
            <a:extLst>
              <a:ext uri="{28A0092B-C50C-407E-A947-70E740481C1C}">
                <a14:useLocalDpi xmlns:a14="http://schemas.microsoft.com/office/drawing/2010/main"/>
              </a:ext>
              <a:ext uri="{96DAC541-7B7A-43D3-8B79-37D633B846F1}">
                <asvg:svgBlip xmlns:asvg="http://schemas.microsoft.com/office/drawing/2016/SVG/main" r:embed="rId96"/>
              </a:ext>
            </a:extLst>
          </a:blip>
          <a:stretch>
            <a:fillRect/>
          </a:stretch>
        </p:blipFill>
        <p:spPr>
          <a:xfrm>
            <a:off x="370517" y="6420188"/>
            <a:ext cx="675863" cy="162467"/>
          </a:xfrm>
          <a:prstGeom prst="rect">
            <a:avLst/>
          </a:prstGeom>
        </p:spPr>
      </p:pic>
      <p:sp>
        <p:nvSpPr>
          <p:cNvPr id="65" name="CuadroTexto 64">
            <a:extLst>
              <a:ext uri="{FF2B5EF4-FFF2-40B4-BE49-F238E27FC236}">
                <a16:creationId xmlns:a16="http://schemas.microsoft.com/office/drawing/2014/main" id="{2FD82B3F-E344-3B48-AB69-6E4DBA9F9179}"/>
              </a:ext>
            </a:extLst>
          </p:cNvPr>
          <p:cNvSpPr txBox="1"/>
          <p:nvPr userDrawn="1"/>
        </p:nvSpPr>
        <p:spPr>
          <a:xfrm>
            <a:off x="10882303" y="6449284"/>
            <a:ext cx="936214" cy="138499"/>
          </a:xfrm>
          <a:prstGeom prst="rect">
            <a:avLst/>
          </a:prstGeom>
          <a:noFill/>
        </p:spPr>
        <p:txBody>
          <a:bodyPr wrap="square" lIns="0" tIns="0" rIns="0" bIns="0" rtlCol="0">
            <a:spAutoFit/>
          </a:bodyPr>
          <a:lstStyle/>
          <a:p>
            <a:pPr algn="r"/>
            <a:fld id="{A4EEDD72-1D6A-6B46-BCFA-C211F73E9379}" type="slidenum">
              <a:rPr lang="es-ES" sz="900" b="1" smtClean="0">
                <a:solidFill>
                  <a:schemeClr val="accent1"/>
                </a:solidFill>
                <a:latin typeface="+mj-lt"/>
                <a:ea typeface="Verdana" panose="020B0604030504040204" pitchFamily="34" charset="0"/>
                <a:cs typeface="Verdana" panose="020B0604030504040204" pitchFamily="34" charset="0"/>
              </a:rPr>
              <a:pPr algn="r"/>
              <a:t>‹N›</a:t>
            </a:fld>
            <a:endParaRPr lang="es-ES" sz="900" b="1" dirty="0">
              <a:solidFill>
                <a:schemeClr val="accent1"/>
              </a:solidFill>
              <a:latin typeface="+mj-lt"/>
              <a:ea typeface="Verdana" panose="020B0604030504040204" pitchFamily="34" charset="0"/>
              <a:cs typeface="Verdana" panose="020B0604030504040204" pitchFamily="34" charset="0"/>
            </a:endParaRPr>
          </a:p>
        </p:txBody>
      </p:sp>
      <p:sp>
        <p:nvSpPr>
          <p:cNvPr id="3" name="Title Placeholder 2">
            <a:extLst>
              <a:ext uri="{FF2B5EF4-FFF2-40B4-BE49-F238E27FC236}">
                <a16:creationId xmlns:a16="http://schemas.microsoft.com/office/drawing/2014/main" id="{F365F0CB-B5DF-475D-93EC-4EDD754B0898}"/>
              </a:ext>
            </a:extLst>
          </p:cNvPr>
          <p:cNvSpPr>
            <a:spLocks noGrp="1"/>
          </p:cNvSpPr>
          <p:nvPr>
            <p:ph type="title"/>
          </p:nvPr>
        </p:nvSpPr>
        <p:spPr>
          <a:xfrm>
            <a:off x="367200" y="252000"/>
            <a:ext cx="11448000" cy="432000"/>
          </a:xfrm>
          <a:prstGeom prst="rect">
            <a:avLst/>
          </a:prstGeom>
        </p:spPr>
        <p:txBody>
          <a:bodyPr vert="horz" lIns="0" tIns="0" rIns="0" bIns="0" rtlCol="0" anchor="t" anchorCtr="0">
            <a:noAutofit/>
          </a:bodyPr>
          <a:lstStyle/>
          <a:p>
            <a:r>
              <a:rPr lang="en-US" dirty="0"/>
              <a:t>Click to edit Master title style</a:t>
            </a:r>
          </a:p>
        </p:txBody>
      </p:sp>
      <p:sp>
        <p:nvSpPr>
          <p:cNvPr id="4" name="Text Placeholder 3">
            <a:extLst>
              <a:ext uri="{FF2B5EF4-FFF2-40B4-BE49-F238E27FC236}">
                <a16:creationId xmlns:a16="http://schemas.microsoft.com/office/drawing/2014/main" id="{5D571A40-7734-434D-8617-53E1D1A057E2}"/>
              </a:ext>
            </a:extLst>
          </p:cNvPr>
          <p:cNvSpPr>
            <a:spLocks noGrp="1"/>
          </p:cNvSpPr>
          <p:nvPr>
            <p:ph type="body" idx="1"/>
          </p:nvPr>
        </p:nvSpPr>
        <p:spPr>
          <a:xfrm>
            <a:off x="367200" y="1397457"/>
            <a:ext cx="11448000" cy="4752000"/>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Footer Placeholder 4">
            <a:extLst>
              <a:ext uri="{FF2B5EF4-FFF2-40B4-BE49-F238E27FC236}">
                <a16:creationId xmlns:a16="http://schemas.microsoft.com/office/drawing/2014/main" id="{2F74F7A8-FB8F-4805-A894-20E8158CFE2B}"/>
              </a:ext>
            </a:extLst>
          </p:cNvPr>
          <p:cNvSpPr txBox="1"/>
          <p:nvPr userDrawn="1"/>
        </p:nvSpPr>
        <p:spPr>
          <a:xfrm>
            <a:off x="5361433" y="6449284"/>
            <a:ext cx="1475068" cy="133372"/>
          </a:xfrm>
          <a:prstGeom prst="rect">
            <a:avLst/>
          </a:prstGeom>
        </p:spPr>
        <p:txBody>
          <a:bodyPr vert="horz" lIns="0" tIns="0" rIns="0" bIns="0" rtlCol="0" anchor="t" anchorCtr="0">
            <a:noAutofit/>
          </a:bodyPr>
          <a:lstStyle>
            <a:defPPr>
              <a:defRPr lang="es-ES"/>
            </a:defPPr>
            <a:lvl1pPr marL="0" algn="l" defTabSz="914400" rtl="0" eaLnBrk="1" latinLnBrk="0" hangingPunct="1">
              <a:defRPr sz="9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dirty="0">
                <a:solidFill>
                  <a:schemeClr val="tx2"/>
                </a:solidFill>
                <a:ea typeface="Arial" charset="0"/>
                <a:cs typeface="Arial" charset="0"/>
              </a:rPr>
              <a:t>Adecco.com</a:t>
            </a:r>
          </a:p>
        </p:txBody>
      </p:sp>
      <p:sp>
        <p:nvSpPr>
          <p:cNvPr id="9" name="Rectangle 8">
            <a:extLst>
              <a:ext uri="{FF2B5EF4-FFF2-40B4-BE49-F238E27FC236}">
                <a16:creationId xmlns:a16="http://schemas.microsoft.com/office/drawing/2014/main" id="{202A67B6-879B-4EB5-8CDF-AB9A7F8C3175}"/>
              </a:ext>
            </a:extLst>
          </p:cNvPr>
          <p:cNvSpPr/>
          <p:nvPr userDrawn="1"/>
        </p:nvSpPr>
        <p:spPr>
          <a:xfrm>
            <a:off x="3051745"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0" name="Rectangle 9">
            <a:extLst>
              <a:ext uri="{FF2B5EF4-FFF2-40B4-BE49-F238E27FC236}">
                <a16:creationId xmlns:a16="http://schemas.microsoft.com/office/drawing/2014/main" id="{F725CF5C-4569-4C66-A5F1-D9B3116DD768}"/>
              </a:ext>
            </a:extLst>
          </p:cNvPr>
          <p:cNvSpPr/>
          <p:nvPr userDrawn="1"/>
        </p:nvSpPr>
        <p:spPr>
          <a:xfrm>
            <a:off x="7490" y="-31251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1" name="Rectangle 10">
            <a:extLst>
              <a:ext uri="{FF2B5EF4-FFF2-40B4-BE49-F238E27FC236}">
                <a16:creationId xmlns:a16="http://schemas.microsoft.com/office/drawing/2014/main" id="{AEF892B3-9E47-412B-B900-EB098CEA8EEB}"/>
              </a:ext>
            </a:extLst>
          </p:cNvPr>
          <p:cNvSpPr/>
          <p:nvPr userDrawn="1"/>
        </p:nvSpPr>
        <p:spPr>
          <a:xfrm>
            <a:off x="9149414"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3" name="Rectangle 12">
            <a:extLst>
              <a:ext uri="{FF2B5EF4-FFF2-40B4-BE49-F238E27FC236}">
                <a16:creationId xmlns:a16="http://schemas.microsoft.com/office/drawing/2014/main" id="{783F9029-24B0-4CE8-9949-5F2975029339}"/>
              </a:ext>
            </a:extLst>
          </p:cNvPr>
          <p:cNvSpPr/>
          <p:nvPr userDrawn="1"/>
        </p:nvSpPr>
        <p:spPr>
          <a:xfrm>
            <a:off x="6105159" y="-312646"/>
            <a:ext cx="3044255" cy="20834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Tree>
    <p:extLst>
      <p:ext uri="{BB962C8B-B14F-4D97-AF65-F5344CB8AC3E}">
        <p14:creationId xmlns:p14="http://schemas.microsoft.com/office/powerpoint/2010/main" val="997178235"/>
      </p:ext>
    </p:extLst>
  </p:cSld>
  <p:clrMap bg1="lt1" tx1="dk1" bg2="lt2" tx2="dk2" accent1="accent1" accent2="accent2" accent3="accent3" accent4="accent4" accent5="accent5" accent6="accent6" hlink="hlink" folHlink="folHlink"/>
  <p:sldLayoutIdLst>
    <p:sldLayoutId id="2147483666" r:id="rId1"/>
    <p:sldLayoutId id="2147483781" r:id="rId2"/>
    <p:sldLayoutId id="2147483786" r:id="rId3"/>
    <p:sldLayoutId id="2147483690" r:id="rId4"/>
    <p:sldLayoutId id="2147483683" r:id="rId5"/>
    <p:sldLayoutId id="2147483719" r:id="rId6"/>
    <p:sldLayoutId id="2147483688" r:id="rId7"/>
    <p:sldLayoutId id="2147483721" r:id="rId8"/>
    <p:sldLayoutId id="2147483727" r:id="rId9"/>
    <p:sldLayoutId id="2147483733" r:id="rId10"/>
    <p:sldLayoutId id="2147483725" r:id="rId11"/>
    <p:sldLayoutId id="2147483784" r:id="rId12"/>
    <p:sldLayoutId id="2147483738" r:id="rId13"/>
    <p:sldLayoutId id="2147483730" r:id="rId14"/>
    <p:sldLayoutId id="2147483754" r:id="rId15"/>
    <p:sldLayoutId id="2147483739" r:id="rId16"/>
    <p:sldLayoutId id="2147483731" r:id="rId17"/>
    <p:sldLayoutId id="2147483761" r:id="rId18"/>
    <p:sldLayoutId id="2147483720" r:id="rId19"/>
    <p:sldLayoutId id="2147483735" r:id="rId20"/>
    <p:sldLayoutId id="2147483722" r:id="rId21"/>
    <p:sldLayoutId id="2147483723" r:id="rId22"/>
    <p:sldLayoutId id="2147483732" r:id="rId23"/>
    <p:sldLayoutId id="2147483668" r:id="rId24"/>
    <p:sldLayoutId id="2147483718" r:id="rId25"/>
    <p:sldLayoutId id="2147483678" r:id="rId26"/>
    <p:sldLayoutId id="2147483736" r:id="rId27"/>
    <p:sldLayoutId id="2147483679" r:id="rId28"/>
    <p:sldLayoutId id="2147483686" r:id="rId29"/>
    <p:sldLayoutId id="2147483762" r:id="rId30"/>
    <p:sldLayoutId id="2147483763" r:id="rId31"/>
    <p:sldLayoutId id="2147483764" r:id="rId32"/>
    <p:sldLayoutId id="2147483685" r:id="rId33"/>
    <p:sldLayoutId id="2147483667" r:id="rId34"/>
    <p:sldLayoutId id="2147483680" r:id="rId35"/>
    <p:sldLayoutId id="2147483669" r:id="rId36"/>
    <p:sldLayoutId id="2147483684" r:id="rId37"/>
    <p:sldLayoutId id="2147483776" r:id="rId38"/>
    <p:sldLayoutId id="2147483777" r:id="rId39"/>
    <p:sldLayoutId id="2147483687" r:id="rId40"/>
    <p:sldLayoutId id="2147483689" r:id="rId41"/>
    <p:sldLayoutId id="2147483677" r:id="rId42"/>
    <p:sldLayoutId id="2147483785" r:id="rId43"/>
    <p:sldLayoutId id="2147483682" r:id="rId44"/>
    <p:sldLayoutId id="2147483789" r:id="rId45"/>
    <p:sldLayoutId id="2147483790" r:id="rId46"/>
    <p:sldLayoutId id="2147483717" r:id="rId47"/>
    <p:sldLayoutId id="2147483791" r:id="rId48"/>
    <p:sldLayoutId id="2147483740" r:id="rId49"/>
    <p:sldLayoutId id="2147483741" r:id="rId50"/>
    <p:sldLayoutId id="2147483742" r:id="rId51"/>
    <p:sldLayoutId id="2147483743" r:id="rId52"/>
    <p:sldLayoutId id="2147483744" r:id="rId53"/>
    <p:sldLayoutId id="2147483745" r:id="rId54"/>
    <p:sldLayoutId id="2147483756" r:id="rId55"/>
    <p:sldLayoutId id="2147483774" r:id="rId56"/>
    <p:sldLayoutId id="2147483748" r:id="rId57"/>
    <p:sldLayoutId id="2147483749" r:id="rId58"/>
    <p:sldLayoutId id="2147483757" r:id="rId59"/>
    <p:sldLayoutId id="2147483765" r:id="rId60"/>
    <p:sldLayoutId id="2147483670" r:id="rId61"/>
    <p:sldLayoutId id="2147483724" r:id="rId62"/>
    <p:sldLayoutId id="2147483758" r:id="rId63"/>
    <p:sldLayoutId id="2147483759" r:id="rId64"/>
    <p:sldLayoutId id="2147483750" r:id="rId65"/>
    <p:sldLayoutId id="2147483751" r:id="rId66"/>
    <p:sldLayoutId id="2147483752" r:id="rId67"/>
    <p:sldLayoutId id="2147483753" r:id="rId68"/>
    <p:sldLayoutId id="2147483726" r:id="rId69"/>
    <p:sldLayoutId id="2147483769" r:id="rId70"/>
    <p:sldLayoutId id="2147483766" r:id="rId71"/>
    <p:sldLayoutId id="2147483767" r:id="rId72"/>
    <p:sldLayoutId id="2147483768" r:id="rId73"/>
    <p:sldLayoutId id="2147483770" r:id="rId74"/>
    <p:sldLayoutId id="2147483775" r:id="rId75"/>
    <p:sldLayoutId id="2147483772" r:id="rId76"/>
    <p:sldLayoutId id="2147483773" r:id="rId77"/>
    <p:sldLayoutId id="2147483771" r:id="rId78"/>
    <p:sldLayoutId id="2147483760" r:id="rId79"/>
    <p:sldLayoutId id="2147483778" r:id="rId80"/>
    <p:sldLayoutId id="2147483783" r:id="rId81"/>
    <p:sldLayoutId id="2147483779" r:id="rId82"/>
    <p:sldLayoutId id="2147483780" r:id="rId83"/>
    <p:sldLayoutId id="2147483782" r:id="rId84"/>
    <p:sldLayoutId id="2147483793" r:id="rId85"/>
    <p:sldLayoutId id="2147483792" r:id="rId86"/>
    <p:sldLayoutId id="2147483794" r:id="rId87"/>
    <p:sldLayoutId id="2147483795" r:id="rId88"/>
  </p:sldLayoutIdLst>
  <p:txStyles>
    <p:titleStyle>
      <a:lvl1pPr algn="l" defTabSz="914400" rtl="0" eaLnBrk="1" latinLnBrk="0" hangingPunct="1">
        <a:lnSpc>
          <a:spcPct val="90000"/>
        </a:lnSpc>
        <a:spcBef>
          <a:spcPct val="0"/>
        </a:spcBef>
        <a:buNone/>
        <a:defRPr sz="2400" b="1" i="0" kern="1200">
          <a:solidFill>
            <a:schemeClr val="accent1"/>
          </a:solidFill>
          <a:latin typeface="+mj-lt"/>
          <a:ea typeface="+mj-ea"/>
          <a:cs typeface="+mj-cs"/>
        </a:defRPr>
      </a:lvl1pPr>
    </p:titleStyle>
    <p:bodyStyle>
      <a:lvl1pPr marL="0" indent="0" algn="l" defTabSz="914400" rtl="0" eaLnBrk="1" latinLnBrk="0" hangingPunct="1">
        <a:lnSpc>
          <a:spcPct val="90000"/>
        </a:lnSpc>
        <a:spcBef>
          <a:spcPts val="1800"/>
        </a:spcBef>
        <a:buFontTx/>
        <a:buNone/>
        <a:defRPr sz="1400" b="0" i="0" kern="1200">
          <a:solidFill>
            <a:schemeClr val="tx1"/>
          </a:solidFill>
          <a:latin typeface="+mn-lt"/>
          <a:ea typeface="+mn-ea"/>
          <a:cs typeface="+mn-cs"/>
        </a:defRPr>
      </a:lvl1pPr>
      <a:lvl2pPr marL="262800" indent="-262800" algn="l" defTabSz="914400" rtl="0" eaLnBrk="1" latinLnBrk="0" hangingPunct="1">
        <a:lnSpc>
          <a:spcPct val="100000"/>
        </a:lnSpc>
        <a:spcBef>
          <a:spcPts val="1200"/>
        </a:spcBef>
        <a:buClr>
          <a:schemeClr val="accent1"/>
        </a:buClr>
        <a:buFont typeface="Arial" panose="020B0604020202020204" pitchFamily="34" charset="0"/>
        <a:buChar char="•"/>
        <a:defRPr sz="1400" b="0" i="0" kern="1200">
          <a:solidFill>
            <a:schemeClr val="tx1"/>
          </a:solidFill>
          <a:latin typeface="+mn-lt"/>
          <a:ea typeface="+mn-ea"/>
          <a:cs typeface="+mn-cs"/>
        </a:defRPr>
      </a:lvl2pPr>
      <a:lvl3pPr marL="536400" indent="-273600" algn="l" defTabSz="914400" rtl="0" eaLnBrk="1" latinLnBrk="0" hangingPunct="1">
        <a:lnSpc>
          <a:spcPct val="100000"/>
        </a:lnSpc>
        <a:spcBef>
          <a:spcPts val="1000"/>
        </a:spcBef>
        <a:buClr>
          <a:schemeClr val="accent1"/>
        </a:buClr>
        <a:buFont typeface="Neutraface Text Book" panose="02000600030000020004" pitchFamily="50" charset="0"/>
        <a:buChar char="—"/>
        <a:defRPr sz="1400" b="0" i="0" kern="1200">
          <a:solidFill>
            <a:schemeClr val="tx1"/>
          </a:solidFill>
          <a:latin typeface="+mn-lt"/>
          <a:ea typeface="+mn-ea"/>
          <a:cs typeface="+mn-cs"/>
        </a:defRPr>
      </a:lvl3pPr>
      <a:lvl4pPr marL="712800" indent="-176400" algn="l" defTabSz="914400" rtl="0" eaLnBrk="1" latinLnBrk="0" hangingPunct="1">
        <a:lnSpc>
          <a:spcPct val="100000"/>
        </a:lnSpc>
        <a:spcBef>
          <a:spcPts val="800"/>
        </a:spcBef>
        <a:buClr>
          <a:schemeClr val="accent1"/>
        </a:buClr>
        <a:buFont typeface="Neutraface Text Book" panose="02000600030000020004" pitchFamily="50" charset="0"/>
        <a:buChar char="—"/>
        <a:defRPr lang="en-US" sz="1400" b="0" i="0" kern="1200" dirty="0">
          <a:solidFill>
            <a:schemeClr val="tx1"/>
          </a:solidFill>
          <a:latin typeface="+mn-lt"/>
          <a:ea typeface="+mn-ea"/>
          <a:cs typeface="+mn-cs"/>
        </a:defRPr>
      </a:lvl4pPr>
      <a:lvl5pPr marL="712800" indent="-176400" algn="l" defTabSz="914400" rtl="0" eaLnBrk="1" latinLnBrk="0" hangingPunct="1">
        <a:lnSpc>
          <a:spcPct val="100000"/>
        </a:lnSpc>
        <a:spcBef>
          <a:spcPts val="600"/>
        </a:spcBef>
        <a:buClr>
          <a:schemeClr val="tx1"/>
        </a:buClr>
        <a:buFont typeface="Neutraface Text Book" panose="02000600030000020004" pitchFamily="50" charset="0"/>
        <a:buChar char="—"/>
        <a:defRPr sz="1600" b="0" i="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pos="597" userDrawn="1">
          <p15:clr>
            <a:srgbClr val="F26B43"/>
          </p15:clr>
        </p15:guide>
        <p15:guide id="4" pos="7061" userDrawn="1">
          <p15:clr>
            <a:srgbClr val="F26B43"/>
          </p15:clr>
        </p15:guide>
        <p15:guide id="5" pos="234" userDrawn="1">
          <p15:clr>
            <a:srgbClr val="F26B43"/>
          </p15:clr>
        </p15:guide>
        <p15:guide id="6" pos="7446" userDrawn="1">
          <p15:clr>
            <a:srgbClr val="F26B43"/>
          </p15:clr>
        </p15:guide>
        <p15:guide id="7" pos="2774" userDrawn="1">
          <p15:clr>
            <a:srgbClr val="F26B43"/>
          </p15:clr>
        </p15:guide>
        <p15:guide id="8" pos="2343" userDrawn="1">
          <p15:clr>
            <a:srgbClr val="F26B43"/>
          </p15:clr>
        </p15:guide>
        <p15:guide id="9" pos="4906" userDrawn="1">
          <p15:clr>
            <a:srgbClr val="F26B43"/>
          </p15:clr>
        </p15:guide>
        <p15:guide id="10" pos="5314" userDrawn="1">
          <p15:clr>
            <a:srgbClr val="F26B43"/>
          </p15:clr>
        </p15:guide>
        <p15:guide id="11" orient="horz" pos="323" userDrawn="1">
          <p15:clr>
            <a:srgbClr val="F26B43"/>
          </p15:clr>
        </p15:guide>
        <p15:guide id="12" orient="horz" pos="3875" userDrawn="1">
          <p15:clr>
            <a:srgbClr val="F26B43"/>
          </p15:clr>
        </p15:guide>
        <p15:guide id="13" orient="horz" pos="878" userDrawn="1">
          <p15:clr>
            <a:srgbClr val="F26B43"/>
          </p15:clr>
        </p15:guide>
        <p15:guide id="14" orient="horz" pos="166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notesSlide" Target="../notesSlides/notesSlide1.xml"/><Relationship Id="rId1" Type="http://schemas.openxmlformats.org/officeDocument/2006/relationships/slideLayout" Target="../slideLayouts/slideLayout87.xml"/><Relationship Id="rId5" Type="http://schemas.openxmlformats.org/officeDocument/2006/relationships/image" Target="../media/image16.png"/><Relationship Id="rId4" Type="http://schemas.openxmlformats.org/officeDocument/2006/relationships/image" Target="../media/image15.jpg"/></Relationships>
</file>

<file path=ppt/slides/_rels/slide10.xml.rels><?xml version="1.0" encoding="UTF-8" standalone="yes"?>
<Relationships xmlns="http://schemas.openxmlformats.org/package/2006/relationships"><Relationship Id="rId3" Type="http://schemas.openxmlformats.org/officeDocument/2006/relationships/slide" Target="slide11.xml"/><Relationship Id="rId2" Type="http://schemas.openxmlformats.org/officeDocument/2006/relationships/notesSlide" Target="../notesSlides/notesSlide8.xml"/><Relationship Id="rId1" Type="http://schemas.openxmlformats.org/officeDocument/2006/relationships/slideLayout" Target="../slideLayouts/slideLayout88.xml"/><Relationship Id="rId6" Type="http://schemas.openxmlformats.org/officeDocument/2006/relationships/image" Target="../media/image16.png"/><Relationship Id="rId5" Type="http://schemas.openxmlformats.org/officeDocument/2006/relationships/image" Target="../media/image15.jpg"/><Relationship Id="rId4" Type="http://schemas.openxmlformats.org/officeDocument/2006/relationships/slide" Target="slide3.xml"/></Relationships>
</file>

<file path=ppt/slides/_rels/slide11.xml.rels><?xml version="1.0" encoding="UTF-8" standalone="yes"?>
<Relationships xmlns="http://schemas.openxmlformats.org/package/2006/relationships"><Relationship Id="rId3" Type="http://schemas.openxmlformats.org/officeDocument/2006/relationships/slide" Target="slide3.xml"/><Relationship Id="rId2" Type="http://schemas.openxmlformats.org/officeDocument/2006/relationships/notesSlide" Target="../notesSlides/notesSlide9.xml"/><Relationship Id="rId1" Type="http://schemas.openxmlformats.org/officeDocument/2006/relationships/slideLayout" Target="../slideLayouts/slideLayout88.xml"/><Relationship Id="rId5" Type="http://schemas.openxmlformats.org/officeDocument/2006/relationships/image" Target="../media/image16.png"/><Relationship Id="rId4" Type="http://schemas.openxmlformats.org/officeDocument/2006/relationships/image" Target="../media/image15.jpg"/></Relationships>
</file>

<file path=ppt/slides/_rels/slide12.xml.rels><?xml version="1.0" encoding="UTF-8" standalone="yes"?>
<Relationships xmlns="http://schemas.openxmlformats.org/package/2006/relationships"><Relationship Id="rId3" Type="http://schemas.openxmlformats.org/officeDocument/2006/relationships/slide" Target="slide12.xml"/><Relationship Id="rId2" Type="http://schemas.openxmlformats.org/officeDocument/2006/relationships/notesSlide" Target="../notesSlides/notesSlide10.xml"/><Relationship Id="rId1" Type="http://schemas.openxmlformats.org/officeDocument/2006/relationships/slideLayout" Target="../slideLayouts/slideLayout88.xml"/><Relationship Id="rId6" Type="http://schemas.openxmlformats.org/officeDocument/2006/relationships/image" Target="../media/image16.png"/><Relationship Id="rId5" Type="http://schemas.openxmlformats.org/officeDocument/2006/relationships/image" Target="../media/image15.jpg"/><Relationship Id="rId4" Type="http://schemas.openxmlformats.org/officeDocument/2006/relationships/slide" Target="slide3.xml"/></Relationships>
</file>

<file path=ppt/slides/_rels/slide13.xml.rels><?xml version="1.0" encoding="UTF-8" standalone="yes"?>
<Relationships xmlns="http://schemas.openxmlformats.org/package/2006/relationships"><Relationship Id="rId3" Type="http://schemas.openxmlformats.org/officeDocument/2006/relationships/slide" Target="slide3.xml"/><Relationship Id="rId2" Type="http://schemas.openxmlformats.org/officeDocument/2006/relationships/notesSlide" Target="../notesSlides/notesSlide11.xml"/><Relationship Id="rId1" Type="http://schemas.openxmlformats.org/officeDocument/2006/relationships/slideLayout" Target="../slideLayouts/slideLayout88.xml"/><Relationship Id="rId5" Type="http://schemas.openxmlformats.org/officeDocument/2006/relationships/image" Target="../media/image16.png"/><Relationship Id="rId4" Type="http://schemas.openxmlformats.org/officeDocument/2006/relationships/image" Target="../media/image15.jpg"/></Relationships>
</file>

<file path=ppt/slides/_rels/slide14.xml.rels><?xml version="1.0" encoding="UTF-8" standalone="yes"?>
<Relationships xmlns="http://schemas.openxmlformats.org/package/2006/relationships"><Relationship Id="rId3" Type="http://schemas.openxmlformats.org/officeDocument/2006/relationships/slide" Target="slide15.xml"/><Relationship Id="rId2" Type="http://schemas.openxmlformats.org/officeDocument/2006/relationships/notesSlide" Target="../notesSlides/notesSlide12.xml"/><Relationship Id="rId1" Type="http://schemas.openxmlformats.org/officeDocument/2006/relationships/slideLayout" Target="../slideLayouts/slideLayout88.xml"/><Relationship Id="rId6" Type="http://schemas.openxmlformats.org/officeDocument/2006/relationships/image" Target="../media/image16.png"/><Relationship Id="rId5" Type="http://schemas.openxmlformats.org/officeDocument/2006/relationships/image" Target="../media/image15.jpg"/><Relationship Id="rId4" Type="http://schemas.openxmlformats.org/officeDocument/2006/relationships/slide" Target="slide3.xml"/></Relationships>
</file>

<file path=ppt/slides/_rels/slide15.xml.rels><?xml version="1.0" encoding="UTF-8" standalone="yes"?>
<Relationships xmlns="http://schemas.openxmlformats.org/package/2006/relationships"><Relationship Id="rId3" Type="http://schemas.openxmlformats.org/officeDocument/2006/relationships/slide" Target="slide3.xml"/><Relationship Id="rId2" Type="http://schemas.openxmlformats.org/officeDocument/2006/relationships/notesSlide" Target="../notesSlides/notesSlide13.xml"/><Relationship Id="rId1" Type="http://schemas.openxmlformats.org/officeDocument/2006/relationships/slideLayout" Target="../slideLayouts/slideLayout88.xml"/><Relationship Id="rId5" Type="http://schemas.openxmlformats.org/officeDocument/2006/relationships/image" Target="../media/image16.png"/><Relationship Id="rId4" Type="http://schemas.openxmlformats.org/officeDocument/2006/relationships/image" Target="../media/image15.jpg"/></Relationships>
</file>

<file path=ppt/slides/_rels/slide16.xml.rels><?xml version="1.0" encoding="UTF-8" standalone="yes"?>
<Relationships xmlns="http://schemas.openxmlformats.org/package/2006/relationships"><Relationship Id="rId3" Type="http://schemas.openxmlformats.org/officeDocument/2006/relationships/slide" Target="slide17.xml"/><Relationship Id="rId2" Type="http://schemas.openxmlformats.org/officeDocument/2006/relationships/notesSlide" Target="../notesSlides/notesSlide14.xml"/><Relationship Id="rId1" Type="http://schemas.openxmlformats.org/officeDocument/2006/relationships/slideLayout" Target="../slideLayouts/slideLayout88.xml"/><Relationship Id="rId6" Type="http://schemas.openxmlformats.org/officeDocument/2006/relationships/image" Target="../media/image16.png"/><Relationship Id="rId5" Type="http://schemas.openxmlformats.org/officeDocument/2006/relationships/image" Target="../media/image15.jpg"/><Relationship Id="rId4" Type="http://schemas.openxmlformats.org/officeDocument/2006/relationships/slide" Target="slide3.xml"/></Relationships>
</file>

<file path=ppt/slides/_rels/slide17.xml.rels><?xml version="1.0" encoding="UTF-8" standalone="yes"?>
<Relationships xmlns="http://schemas.openxmlformats.org/package/2006/relationships"><Relationship Id="rId3" Type="http://schemas.openxmlformats.org/officeDocument/2006/relationships/slide" Target="slide3.xml"/><Relationship Id="rId2" Type="http://schemas.openxmlformats.org/officeDocument/2006/relationships/notesSlide" Target="../notesSlides/notesSlide15.xml"/><Relationship Id="rId1" Type="http://schemas.openxmlformats.org/officeDocument/2006/relationships/slideLayout" Target="../slideLayouts/slideLayout88.xml"/><Relationship Id="rId5" Type="http://schemas.openxmlformats.org/officeDocument/2006/relationships/image" Target="../media/image16.png"/><Relationship Id="rId4" Type="http://schemas.openxmlformats.org/officeDocument/2006/relationships/image" Target="../media/image15.jpg"/></Relationships>
</file>

<file path=ppt/slides/_rels/slide18.xml.rels><?xml version="1.0" encoding="UTF-8" standalone="yes"?>
<Relationships xmlns="http://schemas.openxmlformats.org/package/2006/relationships"><Relationship Id="rId3" Type="http://schemas.openxmlformats.org/officeDocument/2006/relationships/slide" Target="slide3.xml"/><Relationship Id="rId2" Type="http://schemas.openxmlformats.org/officeDocument/2006/relationships/notesSlide" Target="../notesSlides/notesSlide16.xml"/><Relationship Id="rId1" Type="http://schemas.openxmlformats.org/officeDocument/2006/relationships/slideLayout" Target="../slideLayouts/slideLayout88.xml"/><Relationship Id="rId5" Type="http://schemas.openxmlformats.org/officeDocument/2006/relationships/image" Target="../media/image16.png"/><Relationship Id="rId4" Type="http://schemas.openxmlformats.org/officeDocument/2006/relationships/image" Target="../media/image15.jpg"/></Relationships>
</file>

<file path=ppt/slides/_rels/slide19.xml.rels><?xml version="1.0" encoding="UTF-8" standalone="yes"?>
<Relationships xmlns="http://schemas.openxmlformats.org/package/2006/relationships"><Relationship Id="rId3" Type="http://schemas.openxmlformats.org/officeDocument/2006/relationships/slide" Target="slide3.xml"/><Relationship Id="rId2" Type="http://schemas.openxmlformats.org/officeDocument/2006/relationships/notesSlide" Target="../notesSlides/notesSlide17.xml"/><Relationship Id="rId1" Type="http://schemas.openxmlformats.org/officeDocument/2006/relationships/slideLayout" Target="../slideLayouts/slideLayout88.xml"/><Relationship Id="rId5" Type="http://schemas.openxmlformats.org/officeDocument/2006/relationships/image" Target="../media/image16.png"/><Relationship Id="rId4" Type="http://schemas.openxmlformats.org/officeDocument/2006/relationships/image" Target="../media/image15.jpg"/></Relationships>
</file>

<file path=ppt/slides/_rels/slide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Layout" Target="../slideLayouts/slideLayout87.xml"/></Relationships>
</file>

<file path=ppt/slides/_rels/slide20.xml.rels><?xml version="1.0" encoding="UTF-8" standalone="yes"?>
<Relationships xmlns="http://schemas.openxmlformats.org/package/2006/relationships"><Relationship Id="rId3" Type="http://schemas.openxmlformats.org/officeDocument/2006/relationships/slide" Target="slide21.xml"/><Relationship Id="rId2" Type="http://schemas.openxmlformats.org/officeDocument/2006/relationships/notesSlide" Target="../notesSlides/notesSlide18.xml"/><Relationship Id="rId1" Type="http://schemas.openxmlformats.org/officeDocument/2006/relationships/slideLayout" Target="../slideLayouts/slideLayout88.xml"/><Relationship Id="rId6" Type="http://schemas.openxmlformats.org/officeDocument/2006/relationships/image" Target="../media/image16.png"/><Relationship Id="rId5" Type="http://schemas.openxmlformats.org/officeDocument/2006/relationships/image" Target="../media/image15.jpg"/><Relationship Id="rId4" Type="http://schemas.openxmlformats.org/officeDocument/2006/relationships/slide" Target="slide3.xml"/></Relationships>
</file>

<file path=ppt/slides/_rels/slide21.xml.rels><?xml version="1.0" encoding="UTF-8" standalone="yes"?>
<Relationships xmlns="http://schemas.openxmlformats.org/package/2006/relationships"><Relationship Id="rId3" Type="http://schemas.openxmlformats.org/officeDocument/2006/relationships/slide" Target="slide3.xml"/><Relationship Id="rId2" Type="http://schemas.openxmlformats.org/officeDocument/2006/relationships/notesSlide" Target="../notesSlides/notesSlide19.xml"/><Relationship Id="rId1" Type="http://schemas.openxmlformats.org/officeDocument/2006/relationships/slideLayout" Target="../slideLayouts/slideLayout88.xml"/><Relationship Id="rId5" Type="http://schemas.openxmlformats.org/officeDocument/2006/relationships/image" Target="../media/image16.png"/><Relationship Id="rId4" Type="http://schemas.openxmlformats.org/officeDocument/2006/relationships/image" Target="../media/image15.jpg"/></Relationships>
</file>

<file path=ppt/slides/_rels/slide22.xml.rels><?xml version="1.0" encoding="UTF-8" standalone="yes"?>
<Relationships xmlns="http://schemas.openxmlformats.org/package/2006/relationships"><Relationship Id="rId3" Type="http://schemas.openxmlformats.org/officeDocument/2006/relationships/slide" Target="slide23.xml"/><Relationship Id="rId2" Type="http://schemas.openxmlformats.org/officeDocument/2006/relationships/notesSlide" Target="../notesSlides/notesSlide20.xml"/><Relationship Id="rId1" Type="http://schemas.openxmlformats.org/officeDocument/2006/relationships/slideLayout" Target="../slideLayouts/slideLayout88.xml"/><Relationship Id="rId6" Type="http://schemas.openxmlformats.org/officeDocument/2006/relationships/image" Target="../media/image16.png"/><Relationship Id="rId5" Type="http://schemas.openxmlformats.org/officeDocument/2006/relationships/image" Target="../media/image15.jpg"/><Relationship Id="rId4" Type="http://schemas.openxmlformats.org/officeDocument/2006/relationships/slide" Target="slide3.xml"/></Relationships>
</file>

<file path=ppt/slides/_rels/slide23.xml.rels><?xml version="1.0" encoding="UTF-8" standalone="yes"?>
<Relationships xmlns="http://schemas.openxmlformats.org/package/2006/relationships"><Relationship Id="rId3" Type="http://schemas.openxmlformats.org/officeDocument/2006/relationships/slide" Target="slide3.xml"/><Relationship Id="rId2" Type="http://schemas.openxmlformats.org/officeDocument/2006/relationships/notesSlide" Target="../notesSlides/notesSlide21.xml"/><Relationship Id="rId1" Type="http://schemas.openxmlformats.org/officeDocument/2006/relationships/slideLayout" Target="../slideLayouts/slideLayout88.xml"/><Relationship Id="rId5" Type="http://schemas.openxmlformats.org/officeDocument/2006/relationships/image" Target="../media/image16.png"/><Relationship Id="rId4" Type="http://schemas.openxmlformats.org/officeDocument/2006/relationships/image" Target="../media/image15.jpg"/></Relationships>
</file>

<file path=ppt/slides/_rels/slide24.xml.rels><?xml version="1.0" encoding="UTF-8" standalone="yes"?>
<Relationships xmlns="http://schemas.openxmlformats.org/package/2006/relationships"><Relationship Id="rId3" Type="http://schemas.openxmlformats.org/officeDocument/2006/relationships/slide" Target="slide25.xml"/><Relationship Id="rId2" Type="http://schemas.openxmlformats.org/officeDocument/2006/relationships/notesSlide" Target="../notesSlides/notesSlide22.xml"/><Relationship Id="rId1" Type="http://schemas.openxmlformats.org/officeDocument/2006/relationships/slideLayout" Target="../slideLayouts/slideLayout88.xml"/><Relationship Id="rId6" Type="http://schemas.openxmlformats.org/officeDocument/2006/relationships/image" Target="../media/image16.png"/><Relationship Id="rId5" Type="http://schemas.openxmlformats.org/officeDocument/2006/relationships/image" Target="../media/image15.jpg"/><Relationship Id="rId4" Type="http://schemas.openxmlformats.org/officeDocument/2006/relationships/slide" Target="slide3.xml"/></Relationships>
</file>

<file path=ppt/slides/_rels/slide25.xml.rels><?xml version="1.0" encoding="UTF-8" standalone="yes"?>
<Relationships xmlns="http://schemas.openxmlformats.org/package/2006/relationships"><Relationship Id="rId3" Type="http://schemas.openxmlformats.org/officeDocument/2006/relationships/slide" Target="slide3.xml"/><Relationship Id="rId2" Type="http://schemas.openxmlformats.org/officeDocument/2006/relationships/notesSlide" Target="../notesSlides/notesSlide23.xml"/><Relationship Id="rId1" Type="http://schemas.openxmlformats.org/officeDocument/2006/relationships/slideLayout" Target="../slideLayouts/slideLayout88.xml"/><Relationship Id="rId5" Type="http://schemas.openxmlformats.org/officeDocument/2006/relationships/image" Target="../media/image16.png"/><Relationship Id="rId4" Type="http://schemas.openxmlformats.org/officeDocument/2006/relationships/image" Target="../media/image15.jpg"/></Relationships>
</file>

<file path=ppt/slides/_rels/slide26.xml.rels><?xml version="1.0" encoding="UTF-8" standalone="yes"?>
<Relationships xmlns="http://schemas.openxmlformats.org/package/2006/relationships"><Relationship Id="rId3" Type="http://schemas.openxmlformats.org/officeDocument/2006/relationships/slide" Target="slide27.xml"/><Relationship Id="rId2" Type="http://schemas.openxmlformats.org/officeDocument/2006/relationships/notesSlide" Target="../notesSlides/notesSlide24.xml"/><Relationship Id="rId1" Type="http://schemas.openxmlformats.org/officeDocument/2006/relationships/slideLayout" Target="../slideLayouts/slideLayout88.xml"/><Relationship Id="rId6" Type="http://schemas.openxmlformats.org/officeDocument/2006/relationships/image" Target="../media/image16.png"/><Relationship Id="rId5" Type="http://schemas.openxmlformats.org/officeDocument/2006/relationships/image" Target="../media/image15.jpg"/><Relationship Id="rId4" Type="http://schemas.openxmlformats.org/officeDocument/2006/relationships/slide" Target="slide3.xml"/></Relationships>
</file>

<file path=ppt/slides/_rels/slide27.xml.rels><?xml version="1.0" encoding="UTF-8" standalone="yes"?>
<Relationships xmlns="http://schemas.openxmlformats.org/package/2006/relationships"><Relationship Id="rId3" Type="http://schemas.openxmlformats.org/officeDocument/2006/relationships/slide" Target="slide28.xml"/><Relationship Id="rId2" Type="http://schemas.openxmlformats.org/officeDocument/2006/relationships/notesSlide" Target="../notesSlides/notesSlide25.xml"/><Relationship Id="rId1" Type="http://schemas.openxmlformats.org/officeDocument/2006/relationships/slideLayout" Target="../slideLayouts/slideLayout88.xml"/><Relationship Id="rId6" Type="http://schemas.openxmlformats.org/officeDocument/2006/relationships/image" Target="../media/image16.png"/><Relationship Id="rId5" Type="http://schemas.openxmlformats.org/officeDocument/2006/relationships/image" Target="../media/image15.jpg"/><Relationship Id="rId4" Type="http://schemas.openxmlformats.org/officeDocument/2006/relationships/slide" Target="slide3.xml"/></Relationships>
</file>

<file path=ppt/slides/_rels/slide28.xml.rels><?xml version="1.0" encoding="UTF-8" standalone="yes"?>
<Relationships xmlns="http://schemas.openxmlformats.org/package/2006/relationships"><Relationship Id="rId3" Type="http://schemas.openxmlformats.org/officeDocument/2006/relationships/slide" Target="slide3.xml"/><Relationship Id="rId2" Type="http://schemas.openxmlformats.org/officeDocument/2006/relationships/notesSlide" Target="../notesSlides/notesSlide26.xml"/><Relationship Id="rId1" Type="http://schemas.openxmlformats.org/officeDocument/2006/relationships/slideLayout" Target="../slideLayouts/slideLayout88.xml"/><Relationship Id="rId5" Type="http://schemas.openxmlformats.org/officeDocument/2006/relationships/image" Target="../media/image16.png"/><Relationship Id="rId4" Type="http://schemas.openxmlformats.org/officeDocument/2006/relationships/image" Target="../media/image15.jpg"/></Relationships>
</file>

<file path=ppt/slides/_rels/slide29.xml.rels><?xml version="1.0" encoding="UTF-8" standalone="yes"?>
<Relationships xmlns="http://schemas.openxmlformats.org/package/2006/relationships"><Relationship Id="rId3" Type="http://schemas.openxmlformats.org/officeDocument/2006/relationships/slide" Target="slide30.xml"/><Relationship Id="rId2" Type="http://schemas.openxmlformats.org/officeDocument/2006/relationships/notesSlide" Target="../notesSlides/notesSlide27.xml"/><Relationship Id="rId1" Type="http://schemas.openxmlformats.org/officeDocument/2006/relationships/slideLayout" Target="../slideLayouts/slideLayout88.xml"/><Relationship Id="rId6" Type="http://schemas.openxmlformats.org/officeDocument/2006/relationships/image" Target="../media/image16.png"/><Relationship Id="rId5" Type="http://schemas.openxmlformats.org/officeDocument/2006/relationships/image" Target="../media/image15.jpg"/><Relationship Id="rId4" Type="http://schemas.openxmlformats.org/officeDocument/2006/relationships/slide" Target="slide3.xml"/></Relationships>
</file>

<file path=ppt/slides/_rels/slide3.xml.rels><?xml version="1.0" encoding="UTF-8" standalone="yes"?>
<Relationships xmlns="http://schemas.openxmlformats.org/package/2006/relationships"><Relationship Id="rId8" Type="http://schemas.openxmlformats.org/officeDocument/2006/relationships/slide" Target="slide16.xml"/><Relationship Id="rId13" Type="http://schemas.openxmlformats.org/officeDocument/2006/relationships/slide" Target="slide26.xml"/><Relationship Id="rId18" Type="http://schemas.openxmlformats.org/officeDocument/2006/relationships/image" Target="../media/image17.png"/><Relationship Id="rId3" Type="http://schemas.openxmlformats.org/officeDocument/2006/relationships/slide" Target="slide6.xml"/><Relationship Id="rId21" Type="http://schemas.openxmlformats.org/officeDocument/2006/relationships/image" Target="../media/image16.png"/><Relationship Id="rId7" Type="http://schemas.openxmlformats.org/officeDocument/2006/relationships/slide" Target="slide14.xml"/><Relationship Id="rId12" Type="http://schemas.openxmlformats.org/officeDocument/2006/relationships/slide" Target="slide24.xml"/><Relationship Id="rId17" Type="http://schemas.openxmlformats.org/officeDocument/2006/relationships/slide" Target="slide33.xml"/><Relationship Id="rId2" Type="http://schemas.openxmlformats.org/officeDocument/2006/relationships/slide" Target="slide4.xml"/><Relationship Id="rId16" Type="http://schemas.openxmlformats.org/officeDocument/2006/relationships/slide" Target="slide31.xml"/><Relationship Id="rId20" Type="http://schemas.openxmlformats.org/officeDocument/2006/relationships/image" Target="../media/image15.jpg"/><Relationship Id="rId1" Type="http://schemas.openxmlformats.org/officeDocument/2006/relationships/slideLayout" Target="../slideLayouts/slideLayout87.xml"/><Relationship Id="rId6" Type="http://schemas.openxmlformats.org/officeDocument/2006/relationships/slide" Target="slide12.xml"/><Relationship Id="rId11" Type="http://schemas.openxmlformats.org/officeDocument/2006/relationships/slide" Target="slide22.xml"/><Relationship Id="rId5" Type="http://schemas.openxmlformats.org/officeDocument/2006/relationships/slide" Target="slide10.xml"/><Relationship Id="rId15" Type="http://schemas.openxmlformats.org/officeDocument/2006/relationships/slide" Target="slide29.xml"/><Relationship Id="rId10" Type="http://schemas.openxmlformats.org/officeDocument/2006/relationships/slide" Target="slide20.xml"/><Relationship Id="rId19" Type="http://schemas.openxmlformats.org/officeDocument/2006/relationships/image" Target="../media/image18.svg"/><Relationship Id="rId4" Type="http://schemas.openxmlformats.org/officeDocument/2006/relationships/slide" Target="slide8.xml"/><Relationship Id="rId9" Type="http://schemas.openxmlformats.org/officeDocument/2006/relationships/slide" Target="slide18.xml"/><Relationship Id="rId14" Type="http://schemas.openxmlformats.org/officeDocument/2006/relationships/slide" Target="slide27.xml"/></Relationships>
</file>

<file path=ppt/slides/_rels/slide30.xml.rels><?xml version="1.0" encoding="UTF-8" standalone="yes"?>
<Relationships xmlns="http://schemas.openxmlformats.org/package/2006/relationships"><Relationship Id="rId3" Type="http://schemas.openxmlformats.org/officeDocument/2006/relationships/slide" Target="slide3.xml"/><Relationship Id="rId2" Type="http://schemas.openxmlformats.org/officeDocument/2006/relationships/notesSlide" Target="../notesSlides/notesSlide28.xml"/><Relationship Id="rId1" Type="http://schemas.openxmlformats.org/officeDocument/2006/relationships/slideLayout" Target="../slideLayouts/slideLayout88.xml"/><Relationship Id="rId5" Type="http://schemas.openxmlformats.org/officeDocument/2006/relationships/image" Target="../media/image16.png"/><Relationship Id="rId4" Type="http://schemas.openxmlformats.org/officeDocument/2006/relationships/image" Target="../media/image15.jpg"/></Relationships>
</file>

<file path=ppt/slides/_rels/slide31.xml.rels><?xml version="1.0" encoding="UTF-8" standalone="yes"?>
<Relationships xmlns="http://schemas.openxmlformats.org/package/2006/relationships"><Relationship Id="rId3" Type="http://schemas.openxmlformats.org/officeDocument/2006/relationships/slide" Target="slide32.xml"/><Relationship Id="rId2" Type="http://schemas.openxmlformats.org/officeDocument/2006/relationships/notesSlide" Target="../notesSlides/notesSlide29.xml"/><Relationship Id="rId1" Type="http://schemas.openxmlformats.org/officeDocument/2006/relationships/slideLayout" Target="../slideLayouts/slideLayout88.xml"/><Relationship Id="rId6" Type="http://schemas.openxmlformats.org/officeDocument/2006/relationships/image" Target="../media/image16.png"/><Relationship Id="rId5" Type="http://schemas.openxmlformats.org/officeDocument/2006/relationships/image" Target="../media/image15.jpg"/><Relationship Id="rId4" Type="http://schemas.openxmlformats.org/officeDocument/2006/relationships/slide" Target="slide3.xml"/></Relationships>
</file>

<file path=ppt/slides/_rels/slide32.xml.rels><?xml version="1.0" encoding="UTF-8" standalone="yes"?>
<Relationships xmlns="http://schemas.openxmlformats.org/package/2006/relationships"><Relationship Id="rId3" Type="http://schemas.openxmlformats.org/officeDocument/2006/relationships/slide" Target="slide3.xml"/><Relationship Id="rId2" Type="http://schemas.openxmlformats.org/officeDocument/2006/relationships/notesSlide" Target="../notesSlides/notesSlide30.xml"/><Relationship Id="rId1" Type="http://schemas.openxmlformats.org/officeDocument/2006/relationships/slideLayout" Target="../slideLayouts/slideLayout88.xml"/><Relationship Id="rId5" Type="http://schemas.openxmlformats.org/officeDocument/2006/relationships/image" Target="../media/image16.png"/><Relationship Id="rId4" Type="http://schemas.openxmlformats.org/officeDocument/2006/relationships/image" Target="../media/image15.jpg"/></Relationships>
</file>

<file path=ppt/slides/_rels/slide33.xml.rels><?xml version="1.0" encoding="UTF-8" standalone="yes"?>
<Relationships xmlns="http://schemas.openxmlformats.org/package/2006/relationships"><Relationship Id="rId3" Type="http://schemas.openxmlformats.org/officeDocument/2006/relationships/slide" Target="slide34.xml"/><Relationship Id="rId2" Type="http://schemas.openxmlformats.org/officeDocument/2006/relationships/notesSlide" Target="../notesSlides/notesSlide31.xml"/><Relationship Id="rId1" Type="http://schemas.openxmlformats.org/officeDocument/2006/relationships/slideLayout" Target="../slideLayouts/slideLayout88.xml"/><Relationship Id="rId6" Type="http://schemas.openxmlformats.org/officeDocument/2006/relationships/image" Target="../media/image16.png"/><Relationship Id="rId5" Type="http://schemas.openxmlformats.org/officeDocument/2006/relationships/image" Target="../media/image15.jpg"/><Relationship Id="rId4" Type="http://schemas.openxmlformats.org/officeDocument/2006/relationships/slide" Target="slide3.xml"/></Relationships>
</file>

<file path=ppt/slides/_rels/slide34.xml.rels><?xml version="1.0" encoding="UTF-8" standalone="yes"?>
<Relationships xmlns="http://schemas.openxmlformats.org/package/2006/relationships"><Relationship Id="rId3" Type="http://schemas.openxmlformats.org/officeDocument/2006/relationships/slide" Target="slide3.xml"/><Relationship Id="rId2" Type="http://schemas.openxmlformats.org/officeDocument/2006/relationships/notesSlide" Target="../notesSlides/notesSlide32.xml"/><Relationship Id="rId1" Type="http://schemas.openxmlformats.org/officeDocument/2006/relationships/slideLayout" Target="../slideLayouts/slideLayout88.xml"/><Relationship Id="rId5" Type="http://schemas.openxmlformats.org/officeDocument/2006/relationships/image" Target="../media/image16.png"/><Relationship Id="rId4" Type="http://schemas.openxmlformats.org/officeDocument/2006/relationships/image" Target="../media/image15.jp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86.xml"/></Relationships>
</file>

<file path=ppt/slides/_rels/slide4.xml.rels><?xml version="1.0" encoding="UTF-8" standalone="yes"?>
<Relationships xmlns="http://schemas.openxmlformats.org/package/2006/relationships"><Relationship Id="rId3" Type="http://schemas.openxmlformats.org/officeDocument/2006/relationships/slide" Target="slide5.xml"/><Relationship Id="rId2" Type="http://schemas.openxmlformats.org/officeDocument/2006/relationships/notesSlide" Target="../notesSlides/notesSlide2.xml"/><Relationship Id="rId1" Type="http://schemas.openxmlformats.org/officeDocument/2006/relationships/slideLayout" Target="../slideLayouts/slideLayout88.xml"/><Relationship Id="rId6" Type="http://schemas.openxmlformats.org/officeDocument/2006/relationships/image" Target="../media/image16.png"/><Relationship Id="rId5" Type="http://schemas.openxmlformats.org/officeDocument/2006/relationships/image" Target="../media/image15.jpg"/><Relationship Id="rId4" Type="http://schemas.openxmlformats.org/officeDocument/2006/relationships/slide" Target="slide3.xml"/></Relationships>
</file>

<file path=ppt/slides/_rels/slide5.xml.rels><?xml version="1.0" encoding="UTF-8" standalone="yes"?>
<Relationships xmlns="http://schemas.openxmlformats.org/package/2006/relationships"><Relationship Id="rId3" Type="http://schemas.openxmlformats.org/officeDocument/2006/relationships/slide" Target="slide3.xml"/><Relationship Id="rId2" Type="http://schemas.openxmlformats.org/officeDocument/2006/relationships/notesSlide" Target="../notesSlides/notesSlide3.xml"/><Relationship Id="rId1" Type="http://schemas.openxmlformats.org/officeDocument/2006/relationships/slideLayout" Target="../slideLayouts/slideLayout88.xml"/><Relationship Id="rId5" Type="http://schemas.openxmlformats.org/officeDocument/2006/relationships/image" Target="../media/image16.png"/><Relationship Id="rId4" Type="http://schemas.openxmlformats.org/officeDocument/2006/relationships/image" Target="../media/image15.jpg"/></Relationships>
</file>

<file path=ppt/slides/_rels/slide6.xml.rels><?xml version="1.0" encoding="UTF-8" standalone="yes"?>
<Relationships xmlns="http://schemas.openxmlformats.org/package/2006/relationships"><Relationship Id="rId3" Type="http://schemas.openxmlformats.org/officeDocument/2006/relationships/slide" Target="slide7.xml"/><Relationship Id="rId2" Type="http://schemas.openxmlformats.org/officeDocument/2006/relationships/notesSlide" Target="../notesSlides/notesSlide4.xml"/><Relationship Id="rId1" Type="http://schemas.openxmlformats.org/officeDocument/2006/relationships/slideLayout" Target="../slideLayouts/slideLayout88.xml"/><Relationship Id="rId6" Type="http://schemas.openxmlformats.org/officeDocument/2006/relationships/image" Target="../media/image16.png"/><Relationship Id="rId5" Type="http://schemas.openxmlformats.org/officeDocument/2006/relationships/image" Target="../media/image15.jpg"/><Relationship Id="rId4" Type="http://schemas.openxmlformats.org/officeDocument/2006/relationships/slide" Target="slide3.xml"/></Relationships>
</file>

<file path=ppt/slides/_rels/slide7.xml.rels><?xml version="1.0" encoding="UTF-8" standalone="yes"?>
<Relationships xmlns="http://schemas.openxmlformats.org/package/2006/relationships"><Relationship Id="rId3" Type="http://schemas.openxmlformats.org/officeDocument/2006/relationships/slide" Target="slide3.xml"/><Relationship Id="rId2" Type="http://schemas.openxmlformats.org/officeDocument/2006/relationships/notesSlide" Target="../notesSlides/notesSlide5.xml"/><Relationship Id="rId1" Type="http://schemas.openxmlformats.org/officeDocument/2006/relationships/slideLayout" Target="../slideLayouts/slideLayout88.xml"/><Relationship Id="rId5" Type="http://schemas.openxmlformats.org/officeDocument/2006/relationships/image" Target="../media/image16.png"/><Relationship Id="rId4" Type="http://schemas.openxmlformats.org/officeDocument/2006/relationships/image" Target="../media/image15.jpg"/></Relationships>
</file>

<file path=ppt/slides/_rels/slide8.xml.rels><?xml version="1.0" encoding="UTF-8" standalone="yes"?>
<Relationships xmlns="http://schemas.openxmlformats.org/package/2006/relationships"><Relationship Id="rId3" Type="http://schemas.openxmlformats.org/officeDocument/2006/relationships/slide" Target="slide9.xml"/><Relationship Id="rId2" Type="http://schemas.openxmlformats.org/officeDocument/2006/relationships/notesSlide" Target="../notesSlides/notesSlide6.xml"/><Relationship Id="rId1" Type="http://schemas.openxmlformats.org/officeDocument/2006/relationships/slideLayout" Target="../slideLayouts/slideLayout88.xml"/><Relationship Id="rId6" Type="http://schemas.openxmlformats.org/officeDocument/2006/relationships/image" Target="../media/image16.png"/><Relationship Id="rId5" Type="http://schemas.openxmlformats.org/officeDocument/2006/relationships/image" Target="../media/image15.jpg"/><Relationship Id="rId4" Type="http://schemas.openxmlformats.org/officeDocument/2006/relationships/slide" Target="slide3.xml"/></Relationships>
</file>

<file path=ppt/slides/_rels/slide9.xml.rels><?xml version="1.0" encoding="UTF-8" standalone="yes"?>
<Relationships xmlns="http://schemas.openxmlformats.org/package/2006/relationships"><Relationship Id="rId3" Type="http://schemas.openxmlformats.org/officeDocument/2006/relationships/slide" Target="slide3.xml"/><Relationship Id="rId2" Type="http://schemas.openxmlformats.org/officeDocument/2006/relationships/notesSlide" Target="../notesSlides/notesSlide7.xml"/><Relationship Id="rId1" Type="http://schemas.openxmlformats.org/officeDocument/2006/relationships/slideLayout" Target="../slideLayouts/slideLayout88.xml"/><Relationship Id="rId5" Type="http://schemas.openxmlformats.org/officeDocument/2006/relationships/image" Target="../media/image16.png"/><Relationship Id="rId4" Type="http://schemas.openxmlformats.org/officeDocument/2006/relationships/image" Target="../media/image15.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magine 5" descr="Immagine che contiene persona, persone, gruppo&#10;&#10;Descrizione generata automaticamente">
            <a:extLst>
              <a:ext uri="{FF2B5EF4-FFF2-40B4-BE49-F238E27FC236}">
                <a16:creationId xmlns:a16="http://schemas.microsoft.com/office/drawing/2014/main" id="{4BE1C019-6551-4FA8-980B-435DF2057541}"/>
              </a:ext>
            </a:extLst>
          </p:cNvPr>
          <p:cNvPicPr>
            <a:picLocks noChangeAspect="1"/>
          </p:cNvPicPr>
          <p:nvPr/>
        </p:nvPicPr>
        <p:blipFill>
          <a:blip r:embed="rId3"/>
          <a:stretch>
            <a:fillRect/>
          </a:stretch>
        </p:blipFill>
        <p:spPr>
          <a:xfrm>
            <a:off x="-36304" y="1"/>
            <a:ext cx="12219710" cy="6858000"/>
          </a:xfrm>
          <a:prstGeom prst="rect">
            <a:avLst/>
          </a:prstGeom>
        </p:spPr>
      </p:pic>
      <p:sp>
        <p:nvSpPr>
          <p:cNvPr id="3" name="Rectangle 2">
            <a:extLst>
              <a:ext uri="{FF2B5EF4-FFF2-40B4-BE49-F238E27FC236}">
                <a16:creationId xmlns:a16="http://schemas.microsoft.com/office/drawing/2014/main" id="{2856D876-6529-DC1B-D4B0-DDFC0B79AF1C}"/>
              </a:ext>
            </a:extLst>
          </p:cNvPr>
          <p:cNvSpPr/>
          <p:nvPr/>
        </p:nvSpPr>
        <p:spPr>
          <a:xfrm>
            <a:off x="0" y="1387937"/>
            <a:ext cx="12192000" cy="5470064"/>
          </a:xfrm>
          <a:prstGeom prst="rect">
            <a:avLst/>
          </a:prstGeom>
          <a:solidFill>
            <a:schemeClr val="accent1">
              <a:alpha val="4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828434" eaLnBrk="1" fontAlgn="auto" hangingPunct="1">
              <a:spcBef>
                <a:spcPts val="0"/>
              </a:spcBef>
              <a:spcAft>
                <a:spcPts val="0"/>
              </a:spcAft>
              <a:defRPr/>
            </a:pPr>
            <a:endParaRPr lang="en-US" sz="4800" dirty="0">
              <a:solidFill>
                <a:schemeClr val="bg1"/>
              </a:solidFill>
              <a:latin typeface="Montserrat Light" charset="0"/>
            </a:endParaRPr>
          </a:p>
        </p:txBody>
      </p:sp>
      <p:pic>
        <p:nvPicPr>
          <p:cNvPr id="8" name="Immagine 7">
            <a:extLst>
              <a:ext uri="{FF2B5EF4-FFF2-40B4-BE49-F238E27FC236}">
                <a16:creationId xmlns:a16="http://schemas.microsoft.com/office/drawing/2014/main" id="{51935DB5-3A18-412E-B067-FBEAA1E5F678}"/>
              </a:ext>
            </a:extLst>
          </p:cNvPr>
          <p:cNvPicPr>
            <a:picLocks noChangeAspect="1"/>
          </p:cNvPicPr>
          <p:nvPr/>
        </p:nvPicPr>
        <p:blipFill>
          <a:blip r:embed="rId4"/>
          <a:stretch>
            <a:fillRect/>
          </a:stretch>
        </p:blipFill>
        <p:spPr>
          <a:xfrm>
            <a:off x="-13855" y="0"/>
            <a:ext cx="12219710" cy="1387937"/>
          </a:xfrm>
          <a:prstGeom prst="rect">
            <a:avLst/>
          </a:prstGeom>
        </p:spPr>
      </p:pic>
      <p:sp>
        <p:nvSpPr>
          <p:cNvPr id="2" name="Rettangolo 1">
            <a:extLst>
              <a:ext uri="{FF2B5EF4-FFF2-40B4-BE49-F238E27FC236}">
                <a16:creationId xmlns:a16="http://schemas.microsoft.com/office/drawing/2014/main" id="{C3533031-EDBB-4F68-A717-61CA2491577B}"/>
              </a:ext>
            </a:extLst>
          </p:cNvPr>
          <p:cNvSpPr/>
          <p:nvPr/>
        </p:nvSpPr>
        <p:spPr>
          <a:xfrm>
            <a:off x="-13855" y="1352238"/>
            <a:ext cx="12205855" cy="1564052"/>
          </a:xfrm>
          <a:prstGeom prst="rect">
            <a:avLst/>
          </a:prstGeom>
          <a:solidFill>
            <a:schemeClr val="accent1">
              <a:alpha val="8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solidFill>
                <a:schemeClr val="bg1"/>
              </a:solidFill>
            </a:endParaRPr>
          </a:p>
        </p:txBody>
      </p:sp>
      <p:sp>
        <p:nvSpPr>
          <p:cNvPr id="4" name="Segnaposto testo 5">
            <a:extLst>
              <a:ext uri="{FF2B5EF4-FFF2-40B4-BE49-F238E27FC236}">
                <a16:creationId xmlns:a16="http://schemas.microsoft.com/office/drawing/2014/main" id="{1AD698CF-1047-9079-E74D-E7E219110ED4}"/>
              </a:ext>
            </a:extLst>
          </p:cNvPr>
          <p:cNvSpPr txBox="1">
            <a:spLocks/>
          </p:cNvSpPr>
          <p:nvPr/>
        </p:nvSpPr>
        <p:spPr>
          <a:xfrm>
            <a:off x="128337" y="1561631"/>
            <a:ext cx="12528777" cy="1127359"/>
          </a:xfrm>
          <a:prstGeom prst="rect">
            <a:avLst/>
          </a:prstGeom>
        </p:spPr>
        <p:txBody>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None/>
            </a:pPr>
            <a:r>
              <a:rPr lang="it-IT" sz="3600" dirty="0">
                <a:solidFill>
                  <a:schemeClr val="bg1"/>
                </a:solidFill>
              </a:rPr>
              <a:t>GOL - Programma Garanzia di Occupabilità dei Lavoratori</a:t>
            </a:r>
          </a:p>
          <a:p>
            <a:pPr marL="0" indent="0">
              <a:buNone/>
            </a:pPr>
            <a:r>
              <a:rPr lang="it-IT" i="1" dirty="0">
                <a:solidFill>
                  <a:schemeClr val="bg1"/>
                </a:solidFill>
              </a:rPr>
              <a:t>Servizi di reinserimento occupazionale, Upskilling e Reskilling</a:t>
            </a:r>
          </a:p>
        </p:txBody>
      </p:sp>
      <p:pic>
        <p:nvPicPr>
          <p:cNvPr id="9" name="Immagine 8">
            <a:extLst>
              <a:ext uri="{FF2B5EF4-FFF2-40B4-BE49-F238E27FC236}">
                <a16:creationId xmlns:a16="http://schemas.microsoft.com/office/drawing/2014/main" id="{7E99A5A0-E721-48C7-8E49-C3CE9460F2D7}"/>
              </a:ext>
            </a:extLst>
          </p:cNvPr>
          <p:cNvPicPr>
            <a:picLocks noChangeAspect="1"/>
          </p:cNvPicPr>
          <p:nvPr/>
        </p:nvPicPr>
        <p:blipFill>
          <a:blip r:embed="rId5"/>
          <a:stretch>
            <a:fillRect/>
          </a:stretch>
        </p:blipFill>
        <p:spPr>
          <a:xfrm>
            <a:off x="10156371" y="6341936"/>
            <a:ext cx="1697491" cy="419810"/>
          </a:xfrm>
          <a:prstGeom prst="rect">
            <a:avLst/>
          </a:prstGeom>
        </p:spPr>
      </p:pic>
    </p:spTree>
    <p:extLst>
      <p:ext uri="{BB962C8B-B14F-4D97-AF65-F5344CB8AC3E}">
        <p14:creationId xmlns:p14="http://schemas.microsoft.com/office/powerpoint/2010/main" val="21568378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431842" y="210884"/>
            <a:ext cx="10917349" cy="659155"/>
          </a:xfrm>
          <a:prstGeom prst="rect">
            <a:avLst/>
          </a:prstGeom>
        </p:spPr>
        <p:txBody>
          <a:bodyPr vert="horz" wrap="square" lIns="0" tIns="12700" rIns="0" bIns="0" rtlCol="0">
            <a:spAutoFit/>
          </a:bodyPr>
          <a:lstStyle/>
          <a:p>
            <a:pPr marL="12700">
              <a:lnSpc>
                <a:spcPct val="100000"/>
              </a:lnSpc>
              <a:spcBef>
                <a:spcPts val="100"/>
              </a:spcBef>
            </a:pPr>
            <a:r>
              <a:rPr lang="it-IT" sz="2800" spc="-15" dirty="0">
                <a:solidFill>
                  <a:schemeClr val="accent1"/>
                </a:solidFill>
                <a:latin typeface="+mn-lt"/>
              </a:rPr>
              <a:t>4. CORSO CURA E PULIZIA DEGLI SPAZI E AMBIENTI</a:t>
            </a:r>
            <a:br>
              <a:rPr lang="it-IT" sz="2800" spc="-15" dirty="0">
                <a:solidFill>
                  <a:schemeClr val="accent1"/>
                </a:solidFill>
                <a:latin typeface="+mn-lt"/>
              </a:rPr>
            </a:br>
            <a:r>
              <a:rPr lang="it-IT" sz="1400" spc="-15" dirty="0">
                <a:solidFill>
                  <a:schemeClr val="accent1"/>
                </a:solidFill>
                <a:latin typeface="+mn-lt"/>
              </a:rPr>
              <a:t>(</a:t>
            </a:r>
            <a:r>
              <a:rPr lang="it-IT" sz="1400" spc="-15" dirty="0" err="1">
                <a:solidFill>
                  <a:schemeClr val="accent1"/>
                </a:solidFill>
                <a:latin typeface="+mn-lt"/>
              </a:rPr>
              <a:t>opal</a:t>
            </a:r>
            <a:r>
              <a:rPr lang="it-IT" sz="1400" spc="-15" dirty="0">
                <a:solidFill>
                  <a:schemeClr val="accent1"/>
                </a:solidFill>
                <a:latin typeface="+mn-lt"/>
              </a:rPr>
              <a:t>  Formazione </a:t>
            </a:r>
            <a:r>
              <a:rPr lang="it-IT" sz="1400" spc="-15" dirty="0" err="1">
                <a:solidFill>
                  <a:schemeClr val="accent1"/>
                </a:solidFill>
                <a:latin typeface="+mn-lt"/>
              </a:rPr>
              <a:t>Upskilling</a:t>
            </a:r>
            <a:r>
              <a:rPr lang="it-IT" sz="1400" spc="-15" dirty="0">
                <a:solidFill>
                  <a:schemeClr val="accent1"/>
                </a:solidFill>
                <a:latin typeface="+mn-lt"/>
              </a:rPr>
              <a:t> (RRSP) mirata al profilo OPERATORE DELLA CURA E PULIZIA DI SPAZI E AMBIENTI) </a:t>
            </a:r>
          </a:p>
        </p:txBody>
      </p:sp>
      <p:sp>
        <p:nvSpPr>
          <p:cNvPr id="5" name="object 5"/>
          <p:cNvSpPr/>
          <p:nvPr/>
        </p:nvSpPr>
        <p:spPr>
          <a:xfrm>
            <a:off x="327485" y="1526412"/>
            <a:ext cx="8818882" cy="1592756"/>
          </a:xfrm>
          <a:custGeom>
            <a:avLst/>
            <a:gdLst/>
            <a:ahLst/>
            <a:cxnLst/>
            <a:rect l="l" t="t" r="r" b="b"/>
            <a:pathLst>
              <a:path w="7729220" h="954405">
                <a:moveTo>
                  <a:pt x="7644907" y="954299"/>
                </a:moveTo>
                <a:lnTo>
                  <a:pt x="83692" y="954299"/>
                </a:lnTo>
                <a:lnTo>
                  <a:pt x="51115" y="947723"/>
                </a:lnTo>
                <a:lnTo>
                  <a:pt x="24512" y="929787"/>
                </a:lnTo>
                <a:lnTo>
                  <a:pt x="6576" y="903184"/>
                </a:lnTo>
                <a:lnTo>
                  <a:pt x="0" y="870607"/>
                </a:lnTo>
                <a:lnTo>
                  <a:pt x="0" y="83692"/>
                </a:lnTo>
                <a:lnTo>
                  <a:pt x="6576" y="51115"/>
                </a:lnTo>
                <a:lnTo>
                  <a:pt x="24512" y="24512"/>
                </a:lnTo>
                <a:lnTo>
                  <a:pt x="51115" y="6576"/>
                </a:lnTo>
                <a:lnTo>
                  <a:pt x="83692" y="0"/>
                </a:lnTo>
                <a:lnTo>
                  <a:pt x="7644907" y="0"/>
                </a:lnTo>
                <a:lnTo>
                  <a:pt x="7691340" y="14061"/>
                </a:lnTo>
                <a:lnTo>
                  <a:pt x="7722229" y="51664"/>
                </a:lnTo>
                <a:lnTo>
                  <a:pt x="7728599" y="83692"/>
                </a:lnTo>
                <a:lnTo>
                  <a:pt x="7728599" y="870607"/>
                </a:lnTo>
                <a:lnTo>
                  <a:pt x="7722023" y="903184"/>
                </a:lnTo>
                <a:lnTo>
                  <a:pt x="7704087" y="929787"/>
                </a:lnTo>
                <a:lnTo>
                  <a:pt x="7677484" y="947723"/>
                </a:lnTo>
                <a:lnTo>
                  <a:pt x="7644907" y="954299"/>
                </a:lnTo>
                <a:close/>
              </a:path>
            </a:pathLst>
          </a:custGeom>
          <a:solidFill>
            <a:schemeClr val="bg2">
              <a:lumMod val="90000"/>
            </a:schemeClr>
          </a:solidFill>
        </p:spPr>
        <p:txBody>
          <a:bodyPr wrap="square" lIns="0" tIns="0" rIns="0" bIns="0" rtlCol="0"/>
          <a:lstStyle/>
          <a:p>
            <a:endParaRPr>
              <a:solidFill>
                <a:srgbClr val="00B050"/>
              </a:solidFill>
            </a:endParaRPr>
          </a:p>
        </p:txBody>
      </p:sp>
      <p:sp>
        <p:nvSpPr>
          <p:cNvPr id="7" name="object 7"/>
          <p:cNvSpPr txBox="1"/>
          <p:nvPr/>
        </p:nvSpPr>
        <p:spPr>
          <a:xfrm>
            <a:off x="489629" y="1463220"/>
            <a:ext cx="8507470" cy="1576072"/>
          </a:xfrm>
          <a:prstGeom prst="rect">
            <a:avLst/>
          </a:prstGeom>
        </p:spPr>
        <p:txBody>
          <a:bodyPr vert="horz" wrap="square" lIns="0" tIns="173990" rIns="0" bIns="0" rtlCol="0">
            <a:spAutoFit/>
          </a:bodyPr>
          <a:lstStyle/>
          <a:p>
            <a:pPr marL="12700" marR="5080" algn="just">
              <a:lnSpc>
                <a:spcPct val="101600"/>
              </a:lnSpc>
              <a:spcBef>
                <a:spcPts val="985"/>
              </a:spcBef>
            </a:pPr>
            <a:r>
              <a:rPr lang="it-IT" b="1" spc="-15" dirty="0">
                <a:solidFill>
                  <a:srgbClr val="333333"/>
                </a:solidFill>
              </a:rPr>
              <a:t>Operatore della cura e pulizia di spazi e ambienti: </a:t>
            </a:r>
            <a:r>
              <a:rPr lang="it-IT" spc="-15" dirty="0">
                <a:solidFill>
                  <a:srgbClr val="333333"/>
                </a:solidFill>
              </a:rPr>
              <a:t>si occupa della realizzazione di servizi di cura, pulizia, sanificazione e ripristino di spazi e ambienti (interni ed esterni, pubblici e privati), tenendo conto delle caratteristiche specifiche dei diversi contesti di intervento e nel rispetto dell’ambiente e delle persone. Utilizza macchinari, attrezzature e prodotti specifici e si occupa dello smaltimento dei rifiuti. </a:t>
            </a:r>
          </a:p>
        </p:txBody>
      </p:sp>
      <p:sp>
        <p:nvSpPr>
          <p:cNvPr id="11" name="object 11"/>
          <p:cNvSpPr txBox="1"/>
          <p:nvPr/>
        </p:nvSpPr>
        <p:spPr>
          <a:xfrm>
            <a:off x="11391130" y="18372"/>
            <a:ext cx="302895" cy="604520"/>
          </a:xfrm>
          <a:prstGeom prst="rect">
            <a:avLst/>
          </a:prstGeom>
        </p:spPr>
        <p:txBody>
          <a:bodyPr vert="horz" wrap="square" lIns="0" tIns="12700" rIns="0" bIns="0" rtlCol="0">
            <a:spAutoFit/>
          </a:bodyPr>
          <a:lstStyle/>
          <a:p>
            <a:pPr marL="12700">
              <a:lnSpc>
                <a:spcPct val="100000"/>
              </a:lnSpc>
              <a:spcBef>
                <a:spcPts val="100"/>
              </a:spcBef>
            </a:pPr>
            <a:r>
              <a:rPr sz="3800" b="1" dirty="0">
                <a:solidFill>
                  <a:srgbClr val="FFFFFF"/>
                </a:solidFill>
                <a:latin typeface="Roboto"/>
                <a:cs typeface="Roboto"/>
              </a:rPr>
              <a:t>1</a:t>
            </a:r>
            <a:endParaRPr sz="3800">
              <a:latin typeface="Roboto"/>
              <a:cs typeface="Roboto"/>
            </a:endParaRPr>
          </a:p>
        </p:txBody>
      </p:sp>
      <p:sp>
        <p:nvSpPr>
          <p:cNvPr id="12" name="object 12"/>
          <p:cNvSpPr/>
          <p:nvPr/>
        </p:nvSpPr>
        <p:spPr>
          <a:xfrm>
            <a:off x="431842" y="3505531"/>
            <a:ext cx="4171748" cy="537585"/>
          </a:xfrm>
          <a:custGeom>
            <a:avLst/>
            <a:gdLst/>
            <a:ahLst/>
            <a:cxnLst/>
            <a:rect l="l" t="t" r="r" b="b"/>
            <a:pathLst>
              <a:path w="1596389" h="472439">
                <a:moveTo>
                  <a:pt x="1554614" y="471899"/>
                </a:moveTo>
                <a:lnTo>
                  <a:pt x="41385" y="471899"/>
                </a:lnTo>
                <a:lnTo>
                  <a:pt x="25276" y="468647"/>
                </a:lnTo>
                <a:lnTo>
                  <a:pt x="12121" y="459778"/>
                </a:lnTo>
                <a:lnTo>
                  <a:pt x="3252" y="446623"/>
                </a:lnTo>
                <a:lnTo>
                  <a:pt x="0" y="430514"/>
                </a:lnTo>
                <a:lnTo>
                  <a:pt x="0" y="41385"/>
                </a:lnTo>
                <a:lnTo>
                  <a:pt x="3252" y="25276"/>
                </a:lnTo>
                <a:lnTo>
                  <a:pt x="12121" y="12121"/>
                </a:lnTo>
                <a:lnTo>
                  <a:pt x="25276" y="3252"/>
                </a:lnTo>
                <a:lnTo>
                  <a:pt x="41385" y="0"/>
                </a:lnTo>
                <a:lnTo>
                  <a:pt x="1554614" y="0"/>
                </a:lnTo>
                <a:lnTo>
                  <a:pt x="1589046" y="18424"/>
                </a:lnTo>
                <a:lnTo>
                  <a:pt x="1595999" y="41385"/>
                </a:lnTo>
                <a:lnTo>
                  <a:pt x="1595999" y="430514"/>
                </a:lnTo>
                <a:lnTo>
                  <a:pt x="1592747" y="446623"/>
                </a:lnTo>
                <a:lnTo>
                  <a:pt x="1583878" y="459778"/>
                </a:lnTo>
                <a:lnTo>
                  <a:pt x="1570723" y="468647"/>
                </a:lnTo>
                <a:lnTo>
                  <a:pt x="1554614" y="471899"/>
                </a:lnTo>
                <a:close/>
              </a:path>
            </a:pathLst>
          </a:custGeom>
          <a:solidFill>
            <a:schemeClr val="accent1"/>
          </a:solidFill>
        </p:spPr>
        <p:txBody>
          <a:bodyPr wrap="square" lIns="0" tIns="0" rIns="0" bIns="0" rtlCol="0"/>
          <a:lstStyle/>
          <a:p>
            <a:endParaRPr/>
          </a:p>
        </p:txBody>
      </p:sp>
      <p:sp>
        <p:nvSpPr>
          <p:cNvPr id="13" name="object 13"/>
          <p:cNvSpPr txBox="1"/>
          <p:nvPr/>
        </p:nvSpPr>
        <p:spPr>
          <a:xfrm>
            <a:off x="489629" y="3585407"/>
            <a:ext cx="8889221" cy="320601"/>
          </a:xfrm>
          <a:prstGeom prst="rect">
            <a:avLst/>
          </a:prstGeom>
        </p:spPr>
        <p:txBody>
          <a:bodyPr vert="horz" wrap="square" lIns="0" tIns="12700" rIns="0" bIns="0" rtlCol="0">
            <a:spAutoFit/>
          </a:bodyPr>
          <a:lstStyle/>
          <a:p>
            <a:pPr marL="12700">
              <a:lnSpc>
                <a:spcPct val="100000"/>
              </a:lnSpc>
              <a:spcBef>
                <a:spcPts val="100"/>
              </a:spcBef>
            </a:pPr>
            <a:r>
              <a:rPr lang="it-IT" sz="2000" b="1" spc="-25" dirty="0">
                <a:solidFill>
                  <a:srgbClr val="FFFFFF"/>
                </a:solidFill>
                <a:cs typeface="Roboto"/>
              </a:rPr>
              <a:t>I partecipanti saranno in grado di:</a:t>
            </a:r>
            <a:endParaRPr lang="it-IT" sz="2000" dirty="0">
              <a:cs typeface="Roboto"/>
            </a:endParaRPr>
          </a:p>
        </p:txBody>
      </p:sp>
      <p:sp>
        <p:nvSpPr>
          <p:cNvPr id="14" name="object 14"/>
          <p:cNvSpPr/>
          <p:nvPr/>
        </p:nvSpPr>
        <p:spPr>
          <a:xfrm>
            <a:off x="9695015" y="1398207"/>
            <a:ext cx="1596390" cy="1625373"/>
          </a:xfrm>
          <a:custGeom>
            <a:avLst/>
            <a:gdLst/>
            <a:ahLst/>
            <a:cxnLst/>
            <a:rect l="l" t="t" r="r" b="b"/>
            <a:pathLst>
              <a:path w="1596390" h="954405">
                <a:moveTo>
                  <a:pt x="1512307" y="954299"/>
                </a:moveTo>
                <a:lnTo>
                  <a:pt x="83692" y="954299"/>
                </a:lnTo>
                <a:lnTo>
                  <a:pt x="51115" y="947723"/>
                </a:lnTo>
                <a:lnTo>
                  <a:pt x="24512" y="929787"/>
                </a:lnTo>
                <a:lnTo>
                  <a:pt x="6576" y="903184"/>
                </a:lnTo>
                <a:lnTo>
                  <a:pt x="0" y="870607"/>
                </a:lnTo>
                <a:lnTo>
                  <a:pt x="0" y="83692"/>
                </a:lnTo>
                <a:lnTo>
                  <a:pt x="6576" y="51115"/>
                </a:lnTo>
                <a:lnTo>
                  <a:pt x="24512" y="24512"/>
                </a:lnTo>
                <a:lnTo>
                  <a:pt x="51115" y="6576"/>
                </a:lnTo>
                <a:lnTo>
                  <a:pt x="83692" y="0"/>
                </a:lnTo>
                <a:lnTo>
                  <a:pt x="1512307" y="0"/>
                </a:lnTo>
                <a:lnTo>
                  <a:pt x="1558740" y="14061"/>
                </a:lnTo>
                <a:lnTo>
                  <a:pt x="1589629" y="51664"/>
                </a:lnTo>
                <a:lnTo>
                  <a:pt x="1595999" y="83692"/>
                </a:lnTo>
                <a:lnTo>
                  <a:pt x="1595999" y="870607"/>
                </a:lnTo>
                <a:lnTo>
                  <a:pt x="1589423" y="903184"/>
                </a:lnTo>
                <a:lnTo>
                  <a:pt x="1571487" y="929787"/>
                </a:lnTo>
                <a:lnTo>
                  <a:pt x="1544884" y="947723"/>
                </a:lnTo>
                <a:lnTo>
                  <a:pt x="1512307" y="954299"/>
                </a:lnTo>
                <a:close/>
              </a:path>
            </a:pathLst>
          </a:custGeom>
          <a:solidFill>
            <a:schemeClr val="accent1"/>
          </a:solidFill>
        </p:spPr>
        <p:txBody>
          <a:bodyPr wrap="square" lIns="0" tIns="0" rIns="0" bIns="0" rtlCol="0"/>
          <a:lstStyle/>
          <a:p>
            <a:endParaRPr/>
          </a:p>
        </p:txBody>
      </p:sp>
      <p:sp>
        <p:nvSpPr>
          <p:cNvPr id="15" name="object 15"/>
          <p:cNvSpPr txBox="1"/>
          <p:nvPr/>
        </p:nvSpPr>
        <p:spPr>
          <a:xfrm>
            <a:off x="9931569" y="1849618"/>
            <a:ext cx="1123282" cy="689932"/>
          </a:xfrm>
          <a:prstGeom prst="rect">
            <a:avLst/>
          </a:prstGeom>
        </p:spPr>
        <p:txBody>
          <a:bodyPr vert="horz" wrap="square" lIns="0" tIns="12700" rIns="0" bIns="0" rtlCol="0">
            <a:spAutoFit/>
          </a:bodyPr>
          <a:lstStyle/>
          <a:p>
            <a:pPr marL="12700">
              <a:lnSpc>
                <a:spcPct val="100000"/>
              </a:lnSpc>
              <a:spcBef>
                <a:spcPts val="100"/>
              </a:spcBef>
            </a:pPr>
            <a:r>
              <a:rPr lang="it-IT" sz="2200" b="1" spc="-5" dirty="0">
                <a:solidFill>
                  <a:srgbClr val="FFFFFF"/>
                </a:solidFill>
                <a:cs typeface="Roboto"/>
              </a:rPr>
              <a:t>Durata:40</a:t>
            </a:r>
            <a:r>
              <a:rPr lang="it-IT" sz="2200" b="1" spc="-80" dirty="0">
                <a:solidFill>
                  <a:srgbClr val="FFFFFF"/>
                </a:solidFill>
                <a:cs typeface="Roboto"/>
              </a:rPr>
              <a:t> </a:t>
            </a:r>
            <a:r>
              <a:rPr lang="it-IT" sz="2200" b="1" dirty="0">
                <a:solidFill>
                  <a:srgbClr val="FFFFFF"/>
                </a:solidFill>
                <a:cs typeface="Roboto"/>
              </a:rPr>
              <a:t>ORE</a:t>
            </a:r>
          </a:p>
        </p:txBody>
      </p:sp>
      <p:sp>
        <p:nvSpPr>
          <p:cNvPr id="19" name="CasellaDiTesto 18">
            <a:extLst>
              <a:ext uri="{FF2B5EF4-FFF2-40B4-BE49-F238E27FC236}">
                <a16:creationId xmlns:a16="http://schemas.microsoft.com/office/drawing/2014/main" id="{AE419993-E428-4926-B9BE-D3A35F84AC1A}"/>
              </a:ext>
            </a:extLst>
          </p:cNvPr>
          <p:cNvSpPr txBox="1"/>
          <p:nvPr/>
        </p:nvSpPr>
        <p:spPr>
          <a:xfrm>
            <a:off x="327484" y="1031514"/>
            <a:ext cx="4171748" cy="400110"/>
          </a:xfrm>
          <a:prstGeom prst="rect">
            <a:avLst/>
          </a:prstGeom>
          <a:noFill/>
        </p:spPr>
        <p:txBody>
          <a:bodyPr wrap="square">
            <a:spAutoFit/>
          </a:bodyPr>
          <a:lstStyle/>
          <a:p>
            <a:pPr marL="59690">
              <a:lnSpc>
                <a:spcPct val="100000"/>
              </a:lnSpc>
              <a:spcBef>
                <a:spcPts val="1370"/>
              </a:spcBef>
            </a:pPr>
            <a:r>
              <a:rPr lang="it-IT" sz="2000" b="1" i="1" spc="20" dirty="0">
                <a:solidFill>
                  <a:schemeClr val="tx1">
                    <a:lumMod val="65000"/>
                    <a:lumOff val="35000"/>
                  </a:schemeClr>
                </a:solidFill>
                <a:cs typeface="Roboto"/>
              </a:rPr>
              <a:t>Upskilling</a:t>
            </a:r>
            <a:r>
              <a:rPr lang="it-IT" sz="2000" b="1" spc="20" dirty="0">
                <a:solidFill>
                  <a:schemeClr val="tx1">
                    <a:lumMod val="65000"/>
                    <a:lumOff val="35000"/>
                  </a:schemeClr>
                </a:solidFill>
                <a:cs typeface="Roboto"/>
              </a:rPr>
              <a:t> mirato al profilo di </a:t>
            </a:r>
          </a:p>
        </p:txBody>
      </p:sp>
      <p:sp>
        <p:nvSpPr>
          <p:cNvPr id="23" name="object 13">
            <a:extLst>
              <a:ext uri="{FF2B5EF4-FFF2-40B4-BE49-F238E27FC236}">
                <a16:creationId xmlns:a16="http://schemas.microsoft.com/office/drawing/2014/main" id="{26655215-3172-4130-B17A-FB0B2AA9CF00}"/>
              </a:ext>
            </a:extLst>
          </p:cNvPr>
          <p:cNvSpPr txBox="1"/>
          <p:nvPr/>
        </p:nvSpPr>
        <p:spPr>
          <a:xfrm>
            <a:off x="453660" y="4273475"/>
            <a:ext cx="8692706" cy="856645"/>
          </a:xfrm>
          <a:prstGeom prst="rect">
            <a:avLst/>
          </a:prstGeom>
        </p:spPr>
        <p:txBody>
          <a:bodyPr vert="horz" wrap="square" lIns="0" tIns="12700" rIns="0" bIns="0" rtlCol="0">
            <a:spAutoFit/>
          </a:bodyPr>
          <a:lstStyle/>
          <a:p>
            <a:pPr marL="355600" indent="-342900" algn="just">
              <a:lnSpc>
                <a:spcPct val="100000"/>
              </a:lnSpc>
              <a:spcBef>
                <a:spcPts val="100"/>
              </a:spcBef>
              <a:buFont typeface="Wingdings" panose="05000000000000000000" pitchFamily="2" charset="2"/>
              <a:buChar char="v"/>
            </a:pPr>
            <a:r>
              <a:rPr lang="it-IT" spc="-25" dirty="0">
                <a:solidFill>
                  <a:srgbClr val="333333"/>
                </a:solidFill>
              </a:rPr>
              <a:t>Svolgere le attività di pulizia nel rispetto delle procedure previste e delle condizioni di igiene e sicurezza</a:t>
            </a:r>
          </a:p>
          <a:p>
            <a:pPr marL="355600" indent="-342900" algn="just">
              <a:lnSpc>
                <a:spcPct val="100000"/>
              </a:lnSpc>
              <a:spcBef>
                <a:spcPts val="100"/>
              </a:spcBef>
              <a:buFont typeface="Wingdings" panose="05000000000000000000" pitchFamily="2" charset="2"/>
              <a:buChar char="v"/>
            </a:pPr>
            <a:r>
              <a:rPr lang="it-IT" spc="-25" dirty="0">
                <a:solidFill>
                  <a:srgbClr val="333333"/>
                </a:solidFill>
              </a:rPr>
              <a:t>Approntare l’equipaggiamento utile ad eseguire i compiti di pulizia e riordinare gli spazi</a:t>
            </a:r>
          </a:p>
        </p:txBody>
      </p:sp>
      <p:sp>
        <p:nvSpPr>
          <p:cNvPr id="16" name="Rettangolo con angoli arrotondati 15">
            <a:extLst>
              <a:ext uri="{FF2B5EF4-FFF2-40B4-BE49-F238E27FC236}">
                <a16:creationId xmlns:a16="http://schemas.microsoft.com/office/drawing/2014/main" id="{6F689FFA-E259-4938-AD70-DF856F737CA3}"/>
              </a:ext>
            </a:extLst>
          </p:cNvPr>
          <p:cNvSpPr/>
          <p:nvPr/>
        </p:nvSpPr>
        <p:spPr>
          <a:xfrm>
            <a:off x="9695015" y="3178366"/>
            <a:ext cx="1596390" cy="1014899"/>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00"/>
          </a:p>
        </p:txBody>
      </p:sp>
      <p:sp>
        <p:nvSpPr>
          <p:cNvPr id="17" name="CasellaDiTesto 16">
            <a:extLst>
              <a:ext uri="{FF2B5EF4-FFF2-40B4-BE49-F238E27FC236}">
                <a16:creationId xmlns:a16="http://schemas.microsoft.com/office/drawing/2014/main" id="{F3D0D038-E12F-4507-BDDA-5D9CA5C07A9D}"/>
              </a:ext>
            </a:extLst>
          </p:cNvPr>
          <p:cNvSpPr txBox="1"/>
          <p:nvPr/>
        </p:nvSpPr>
        <p:spPr>
          <a:xfrm>
            <a:off x="9816715" y="3306944"/>
            <a:ext cx="1303588" cy="830997"/>
          </a:xfrm>
          <a:prstGeom prst="rect">
            <a:avLst/>
          </a:prstGeom>
          <a:noFill/>
        </p:spPr>
        <p:txBody>
          <a:bodyPr wrap="square" rtlCol="0">
            <a:spAutoFit/>
          </a:bodyPr>
          <a:lstStyle/>
          <a:p>
            <a:pPr algn="ctr"/>
            <a:r>
              <a:rPr lang="it-IT" sz="1600" b="1" dirty="0">
                <a:solidFill>
                  <a:schemeClr val="accent1"/>
                </a:solidFill>
                <a:hlinkClick r:id="rId3" action="ppaction://hlinksldjump">
                  <a:extLst>
                    <a:ext uri="{A12FA001-AC4F-418D-AE19-62706E023703}">
                      <ahyp:hlinkClr xmlns:ahyp="http://schemas.microsoft.com/office/drawing/2018/hyperlinkcolor" val="tx"/>
                    </a:ext>
                  </a:extLst>
                </a:hlinkClick>
              </a:rPr>
              <a:t>Vedi dettagli programma</a:t>
            </a:r>
            <a:endParaRPr lang="it-IT" sz="1600" b="1" dirty="0">
              <a:solidFill>
                <a:schemeClr val="accent1"/>
              </a:solidFill>
            </a:endParaRPr>
          </a:p>
        </p:txBody>
      </p:sp>
      <p:sp>
        <p:nvSpPr>
          <p:cNvPr id="2" name="Rettangolo con angoli arrotondati 1">
            <a:extLst>
              <a:ext uri="{FF2B5EF4-FFF2-40B4-BE49-F238E27FC236}">
                <a16:creationId xmlns:a16="http://schemas.microsoft.com/office/drawing/2014/main" id="{72108F09-FDFE-522D-3C80-7E0E0F5D4DE7}"/>
              </a:ext>
            </a:extLst>
          </p:cNvPr>
          <p:cNvSpPr/>
          <p:nvPr/>
        </p:nvSpPr>
        <p:spPr>
          <a:xfrm>
            <a:off x="9675570" y="4347661"/>
            <a:ext cx="1596390" cy="819725"/>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00"/>
          </a:p>
        </p:txBody>
      </p:sp>
      <p:sp>
        <p:nvSpPr>
          <p:cNvPr id="8" name="CasellaDiTesto 7">
            <a:extLst>
              <a:ext uri="{FF2B5EF4-FFF2-40B4-BE49-F238E27FC236}">
                <a16:creationId xmlns:a16="http://schemas.microsoft.com/office/drawing/2014/main" id="{C8CC43AA-6CD9-5A8B-3C72-EC9782FB3601}"/>
              </a:ext>
            </a:extLst>
          </p:cNvPr>
          <p:cNvSpPr txBox="1"/>
          <p:nvPr/>
        </p:nvSpPr>
        <p:spPr>
          <a:xfrm>
            <a:off x="9785406" y="4465135"/>
            <a:ext cx="1366207" cy="584775"/>
          </a:xfrm>
          <a:prstGeom prst="rect">
            <a:avLst/>
          </a:prstGeom>
          <a:noFill/>
        </p:spPr>
        <p:txBody>
          <a:bodyPr wrap="square" rtlCol="0">
            <a:spAutoFit/>
          </a:bodyPr>
          <a:lstStyle/>
          <a:p>
            <a:pPr algn="ctr"/>
            <a:r>
              <a:rPr lang="it-IT" sz="1600" b="1" dirty="0">
                <a:solidFill>
                  <a:schemeClr val="accent1"/>
                </a:solidFill>
                <a:hlinkClick r:id="rId4" action="ppaction://hlinksldjump"/>
              </a:rPr>
              <a:t>Vedi indice corsi</a:t>
            </a:r>
            <a:endParaRPr lang="it-IT" sz="1600" b="1" dirty="0">
              <a:solidFill>
                <a:schemeClr val="accent1"/>
              </a:solidFill>
            </a:endParaRPr>
          </a:p>
        </p:txBody>
      </p:sp>
      <p:pic>
        <p:nvPicPr>
          <p:cNvPr id="18" name="Immagine 17">
            <a:extLst>
              <a:ext uri="{FF2B5EF4-FFF2-40B4-BE49-F238E27FC236}">
                <a16:creationId xmlns:a16="http://schemas.microsoft.com/office/drawing/2014/main" id="{687DE299-63C7-4D80-9A00-C8DFF3744070}"/>
              </a:ext>
            </a:extLst>
          </p:cNvPr>
          <p:cNvPicPr>
            <a:picLocks noChangeAspect="1"/>
          </p:cNvPicPr>
          <p:nvPr/>
        </p:nvPicPr>
        <p:blipFill>
          <a:blip r:embed="rId5"/>
          <a:stretch>
            <a:fillRect/>
          </a:stretch>
        </p:blipFill>
        <p:spPr>
          <a:xfrm>
            <a:off x="327484" y="5784507"/>
            <a:ext cx="9567758" cy="1086724"/>
          </a:xfrm>
          <a:prstGeom prst="rect">
            <a:avLst/>
          </a:prstGeom>
        </p:spPr>
      </p:pic>
      <p:pic>
        <p:nvPicPr>
          <p:cNvPr id="20" name="Immagine 19">
            <a:extLst>
              <a:ext uri="{FF2B5EF4-FFF2-40B4-BE49-F238E27FC236}">
                <a16:creationId xmlns:a16="http://schemas.microsoft.com/office/drawing/2014/main" id="{680801DC-28D3-4E98-9852-6B64C02BF9E8}"/>
              </a:ext>
            </a:extLst>
          </p:cNvPr>
          <p:cNvPicPr>
            <a:picLocks noChangeAspect="1"/>
          </p:cNvPicPr>
          <p:nvPr/>
        </p:nvPicPr>
        <p:blipFill>
          <a:blip r:embed="rId6"/>
          <a:stretch>
            <a:fillRect/>
          </a:stretch>
        </p:blipFill>
        <p:spPr>
          <a:xfrm>
            <a:off x="9898769" y="6182710"/>
            <a:ext cx="1378634" cy="340953"/>
          </a:xfrm>
          <a:prstGeom prst="rect">
            <a:avLst/>
          </a:prstGeom>
        </p:spPr>
      </p:pic>
    </p:spTree>
    <p:extLst>
      <p:ext uri="{BB962C8B-B14F-4D97-AF65-F5344CB8AC3E}">
        <p14:creationId xmlns:p14="http://schemas.microsoft.com/office/powerpoint/2010/main" val="158144885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464447" y="268361"/>
            <a:ext cx="10917349" cy="659155"/>
          </a:xfrm>
          <a:prstGeom prst="rect">
            <a:avLst/>
          </a:prstGeom>
        </p:spPr>
        <p:txBody>
          <a:bodyPr vert="horz" wrap="square" lIns="0" tIns="12700" rIns="0" bIns="0" rtlCol="0">
            <a:spAutoFit/>
          </a:bodyPr>
          <a:lstStyle/>
          <a:p>
            <a:pPr marL="12700">
              <a:lnSpc>
                <a:spcPct val="100000"/>
              </a:lnSpc>
              <a:spcBef>
                <a:spcPts val="100"/>
              </a:spcBef>
            </a:pPr>
            <a:r>
              <a:rPr lang="it-IT" sz="2800" spc="-15" dirty="0">
                <a:solidFill>
                  <a:schemeClr val="accent1"/>
                </a:solidFill>
                <a:latin typeface="+mn-lt"/>
              </a:rPr>
              <a:t>4. CORSO CURA E PULIZIA DEGLI SPAZI E AMBIENTI</a:t>
            </a:r>
            <a:br>
              <a:rPr lang="it-IT" sz="2800" spc="-15" dirty="0">
                <a:solidFill>
                  <a:schemeClr val="accent1"/>
                </a:solidFill>
                <a:latin typeface="+mn-lt"/>
              </a:rPr>
            </a:br>
            <a:r>
              <a:rPr lang="it-IT" sz="1400" spc="-15" dirty="0">
                <a:solidFill>
                  <a:schemeClr val="accent1"/>
                </a:solidFill>
                <a:latin typeface="+mn-lt"/>
              </a:rPr>
              <a:t>(OPAL Formazione </a:t>
            </a:r>
            <a:r>
              <a:rPr lang="it-IT" sz="1400" spc="-15" dirty="0" err="1">
                <a:solidFill>
                  <a:schemeClr val="accent1"/>
                </a:solidFill>
                <a:latin typeface="+mn-lt"/>
              </a:rPr>
              <a:t>Upskilling</a:t>
            </a:r>
            <a:r>
              <a:rPr lang="it-IT" sz="1400" spc="-15" dirty="0">
                <a:solidFill>
                  <a:schemeClr val="accent1"/>
                </a:solidFill>
                <a:latin typeface="+mn-lt"/>
              </a:rPr>
              <a:t> (RRSP) mirata al profilo OPERATORE DELLA CURA E PULIZIA DI SPAZI E AMBIENTI) </a:t>
            </a:r>
          </a:p>
        </p:txBody>
      </p:sp>
      <p:sp>
        <p:nvSpPr>
          <p:cNvPr id="11" name="object 11"/>
          <p:cNvSpPr txBox="1"/>
          <p:nvPr/>
        </p:nvSpPr>
        <p:spPr>
          <a:xfrm>
            <a:off x="11596613" y="154633"/>
            <a:ext cx="302895" cy="604520"/>
          </a:xfrm>
          <a:prstGeom prst="rect">
            <a:avLst/>
          </a:prstGeom>
        </p:spPr>
        <p:txBody>
          <a:bodyPr vert="horz" wrap="square" lIns="0" tIns="12700" rIns="0" bIns="0" rtlCol="0">
            <a:spAutoFit/>
          </a:bodyPr>
          <a:lstStyle/>
          <a:p>
            <a:pPr marL="12700">
              <a:lnSpc>
                <a:spcPct val="100000"/>
              </a:lnSpc>
              <a:spcBef>
                <a:spcPts val="100"/>
              </a:spcBef>
            </a:pPr>
            <a:r>
              <a:rPr lang="it-IT" sz="3800" b="1" dirty="0">
                <a:solidFill>
                  <a:srgbClr val="FFFFFF"/>
                </a:solidFill>
                <a:cs typeface="Roboto"/>
              </a:rPr>
              <a:t>1</a:t>
            </a:r>
            <a:endParaRPr lang="it-IT" sz="3800">
              <a:cs typeface="Roboto"/>
            </a:endParaRPr>
          </a:p>
        </p:txBody>
      </p:sp>
      <p:sp>
        <p:nvSpPr>
          <p:cNvPr id="15" name="object 15"/>
          <p:cNvSpPr txBox="1"/>
          <p:nvPr/>
        </p:nvSpPr>
        <p:spPr>
          <a:xfrm>
            <a:off x="10227205" y="1985879"/>
            <a:ext cx="942975" cy="689932"/>
          </a:xfrm>
          <a:prstGeom prst="rect">
            <a:avLst/>
          </a:prstGeom>
        </p:spPr>
        <p:txBody>
          <a:bodyPr vert="horz" wrap="square" lIns="0" tIns="12700" rIns="0" bIns="0" rtlCol="0">
            <a:spAutoFit/>
          </a:bodyPr>
          <a:lstStyle/>
          <a:p>
            <a:pPr marL="12700">
              <a:lnSpc>
                <a:spcPct val="100000"/>
              </a:lnSpc>
              <a:spcBef>
                <a:spcPts val="100"/>
              </a:spcBef>
            </a:pPr>
            <a:r>
              <a:rPr lang="it-IT" sz="2200" b="1" spc="-5" dirty="0">
                <a:solidFill>
                  <a:srgbClr val="FFFFFF"/>
                </a:solidFill>
                <a:cs typeface="Roboto"/>
              </a:rPr>
              <a:t>Durata:40</a:t>
            </a:r>
            <a:r>
              <a:rPr lang="it-IT" sz="2200" b="1" spc="-80" dirty="0">
                <a:solidFill>
                  <a:srgbClr val="FFFFFF"/>
                </a:solidFill>
                <a:cs typeface="Roboto"/>
              </a:rPr>
              <a:t> </a:t>
            </a:r>
            <a:r>
              <a:rPr lang="it-IT" sz="2200" b="1" dirty="0">
                <a:solidFill>
                  <a:srgbClr val="FFFFFF"/>
                </a:solidFill>
                <a:cs typeface="Roboto"/>
              </a:rPr>
              <a:t>ORE</a:t>
            </a:r>
          </a:p>
        </p:txBody>
      </p:sp>
      <p:sp>
        <p:nvSpPr>
          <p:cNvPr id="13" name="CasellaDiTesto 12">
            <a:extLst>
              <a:ext uri="{FF2B5EF4-FFF2-40B4-BE49-F238E27FC236}">
                <a16:creationId xmlns:a16="http://schemas.microsoft.com/office/drawing/2014/main" id="{F67975C6-A782-496A-9636-B3708C382A45}"/>
              </a:ext>
            </a:extLst>
          </p:cNvPr>
          <p:cNvSpPr txBox="1"/>
          <p:nvPr/>
        </p:nvSpPr>
        <p:spPr>
          <a:xfrm>
            <a:off x="327484" y="2197731"/>
            <a:ext cx="8600698" cy="2122569"/>
          </a:xfrm>
          <a:prstGeom prst="rect">
            <a:avLst/>
          </a:prstGeom>
          <a:noFill/>
        </p:spPr>
        <p:txBody>
          <a:bodyPr wrap="square" rtlCol="0">
            <a:spAutoFit/>
          </a:bodyPr>
          <a:lstStyle/>
          <a:p>
            <a:pPr marL="342900" indent="-342900" algn="just">
              <a:lnSpc>
                <a:spcPct val="150000"/>
              </a:lnSpc>
              <a:buFont typeface="Arial" panose="020B0604020202020204" pitchFamily="34" charset="0"/>
              <a:buChar char="•"/>
            </a:pPr>
            <a:r>
              <a:rPr lang="it-IT" dirty="0"/>
              <a:t>La normativa in materia di igiene </a:t>
            </a:r>
          </a:p>
          <a:p>
            <a:pPr marL="342900" indent="-342900" algn="just">
              <a:lnSpc>
                <a:spcPct val="150000"/>
              </a:lnSpc>
              <a:buFont typeface="Arial" panose="020B0604020202020204" pitchFamily="34" charset="0"/>
              <a:buChar char="•"/>
            </a:pPr>
            <a:r>
              <a:rPr lang="it-IT" dirty="0"/>
              <a:t>Nozioni di chimica applicata alla salute quotidiana e alla pulizia</a:t>
            </a:r>
          </a:p>
          <a:p>
            <a:pPr marL="342900" indent="-342900" algn="just">
              <a:lnSpc>
                <a:spcPct val="150000"/>
              </a:lnSpc>
              <a:buFont typeface="Arial" panose="020B0604020202020204" pitchFamily="34" charset="0"/>
              <a:buChar char="•"/>
            </a:pPr>
            <a:r>
              <a:rPr lang="it-IT" dirty="0"/>
              <a:t>Procedure di pulizia e sanificazione delle attrezzature e dell'ambiente</a:t>
            </a:r>
          </a:p>
          <a:p>
            <a:pPr marL="342900" indent="-342900" algn="just">
              <a:lnSpc>
                <a:spcPct val="150000"/>
              </a:lnSpc>
              <a:buFont typeface="Arial" panose="020B0604020202020204" pitchFamily="34" charset="0"/>
              <a:buChar char="•"/>
            </a:pPr>
            <a:r>
              <a:rPr lang="it-IT" dirty="0"/>
              <a:t>Le principali tecniche di pulizia e lavaggio </a:t>
            </a:r>
          </a:p>
          <a:p>
            <a:pPr marL="342900" indent="-342900" algn="just">
              <a:lnSpc>
                <a:spcPct val="150000"/>
              </a:lnSpc>
              <a:buFont typeface="Arial" panose="020B0604020202020204" pitchFamily="34" charset="0"/>
              <a:buChar char="•"/>
            </a:pPr>
            <a:r>
              <a:rPr lang="it-IT" dirty="0"/>
              <a:t>Riciclo, riuso e recupero</a:t>
            </a:r>
          </a:p>
        </p:txBody>
      </p:sp>
      <p:sp>
        <p:nvSpPr>
          <p:cNvPr id="9" name="object 12">
            <a:extLst>
              <a:ext uri="{FF2B5EF4-FFF2-40B4-BE49-F238E27FC236}">
                <a16:creationId xmlns:a16="http://schemas.microsoft.com/office/drawing/2014/main" id="{065D72C0-93A2-4550-B2C3-E87FF44738CF}"/>
              </a:ext>
            </a:extLst>
          </p:cNvPr>
          <p:cNvSpPr/>
          <p:nvPr/>
        </p:nvSpPr>
        <p:spPr>
          <a:xfrm>
            <a:off x="467465" y="1480700"/>
            <a:ext cx="2593435" cy="537585"/>
          </a:xfrm>
          <a:custGeom>
            <a:avLst/>
            <a:gdLst/>
            <a:ahLst/>
            <a:cxnLst/>
            <a:rect l="l" t="t" r="r" b="b"/>
            <a:pathLst>
              <a:path w="1596389" h="472439">
                <a:moveTo>
                  <a:pt x="1554614" y="471899"/>
                </a:moveTo>
                <a:lnTo>
                  <a:pt x="41385" y="471899"/>
                </a:lnTo>
                <a:lnTo>
                  <a:pt x="25276" y="468647"/>
                </a:lnTo>
                <a:lnTo>
                  <a:pt x="12121" y="459778"/>
                </a:lnTo>
                <a:lnTo>
                  <a:pt x="3252" y="446623"/>
                </a:lnTo>
                <a:lnTo>
                  <a:pt x="0" y="430514"/>
                </a:lnTo>
                <a:lnTo>
                  <a:pt x="0" y="41385"/>
                </a:lnTo>
                <a:lnTo>
                  <a:pt x="3252" y="25276"/>
                </a:lnTo>
                <a:lnTo>
                  <a:pt x="12121" y="12121"/>
                </a:lnTo>
                <a:lnTo>
                  <a:pt x="25276" y="3252"/>
                </a:lnTo>
                <a:lnTo>
                  <a:pt x="41385" y="0"/>
                </a:lnTo>
                <a:lnTo>
                  <a:pt x="1554614" y="0"/>
                </a:lnTo>
                <a:lnTo>
                  <a:pt x="1589046" y="18424"/>
                </a:lnTo>
                <a:lnTo>
                  <a:pt x="1595999" y="41385"/>
                </a:lnTo>
                <a:lnTo>
                  <a:pt x="1595999" y="430514"/>
                </a:lnTo>
                <a:lnTo>
                  <a:pt x="1592747" y="446623"/>
                </a:lnTo>
                <a:lnTo>
                  <a:pt x="1583878" y="459778"/>
                </a:lnTo>
                <a:lnTo>
                  <a:pt x="1570723" y="468647"/>
                </a:lnTo>
                <a:lnTo>
                  <a:pt x="1554614" y="471899"/>
                </a:lnTo>
                <a:close/>
              </a:path>
            </a:pathLst>
          </a:custGeom>
          <a:solidFill>
            <a:schemeClr val="accent1"/>
          </a:solidFill>
        </p:spPr>
        <p:txBody>
          <a:bodyPr wrap="square" lIns="0" tIns="0" rIns="0" bIns="0" rtlCol="0"/>
          <a:lstStyle/>
          <a:p>
            <a:endParaRPr/>
          </a:p>
        </p:txBody>
      </p:sp>
      <p:sp>
        <p:nvSpPr>
          <p:cNvPr id="12" name="CasellaDiTesto 11">
            <a:extLst>
              <a:ext uri="{FF2B5EF4-FFF2-40B4-BE49-F238E27FC236}">
                <a16:creationId xmlns:a16="http://schemas.microsoft.com/office/drawing/2014/main" id="{DFB6DF36-E310-457F-A73A-D049D94622A9}"/>
              </a:ext>
            </a:extLst>
          </p:cNvPr>
          <p:cNvSpPr txBox="1"/>
          <p:nvPr/>
        </p:nvSpPr>
        <p:spPr>
          <a:xfrm>
            <a:off x="568945" y="1549437"/>
            <a:ext cx="4171748" cy="400110"/>
          </a:xfrm>
          <a:prstGeom prst="rect">
            <a:avLst/>
          </a:prstGeom>
          <a:noFill/>
        </p:spPr>
        <p:txBody>
          <a:bodyPr wrap="square">
            <a:spAutoFit/>
          </a:bodyPr>
          <a:lstStyle/>
          <a:p>
            <a:pPr marL="59690">
              <a:lnSpc>
                <a:spcPct val="100000"/>
              </a:lnSpc>
              <a:spcBef>
                <a:spcPts val="1370"/>
              </a:spcBef>
            </a:pPr>
            <a:r>
              <a:rPr lang="it-IT" sz="2000" b="1" i="1" spc="20" dirty="0">
                <a:solidFill>
                  <a:schemeClr val="bg1"/>
                </a:solidFill>
                <a:cs typeface="Roboto"/>
              </a:rPr>
              <a:t>Programma corso:</a:t>
            </a:r>
            <a:endParaRPr lang="it-IT" sz="2000" b="1" spc="20" dirty="0">
              <a:solidFill>
                <a:schemeClr val="bg1"/>
              </a:solidFill>
              <a:cs typeface="Roboto"/>
            </a:endParaRPr>
          </a:p>
        </p:txBody>
      </p:sp>
      <p:sp>
        <p:nvSpPr>
          <p:cNvPr id="5" name="Rettangolo con angoli arrotondati 4">
            <a:extLst>
              <a:ext uri="{FF2B5EF4-FFF2-40B4-BE49-F238E27FC236}">
                <a16:creationId xmlns:a16="http://schemas.microsoft.com/office/drawing/2014/main" id="{54A55D37-C335-DBA2-7ABE-2D18C0058B63}"/>
              </a:ext>
            </a:extLst>
          </p:cNvPr>
          <p:cNvSpPr/>
          <p:nvPr/>
        </p:nvSpPr>
        <p:spPr>
          <a:xfrm>
            <a:off x="9721238" y="3884342"/>
            <a:ext cx="1596390" cy="819725"/>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00"/>
          </a:p>
        </p:txBody>
      </p:sp>
      <p:sp>
        <p:nvSpPr>
          <p:cNvPr id="6" name="CasellaDiTesto 5">
            <a:extLst>
              <a:ext uri="{FF2B5EF4-FFF2-40B4-BE49-F238E27FC236}">
                <a16:creationId xmlns:a16="http://schemas.microsoft.com/office/drawing/2014/main" id="{665C9741-01D3-4E20-96F2-C4F07B8DC7D8}"/>
              </a:ext>
            </a:extLst>
          </p:cNvPr>
          <p:cNvSpPr txBox="1"/>
          <p:nvPr/>
        </p:nvSpPr>
        <p:spPr>
          <a:xfrm>
            <a:off x="9831074" y="4001816"/>
            <a:ext cx="1366207" cy="584775"/>
          </a:xfrm>
          <a:prstGeom prst="rect">
            <a:avLst/>
          </a:prstGeom>
          <a:noFill/>
        </p:spPr>
        <p:txBody>
          <a:bodyPr wrap="square" rtlCol="0">
            <a:spAutoFit/>
          </a:bodyPr>
          <a:lstStyle/>
          <a:p>
            <a:pPr algn="ctr"/>
            <a:r>
              <a:rPr lang="it-IT" sz="1600" b="1" dirty="0">
                <a:solidFill>
                  <a:schemeClr val="accent1"/>
                </a:solidFill>
                <a:hlinkClick r:id="rId3" action="ppaction://hlinksldjump"/>
              </a:rPr>
              <a:t>Vedi indice corsi</a:t>
            </a:r>
            <a:endParaRPr lang="it-IT" sz="1600" b="1" dirty="0">
              <a:solidFill>
                <a:schemeClr val="accent1"/>
              </a:solidFill>
            </a:endParaRPr>
          </a:p>
        </p:txBody>
      </p:sp>
      <p:pic>
        <p:nvPicPr>
          <p:cNvPr id="14" name="Immagine 13">
            <a:extLst>
              <a:ext uri="{FF2B5EF4-FFF2-40B4-BE49-F238E27FC236}">
                <a16:creationId xmlns:a16="http://schemas.microsoft.com/office/drawing/2014/main" id="{9052C438-D02F-4D5D-92B2-C44ABFAEB039}"/>
              </a:ext>
            </a:extLst>
          </p:cNvPr>
          <p:cNvPicPr>
            <a:picLocks noChangeAspect="1"/>
          </p:cNvPicPr>
          <p:nvPr/>
        </p:nvPicPr>
        <p:blipFill>
          <a:blip r:embed="rId4"/>
          <a:stretch>
            <a:fillRect/>
          </a:stretch>
        </p:blipFill>
        <p:spPr>
          <a:xfrm>
            <a:off x="327484" y="5784507"/>
            <a:ext cx="9567758" cy="1086724"/>
          </a:xfrm>
          <a:prstGeom prst="rect">
            <a:avLst/>
          </a:prstGeom>
        </p:spPr>
      </p:pic>
      <p:pic>
        <p:nvPicPr>
          <p:cNvPr id="16" name="Immagine 15">
            <a:extLst>
              <a:ext uri="{FF2B5EF4-FFF2-40B4-BE49-F238E27FC236}">
                <a16:creationId xmlns:a16="http://schemas.microsoft.com/office/drawing/2014/main" id="{FD7F27E2-4CEB-4339-93E8-1471E0DA1F70}"/>
              </a:ext>
            </a:extLst>
          </p:cNvPr>
          <p:cNvPicPr>
            <a:picLocks noChangeAspect="1"/>
          </p:cNvPicPr>
          <p:nvPr/>
        </p:nvPicPr>
        <p:blipFill>
          <a:blip r:embed="rId5"/>
          <a:stretch>
            <a:fillRect/>
          </a:stretch>
        </p:blipFill>
        <p:spPr>
          <a:xfrm>
            <a:off x="9898769" y="6182710"/>
            <a:ext cx="1378634" cy="340953"/>
          </a:xfrm>
          <a:prstGeom prst="rect">
            <a:avLst/>
          </a:prstGeom>
        </p:spPr>
      </p:pic>
    </p:spTree>
    <p:extLst>
      <p:ext uri="{BB962C8B-B14F-4D97-AF65-F5344CB8AC3E}">
        <p14:creationId xmlns:p14="http://schemas.microsoft.com/office/powerpoint/2010/main" val="336987449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489629" y="200610"/>
            <a:ext cx="10917349" cy="659155"/>
          </a:xfrm>
          <a:prstGeom prst="rect">
            <a:avLst/>
          </a:prstGeom>
        </p:spPr>
        <p:txBody>
          <a:bodyPr vert="horz" wrap="square" lIns="0" tIns="12700" rIns="0" bIns="0" rtlCol="0">
            <a:spAutoFit/>
          </a:bodyPr>
          <a:lstStyle/>
          <a:p>
            <a:pPr marL="12700">
              <a:lnSpc>
                <a:spcPct val="100000"/>
              </a:lnSpc>
              <a:spcBef>
                <a:spcPts val="100"/>
              </a:spcBef>
            </a:pPr>
            <a:r>
              <a:rPr lang="it-IT" sz="2800" spc="-15" dirty="0">
                <a:solidFill>
                  <a:schemeClr val="accent1"/>
                </a:solidFill>
                <a:latin typeface="+mn-lt"/>
              </a:rPr>
              <a:t>5. CORSO AMMINISTRAZIONE E SEGRETERIA</a:t>
            </a:r>
            <a:br>
              <a:rPr lang="it-IT" sz="2800" spc="-15" dirty="0">
                <a:solidFill>
                  <a:schemeClr val="accent1"/>
                </a:solidFill>
                <a:latin typeface="+mn-lt"/>
              </a:rPr>
            </a:br>
            <a:r>
              <a:rPr lang="it-IT" sz="1400" spc="-15" dirty="0">
                <a:solidFill>
                  <a:schemeClr val="accent1"/>
                </a:solidFill>
                <a:latin typeface="+mn-lt"/>
              </a:rPr>
              <a:t>(</a:t>
            </a:r>
            <a:r>
              <a:rPr lang="it-IT" sz="1400" spc="-15" dirty="0" err="1">
                <a:solidFill>
                  <a:schemeClr val="accent1"/>
                </a:solidFill>
                <a:latin typeface="+mn-lt"/>
              </a:rPr>
              <a:t>opal</a:t>
            </a:r>
            <a:r>
              <a:rPr lang="it-IT" sz="1400" spc="-15" dirty="0">
                <a:solidFill>
                  <a:schemeClr val="accent1"/>
                </a:solidFill>
                <a:latin typeface="+mn-lt"/>
              </a:rPr>
              <a:t> Formazione </a:t>
            </a:r>
            <a:r>
              <a:rPr lang="it-IT" sz="1400" spc="-15" dirty="0" err="1">
                <a:solidFill>
                  <a:schemeClr val="accent1"/>
                </a:solidFill>
                <a:latin typeface="+mn-lt"/>
              </a:rPr>
              <a:t>Upskilling</a:t>
            </a:r>
            <a:r>
              <a:rPr lang="it-IT" sz="1400" spc="-15" dirty="0">
                <a:solidFill>
                  <a:schemeClr val="accent1"/>
                </a:solidFill>
                <a:latin typeface="+mn-lt"/>
              </a:rPr>
              <a:t> (RRSP) mirata al profilo OPERATORE AMMINISTRATIVO SEGRETARIALE</a:t>
            </a:r>
          </a:p>
        </p:txBody>
      </p:sp>
      <p:sp>
        <p:nvSpPr>
          <p:cNvPr id="5" name="object 5"/>
          <p:cNvSpPr/>
          <p:nvPr/>
        </p:nvSpPr>
        <p:spPr>
          <a:xfrm>
            <a:off x="431843" y="1445151"/>
            <a:ext cx="8664032" cy="1592756"/>
          </a:xfrm>
          <a:custGeom>
            <a:avLst/>
            <a:gdLst/>
            <a:ahLst/>
            <a:cxnLst/>
            <a:rect l="l" t="t" r="r" b="b"/>
            <a:pathLst>
              <a:path w="7729220" h="954405">
                <a:moveTo>
                  <a:pt x="7644907" y="954299"/>
                </a:moveTo>
                <a:lnTo>
                  <a:pt x="83692" y="954299"/>
                </a:lnTo>
                <a:lnTo>
                  <a:pt x="51115" y="947723"/>
                </a:lnTo>
                <a:lnTo>
                  <a:pt x="24512" y="929787"/>
                </a:lnTo>
                <a:lnTo>
                  <a:pt x="6576" y="903184"/>
                </a:lnTo>
                <a:lnTo>
                  <a:pt x="0" y="870607"/>
                </a:lnTo>
                <a:lnTo>
                  <a:pt x="0" y="83692"/>
                </a:lnTo>
                <a:lnTo>
                  <a:pt x="6576" y="51115"/>
                </a:lnTo>
                <a:lnTo>
                  <a:pt x="24512" y="24512"/>
                </a:lnTo>
                <a:lnTo>
                  <a:pt x="51115" y="6576"/>
                </a:lnTo>
                <a:lnTo>
                  <a:pt x="83692" y="0"/>
                </a:lnTo>
                <a:lnTo>
                  <a:pt x="7644907" y="0"/>
                </a:lnTo>
                <a:lnTo>
                  <a:pt x="7691340" y="14061"/>
                </a:lnTo>
                <a:lnTo>
                  <a:pt x="7722229" y="51664"/>
                </a:lnTo>
                <a:lnTo>
                  <a:pt x="7728599" y="83692"/>
                </a:lnTo>
                <a:lnTo>
                  <a:pt x="7728599" y="870607"/>
                </a:lnTo>
                <a:lnTo>
                  <a:pt x="7722023" y="903184"/>
                </a:lnTo>
                <a:lnTo>
                  <a:pt x="7704087" y="929787"/>
                </a:lnTo>
                <a:lnTo>
                  <a:pt x="7677484" y="947723"/>
                </a:lnTo>
                <a:lnTo>
                  <a:pt x="7644907" y="954299"/>
                </a:lnTo>
                <a:close/>
              </a:path>
            </a:pathLst>
          </a:custGeom>
          <a:solidFill>
            <a:schemeClr val="bg2">
              <a:lumMod val="90000"/>
            </a:schemeClr>
          </a:solidFill>
        </p:spPr>
        <p:txBody>
          <a:bodyPr wrap="square" lIns="0" tIns="0" rIns="0" bIns="0" rtlCol="0"/>
          <a:lstStyle/>
          <a:p>
            <a:endParaRPr>
              <a:solidFill>
                <a:srgbClr val="00B050"/>
              </a:solidFill>
            </a:endParaRPr>
          </a:p>
        </p:txBody>
      </p:sp>
      <p:sp>
        <p:nvSpPr>
          <p:cNvPr id="11" name="object 11"/>
          <p:cNvSpPr txBox="1"/>
          <p:nvPr/>
        </p:nvSpPr>
        <p:spPr>
          <a:xfrm>
            <a:off x="11391130" y="8098"/>
            <a:ext cx="302895" cy="604520"/>
          </a:xfrm>
          <a:prstGeom prst="rect">
            <a:avLst/>
          </a:prstGeom>
        </p:spPr>
        <p:txBody>
          <a:bodyPr vert="horz" wrap="square" lIns="0" tIns="12700" rIns="0" bIns="0" rtlCol="0">
            <a:spAutoFit/>
          </a:bodyPr>
          <a:lstStyle/>
          <a:p>
            <a:pPr marL="12700">
              <a:lnSpc>
                <a:spcPct val="100000"/>
              </a:lnSpc>
              <a:spcBef>
                <a:spcPts val="100"/>
              </a:spcBef>
            </a:pPr>
            <a:r>
              <a:rPr sz="3800" b="1" dirty="0">
                <a:solidFill>
                  <a:srgbClr val="FFFFFF"/>
                </a:solidFill>
                <a:latin typeface="Roboto"/>
                <a:cs typeface="Roboto"/>
              </a:rPr>
              <a:t>1</a:t>
            </a:r>
            <a:endParaRPr sz="3800">
              <a:latin typeface="Roboto"/>
              <a:cs typeface="Roboto"/>
            </a:endParaRPr>
          </a:p>
        </p:txBody>
      </p:sp>
      <p:sp>
        <p:nvSpPr>
          <p:cNvPr id="12" name="object 12"/>
          <p:cNvSpPr/>
          <p:nvPr/>
        </p:nvSpPr>
        <p:spPr>
          <a:xfrm>
            <a:off x="489629" y="3495574"/>
            <a:ext cx="4210708" cy="537585"/>
          </a:xfrm>
          <a:custGeom>
            <a:avLst/>
            <a:gdLst/>
            <a:ahLst/>
            <a:cxnLst/>
            <a:rect l="l" t="t" r="r" b="b"/>
            <a:pathLst>
              <a:path w="1596389" h="472439">
                <a:moveTo>
                  <a:pt x="1554614" y="471899"/>
                </a:moveTo>
                <a:lnTo>
                  <a:pt x="41385" y="471899"/>
                </a:lnTo>
                <a:lnTo>
                  <a:pt x="25276" y="468647"/>
                </a:lnTo>
                <a:lnTo>
                  <a:pt x="12121" y="459778"/>
                </a:lnTo>
                <a:lnTo>
                  <a:pt x="3252" y="446623"/>
                </a:lnTo>
                <a:lnTo>
                  <a:pt x="0" y="430514"/>
                </a:lnTo>
                <a:lnTo>
                  <a:pt x="0" y="41385"/>
                </a:lnTo>
                <a:lnTo>
                  <a:pt x="3252" y="25276"/>
                </a:lnTo>
                <a:lnTo>
                  <a:pt x="12121" y="12121"/>
                </a:lnTo>
                <a:lnTo>
                  <a:pt x="25276" y="3252"/>
                </a:lnTo>
                <a:lnTo>
                  <a:pt x="41385" y="0"/>
                </a:lnTo>
                <a:lnTo>
                  <a:pt x="1554614" y="0"/>
                </a:lnTo>
                <a:lnTo>
                  <a:pt x="1589046" y="18424"/>
                </a:lnTo>
                <a:lnTo>
                  <a:pt x="1595999" y="41385"/>
                </a:lnTo>
                <a:lnTo>
                  <a:pt x="1595999" y="430514"/>
                </a:lnTo>
                <a:lnTo>
                  <a:pt x="1592747" y="446623"/>
                </a:lnTo>
                <a:lnTo>
                  <a:pt x="1583878" y="459778"/>
                </a:lnTo>
                <a:lnTo>
                  <a:pt x="1570723" y="468647"/>
                </a:lnTo>
                <a:lnTo>
                  <a:pt x="1554614" y="471899"/>
                </a:lnTo>
                <a:close/>
              </a:path>
            </a:pathLst>
          </a:custGeom>
          <a:solidFill>
            <a:schemeClr val="accent1"/>
          </a:solidFill>
        </p:spPr>
        <p:txBody>
          <a:bodyPr wrap="square" lIns="0" tIns="0" rIns="0" bIns="0" rtlCol="0"/>
          <a:lstStyle/>
          <a:p>
            <a:endParaRPr/>
          </a:p>
        </p:txBody>
      </p:sp>
      <p:sp>
        <p:nvSpPr>
          <p:cNvPr id="13" name="object 13"/>
          <p:cNvSpPr txBox="1"/>
          <p:nvPr/>
        </p:nvSpPr>
        <p:spPr>
          <a:xfrm>
            <a:off x="632401" y="3562236"/>
            <a:ext cx="8889221" cy="320601"/>
          </a:xfrm>
          <a:prstGeom prst="rect">
            <a:avLst/>
          </a:prstGeom>
        </p:spPr>
        <p:txBody>
          <a:bodyPr vert="horz" wrap="square" lIns="0" tIns="12700" rIns="0" bIns="0" rtlCol="0">
            <a:spAutoFit/>
          </a:bodyPr>
          <a:lstStyle/>
          <a:p>
            <a:pPr marL="12700">
              <a:lnSpc>
                <a:spcPct val="100000"/>
              </a:lnSpc>
              <a:spcBef>
                <a:spcPts val="100"/>
              </a:spcBef>
            </a:pPr>
            <a:r>
              <a:rPr lang="it-IT" sz="2000" b="1" spc="-25" dirty="0">
                <a:solidFill>
                  <a:srgbClr val="FFFFFF"/>
                </a:solidFill>
                <a:cs typeface="Roboto"/>
              </a:rPr>
              <a:t>I partecipanti saranno in grado di:</a:t>
            </a:r>
            <a:endParaRPr lang="it-IT" sz="2000" dirty="0">
              <a:cs typeface="Roboto"/>
            </a:endParaRPr>
          </a:p>
        </p:txBody>
      </p:sp>
      <p:sp>
        <p:nvSpPr>
          <p:cNvPr id="14" name="object 14"/>
          <p:cNvSpPr/>
          <p:nvPr/>
        </p:nvSpPr>
        <p:spPr>
          <a:xfrm>
            <a:off x="10294629" y="1233673"/>
            <a:ext cx="1596390" cy="1625373"/>
          </a:xfrm>
          <a:custGeom>
            <a:avLst/>
            <a:gdLst/>
            <a:ahLst/>
            <a:cxnLst/>
            <a:rect l="l" t="t" r="r" b="b"/>
            <a:pathLst>
              <a:path w="1596390" h="954405">
                <a:moveTo>
                  <a:pt x="1512307" y="954299"/>
                </a:moveTo>
                <a:lnTo>
                  <a:pt x="83692" y="954299"/>
                </a:lnTo>
                <a:lnTo>
                  <a:pt x="51115" y="947723"/>
                </a:lnTo>
                <a:lnTo>
                  <a:pt x="24512" y="929787"/>
                </a:lnTo>
                <a:lnTo>
                  <a:pt x="6576" y="903184"/>
                </a:lnTo>
                <a:lnTo>
                  <a:pt x="0" y="870607"/>
                </a:lnTo>
                <a:lnTo>
                  <a:pt x="0" y="83692"/>
                </a:lnTo>
                <a:lnTo>
                  <a:pt x="6576" y="51115"/>
                </a:lnTo>
                <a:lnTo>
                  <a:pt x="24512" y="24512"/>
                </a:lnTo>
                <a:lnTo>
                  <a:pt x="51115" y="6576"/>
                </a:lnTo>
                <a:lnTo>
                  <a:pt x="83692" y="0"/>
                </a:lnTo>
                <a:lnTo>
                  <a:pt x="1512307" y="0"/>
                </a:lnTo>
                <a:lnTo>
                  <a:pt x="1558740" y="14061"/>
                </a:lnTo>
                <a:lnTo>
                  <a:pt x="1589629" y="51664"/>
                </a:lnTo>
                <a:lnTo>
                  <a:pt x="1595999" y="83692"/>
                </a:lnTo>
                <a:lnTo>
                  <a:pt x="1595999" y="870607"/>
                </a:lnTo>
                <a:lnTo>
                  <a:pt x="1589423" y="903184"/>
                </a:lnTo>
                <a:lnTo>
                  <a:pt x="1571487" y="929787"/>
                </a:lnTo>
                <a:lnTo>
                  <a:pt x="1544884" y="947723"/>
                </a:lnTo>
                <a:lnTo>
                  <a:pt x="1512307" y="954299"/>
                </a:lnTo>
                <a:close/>
              </a:path>
            </a:pathLst>
          </a:custGeom>
          <a:solidFill>
            <a:schemeClr val="accent1"/>
          </a:solidFill>
        </p:spPr>
        <p:txBody>
          <a:bodyPr wrap="square" lIns="0" tIns="0" rIns="0" bIns="0" rtlCol="0"/>
          <a:lstStyle/>
          <a:p>
            <a:endParaRPr lang="it-IT">
              <a:solidFill>
                <a:schemeClr val="accent1"/>
              </a:solidFill>
            </a:endParaRPr>
          </a:p>
        </p:txBody>
      </p:sp>
      <p:sp>
        <p:nvSpPr>
          <p:cNvPr id="15" name="object 15"/>
          <p:cNvSpPr txBox="1"/>
          <p:nvPr/>
        </p:nvSpPr>
        <p:spPr>
          <a:xfrm>
            <a:off x="10456645" y="1653663"/>
            <a:ext cx="1123281" cy="689932"/>
          </a:xfrm>
          <a:prstGeom prst="rect">
            <a:avLst/>
          </a:prstGeom>
        </p:spPr>
        <p:txBody>
          <a:bodyPr vert="horz" wrap="square" lIns="0" tIns="12700" rIns="0" bIns="0" rtlCol="0">
            <a:spAutoFit/>
          </a:bodyPr>
          <a:lstStyle/>
          <a:p>
            <a:pPr marL="12700" algn="ctr">
              <a:lnSpc>
                <a:spcPct val="100000"/>
              </a:lnSpc>
              <a:spcBef>
                <a:spcPts val="100"/>
              </a:spcBef>
            </a:pPr>
            <a:r>
              <a:rPr lang="it-IT" sz="2200" b="1" spc="-5" dirty="0">
                <a:solidFill>
                  <a:srgbClr val="FFFFFF"/>
                </a:solidFill>
                <a:cs typeface="Roboto"/>
              </a:rPr>
              <a:t>Durata:40</a:t>
            </a:r>
            <a:r>
              <a:rPr lang="it-IT" sz="2200" b="1" spc="-80" dirty="0">
                <a:solidFill>
                  <a:srgbClr val="FFFFFF"/>
                </a:solidFill>
                <a:cs typeface="Roboto"/>
              </a:rPr>
              <a:t> </a:t>
            </a:r>
            <a:r>
              <a:rPr lang="it-IT" sz="2200" b="1" dirty="0">
                <a:solidFill>
                  <a:srgbClr val="FFFFFF"/>
                </a:solidFill>
                <a:cs typeface="Roboto"/>
              </a:rPr>
              <a:t>ORE</a:t>
            </a:r>
          </a:p>
        </p:txBody>
      </p:sp>
      <p:sp>
        <p:nvSpPr>
          <p:cNvPr id="19" name="CasellaDiTesto 18">
            <a:extLst>
              <a:ext uri="{FF2B5EF4-FFF2-40B4-BE49-F238E27FC236}">
                <a16:creationId xmlns:a16="http://schemas.microsoft.com/office/drawing/2014/main" id="{AE419993-E428-4926-B9BE-D3A35F84AC1A}"/>
              </a:ext>
            </a:extLst>
          </p:cNvPr>
          <p:cNvSpPr txBox="1"/>
          <p:nvPr/>
        </p:nvSpPr>
        <p:spPr>
          <a:xfrm>
            <a:off x="327484" y="997352"/>
            <a:ext cx="4171748" cy="400110"/>
          </a:xfrm>
          <a:prstGeom prst="rect">
            <a:avLst/>
          </a:prstGeom>
          <a:noFill/>
        </p:spPr>
        <p:txBody>
          <a:bodyPr wrap="square">
            <a:spAutoFit/>
          </a:bodyPr>
          <a:lstStyle/>
          <a:p>
            <a:pPr marL="59690">
              <a:lnSpc>
                <a:spcPct val="100000"/>
              </a:lnSpc>
              <a:spcBef>
                <a:spcPts val="1370"/>
              </a:spcBef>
            </a:pPr>
            <a:r>
              <a:rPr lang="it-IT" sz="2000" b="1" i="1" spc="20" dirty="0">
                <a:solidFill>
                  <a:schemeClr val="tx1">
                    <a:lumMod val="65000"/>
                    <a:lumOff val="35000"/>
                  </a:schemeClr>
                </a:solidFill>
                <a:cs typeface="Roboto"/>
              </a:rPr>
              <a:t>Upskilling</a:t>
            </a:r>
            <a:r>
              <a:rPr lang="it-IT" sz="2000" b="1" spc="20" dirty="0">
                <a:solidFill>
                  <a:schemeClr val="tx1">
                    <a:lumMod val="65000"/>
                    <a:lumOff val="35000"/>
                  </a:schemeClr>
                </a:solidFill>
                <a:cs typeface="Roboto"/>
              </a:rPr>
              <a:t> mirato al profilo di: </a:t>
            </a:r>
          </a:p>
        </p:txBody>
      </p:sp>
      <p:sp>
        <p:nvSpPr>
          <p:cNvPr id="23" name="object 13">
            <a:extLst>
              <a:ext uri="{FF2B5EF4-FFF2-40B4-BE49-F238E27FC236}">
                <a16:creationId xmlns:a16="http://schemas.microsoft.com/office/drawing/2014/main" id="{26655215-3172-4130-B17A-FB0B2AA9CF00}"/>
              </a:ext>
            </a:extLst>
          </p:cNvPr>
          <p:cNvSpPr txBox="1"/>
          <p:nvPr/>
        </p:nvSpPr>
        <p:spPr>
          <a:xfrm>
            <a:off x="-165339" y="3907277"/>
            <a:ext cx="9990908" cy="2321148"/>
          </a:xfrm>
          <a:prstGeom prst="rect">
            <a:avLst/>
          </a:prstGeom>
        </p:spPr>
        <p:txBody>
          <a:bodyPr vert="horz" wrap="square" lIns="0" tIns="12700" rIns="0" bIns="0" rtlCol="0">
            <a:spAutoFit/>
          </a:bodyPr>
          <a:lstStyle/>
          <a:p>
            <a:pPr marL="671830">
              <a:lnSpc>
                <a:spcPct val="100000"/>
              </a:lnSpc>
            </a:pPr>
            <a:endParaRPr lang="it-IT" sz="2000" spc="-25" dirty="0">
              <a:solidFill>
                <a:srgbClr val="333333"/>
              </a:solidFill>
            </a:endParaRPr>
          </a:p>
          <a:p>
            <a:pPr marL="1014730" indent="-342900">
              <a:lnSpc>
                <a:spcPct val="100000"/>
              </a:lnSpc>
              <a:buFont typeface="Wingdings" panose="05000000000000000000" pitchFamily="2" charset="2"/>
              <a:buChar char="v"/>
            </a:pPr>
            <a:r>
              <a:rPr lang="it-IT" spc="-25" dirty="0">
                <a:solidFill>
                  <a:srgbClr val="333333"/>
                </a:solidFill>
              </a:rPr>
              <a:t>Realizzare attività di protocollo,  archiviazione e di tracciabilità di documenti e informazioni</a:t>
            </a:r>
          </a:p>
          <a:p>
            <a:pPr marL="1014730" indent="-342900">
              <a:lnSpc>
                <a:spcPct val="100000"/>
              </a:lnSpc>
              <a:buFont typeface="Wingdings" panose="05000000000000000000" pitchFamily="2" charset="2"/>
              <a:buChar char="v"/>
            </a:pPr>
            <a:r>
              <a:rPr lang="it-IT" spc="-25" dirty="0">
                <a:solidFill>
                  <a:srgbClr val="333333"/>
                </a:solidFill>
              </a:rPr>
              <a:t>Gestione dell'agenda (contatti, appuntamenti, scadenze, ecc.) delle funzioni direttive di riferimento</a:t>
            </a:r>
          </a:p>
          <a:p>
            <a:pPr marL="1014730" indent="-342900">
              <a:lnSpc>
                <a:spcPct val="100000"/>
              </a:lnSpc>
              <a:buFont typeface="Wingdings" panose="05000000000000000000" pitchFamily="2" charset="2"/>
              <a:buChar char="v"/>
            </a:pPr>
            <a:r>
              <a:rPr lang="it-IT" spc="-25" dirty="0">
                <a:solidFill>
                  <a:srgbClr val="333333"/>
                </a:solidFill>
              </a:rPr>
              <a:t>Gestione e filtro delle comunicazioni scritte o telefoniche indirizzate alle funzioni direttive di riferimento</a:t>
            </a:r>
          </a:p>
          <a:p>
            <a:pPr marL="671830">
              <a:lnSpc>
                <a:spcPct val="100000"/>
              </a:lnSpc>
            </a:pPr>
            <a:endParaRPr lang="it-IT" sz="2000" spc="-25" dirty="0">
              <a:solidFill>
                <a:srgbClr val="333333"/>
              </a:solidFill>
            </a:endParaRPr>
          </a:p>
          <a:p>
            <a:pPr marL="671830">
              <a:lnSpc>
                <a:spcPct val="100000"/>
              </a:lnSpc>
            </a:pPr>
            <a:endParaRPr lang="it-IT" sz="2000" spc="-25" dirty="0">
              <a:solidFill>
                <a:srgbClr val="333333"/>
              </a:solidFill>
            </a:endParaRPr>
          </a:p>
        </p:txBody>
      </p:sp>
      <p:sp>
        <p:nvSpPr>
          <p:cNvPr id="18" name="object 7">
            <a:extLst>
              <a:ext uri="{FF2B5EF4-FFF2-40B4-BE49-F238E27FC236}">
                <a16:creationId xmlns:a16="http://schemas.microsoft.com/office/drawing/2014/main" id="{C3B0C9A0-3CD5-4D46-9AA9-7D688688CE43}"/>
              </a:ext>
            </a:extLst>
          </p:cNvPr>
          <p:cNvSpPr txBox="1"/>
          <p:nvPr/>
        </p:nvSpPr>
        <p:spPr>
          <a:xfrm>
            <a:off x="489629" y="1450042"/>
            <a:ext cx="8316693" cy="1576072"/>
          </a:xfrm>
          <a:prstGeom prst="rect">
            <a:avLst/>
          </a:prstGeom>
        </p:spPr>
        <p:txBody>
          <a:bodyPr vert="horz" wrap="square" lIns="0" tIns="173990" rIns="0" bIns="0" rtlCol="0">
            <a:spAutoFit/>
          </a:bodyPr>
          <a:lstStyle/>
          <a:p>
            <a:pPr marL="12700" marR="5080" algn="just">
              <a:lnSpc>
                <a:spcPct val="101600"/>
              </a:lnSpc>
              <a:spcBef>
                <a:spcPts val="985"/>
              </a:spcBef>
            </a:pPr>
            <a:r>
              <a:rPr lang="it-IT" b="1" spc="-15" dirty="0">
                <a:solidFill>
                  <a:srgbClr val="333333"/>
                </a:solidFill>
              </a:rPr>
              <a:t>Operatore amministrativo segretariale: </a:t>
            </a:r>
            <a:r>
              <a:rPr lang="it-IT" spc="-15" dirty="0">
                <a:solidFill>
                  <a:srgbClr val="333333"/>
                </a:solidFill>
              </a:rPr>
              <a:t>si occupa della realizzazione delle attività di segreteria curandone gli aspetti tecnici, organizzativi e tecnologici, in funzione delle priorità e delle esigenze espresse e nel rispetto delle indicazioni e delle policies aziendali. Cura il trattamento di semplici documenti amministrativo contabili, sia in formato cartaceo che elettronico. </a:t>
            </a:r>
          </a:p>
        </p:txBody>
      </p:sp>
      <p:sp>
        <p:nvSpPr>
          <p:cNvPr id="16" name="Rettangolo con angoli arrotondati 15">
            <a:extLst>
              <a:ext uri="{FF2B5EF4-FFF2-40B4-BE49-F238E27FC236}">
                <a16:creationId xmlns:a16="http://schemas.microsoft.com/office/drawing/2014/main" id="{061A92BF-AB67-43A5-B9F0-71106D0332AD}"/>
              </a:ext>
            </a:extLst>
          </p:cNvPr>
          <p:cNvSpPr/>
          <p:nvPr/>
        </p:nvSpPr>
        <p:spPr>
          <a:xfrm>
            <a:off x="10294629" y="3197495"/>
            <a:ext cx="1596390" cy="1014899"/>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00"/>
          </a:p>
        </p:txBody>
      </p:sp>
      <p:sp>
        <p:nvSpPr>
          <p:cNvPr id="17" name="CasellaDiTesto 16">
            <a:extLst>
              <a:ext uri="{FF2B5EF4-FFF2-40B4-BE49-F238E27FC236}">
                <a16:creationId xmlns:a16="http://schemas.microsoft.com/office/drawing/2014/main" id="{F30A60EC-DA9F-46A3-8830-1540ED252F44}"/>
              </a:ext>
            </a:extLst>
          </p:cNvPr>
          <p:cNvSpPr txBox="1"/>
          <p:nvPr/>
        </p:nvSpPr>
        <p:spPr>
          <a:xfrm>
            <a:off x="10441030" y="3315628"/>
            <a:ext cx="1303588" cy="830997"/>
          </a:xfrm>
          <a:prstGeom prst="rect">
            <a:avLst/>
          </a:prstGeom>
          <a:noFill/>
        </p:spPr>
        <p:txBody>
          <a:bodyPr wrap="square" rtlCol="0">
            <a:spAutoFit/>
          </a:bodyPr>
          <a:lstStyle/>
          <a:p>
            <a:pPr algn="ctr"/>
            <a:r>
              <a:rPr lang="it-IT" sz="1600" b="1" dirty="0">
                <a:solidFill>
                  <a:schemeClr val="accent1"/>
                </a:solidFill>
                <a:hlinkClick r:id="rId3" action="ppaction://hlinksldjump">
                  <a:extLst>
                    <a:ext uri="{A12FA001-AC4F-418D-AE19-62706E023703}">
                      <ahyp:hlinkClr xmlns:ahyp="http://schemas.microsoft.com/office/drawing/2018/hyperlinkcolor" val="tx"/>
                    </a:ext>
                  </a:extLst>
                </a:hlinkClick>
              </a:rPr>
              <a:t>Vedi dettagli programma</a:t>
            </a:r>
            <a:endParaRPr lang="it-IT" sz="1600" b="1" dirty="0">
              <a:solidFill>
                <a:schemeClr val="accent1"/>
              </a:solidFill>
            </a:endParaRPr>
          </a:p>
        </p:txBody>
      </p:sp>
      <p:sp>
        <p:nvSpPr>
          <p:cNvPr id="2" name="Rettangolo con angoli arrotondati 1">
            <a:extLst>
              <a:ext uri="{FF2B5EF4-FFF2-40B4-BE49-F238E27FC236}">
                <a16:creationId xmlns:a16="http://schemas.microsoft.com/office/drawing/2014/main" id="{2F2AD3C3-5D7F-BBB1-2802-611A820AE316}"/>
              </a:ext>
            </a:extLst>
          </p:cNvPr>
          <p:cNvSpPr/>
          <p:nvPr/>
        </p:nvSpPr>
        <p:spPr>
          <a:xfrm>
            <a:off x="10276113" y="4384612"/>
            <a:ext cx="1596390" cy="819725"/>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00"/>
          </a:p>
        </p:txBody>
      </p:sp>
      <p:sp>
        <p:nvSpPr>
          <p:cNvPr id="7" name="CasellaDiTesto 6">
            <a:extLst>
              <a:ext uri="{FF2B5EF4-FFF2-40B4-BE49-F238E27FC236}">
                <a16:creationId xmlns:a16="http://schemas.microsoft.com/office/drawing/2014/main" id="{C1FFDBDA-A454-C3AC-85BD-BC669236CB94}"/>
              </a:ext>
            </a:extLst>
          </p:cNvPr>
          <p:cNvSpPr txBox="1"/>
          <p:nvPr/>
        </p:nvSpPr>
        <p:spPr>
          <a:xfrm>
            <a:off x="10393518" y="4483076"/>
            <a:ext cx="1366207" cy="584775"/>
          </a:xfrm>
          <a:prstGeom prst="rect">
            <a:avLst/>
          </a:prstGeom>
          <a:noFill/>
        </p:spPr>
        <p:txBody>
          <a:bodyPr wrap="square" rtlCol="0">
            <a:spAutoFit/>
          </a:bodyPr>
          <a:lstStyle/>
          <a:p>
            <a:pPr algn="ctr"/>
            <a:r>
              <a:rPr lang="it-IT" sz="1600" b="1" dirty="0">
                <a:solidFill>
                  <a:schemeClr val="accent1"/>
                </a:solidFill>
                <a:hlinkClick r:id="rId4" action="ppaction://hlinksldjump"/>
              </a:rPr>
              <a:t>Vedi indice corsi</a:t>
            </a:r>
            <a:endParaRPr lang="it-IT" sz="1600" b="1" dirty="0">
              <a:solidFill>
                <a:schemeClr val="accent1"/>
              </a:solidFill>
            </a:endParaRPr>
          </a:p>
        </p:txBody>
      </p:sp>
      <p:pic>
        <p:nvPicPr>
          <p:cNvPr id="20" name="Immagine 19">
            <a:extLst>
              <a:ext uri="{FF2B5EF4-FFF2-40B4-BE49-F238E27FC236}">
                <a16:creationId xmlns:a16="http://schemas.microsoft.com/office/drawing/2014/main" id="{30CF66F4-3BE0-42BA-A024-BBDA1DF391F1}"/>
              </a:ext>
            </a:extLst>
          </p:cNvPr>
          <p:cNvPicPr>
            <a:picLocks noChangeAspect="1"/>
          </p:cNvPicPr>
          <p:nvPr/>
        </p:nvPicPr>
        <p:blipFill>
          <a:blip r:embed="rId5"/>
          <a:stretch>
            <a:fillRect/>
          </a:stretch>
        </p:blipFill>
        <p:spPr>
          <a:xfrm>
            <a:off x="327484" y="5784507"/>
            <a:ext cx="9567758" cy="1086724"/>
          </a:xfrm>
          <a:prstGeom prst="rect">
            <a:avLst/>
          </a:prstGeom>
        </p:spPr>
      </p:pic>
      <p:pic>
        <p:nvPicPr>
          <p:cNvPr id="21" name="Immagine 20">
            <a:extLst>
              <a:ext uri="{FF2B5EF4-FFF2-40B4-BE49-F238E27FC236}">
                <a16:creationId xmlns:a16="http://schemas.microsoft.com/office/drawing/2014/main" id="{168F4737-2A1B-498D-9639-5C39C407029F}"/>
              </a:ext>
            </a:extLst>
          </p:cNvPr>
          <p:cNvPicPr>
            <a:picLocks noChangeAspect="1"/>
          </p:cNvPicPr>
          <p:nvPr/>
        </p:nvPicPr>
        <p:blipFill>
          <a:blip r:embed="rId6"/>
          <a:stretch>
            <a:fillRect/>
          </a:stretch>
        </p:blipFill>
        <p:spPr>
          <a:xfrm>
            <a:off x="9898769" y="6182710"/>
            <a:ext cx="1378634" cy="340953"/>
          </a:xfrm>
          <a:prstGeom prst="rect">
            <a:avLst/>
          </a:prstGeom>
        </p:spPr>
      </p:pic>
    </p:spTree>
    <p:extLst>
      <p:ext uri="{BB962C8B-B14F-4D97-AF65-F5344CB8AC3E}">
        <p14:creationId xmlns:p14="http://schemas.microsoft.com/office/powerpoint/2010/main" val="337364802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778BD0F8-66BB-4A86-BC4B-86F83251D451}"/>
              </a:ext>
            </a:extLst>
          </p:cNvPr>
          <p:cNvSpPr txBox="1"/>
          <p:nvPr/>
        </p:nvSpPr>
        <p:spPr>
          <a:xfrm>
            <a:off x="325349" y="138281"/>
            <a:ext cx="11866651" cy="738664"/>
          </a:xfrm>
          <a:prstGeom prst="rect">
            <a:avLst/>
          </a:prstGeom>
          <a:noFill/>
        </p:spPr>
        <p:txBody>
          <a:bodyPr wrap="square" rtlCol="0">
            <a:spAutoFit/>
          </a:bodyPr>
          <a:lstStyle/>
          <a:p>
            <a:pPr marL="12700">
              <a:spcBef>
                <a:spcPts val="100"/>
              </a:spcBef>
            </a:pPr>
            <a:r>
              <a:rPr lang="it-IT" sz="2800" b="1" spc="-15" dirty="0">
                <a:solidFill>
                  <a:schemeClr val="accent1"/>
                </a:solidFill>
                <a:ea typeface="+mj-ea"/>
              </a:rPr>
              <a:t>5. CORSO AMMINISTRAZIONE E SEGRETERIA</a:t>
            </a:r>
            <a:br>
              <a:rPr lang="it-IT" sz="2800" b="1" spc="-15" dirty="0">
                <a:solidFill>
                  <a:schemeClr val="accent1"/>
                </a:solidFill>
                <a:ea typeface="+mj-ea"/>
              </a:rPr>
            </a:br>
            <a:r>
              <a:rPr lang="it-IT" sz="1400" b="1" spc="-15" dirty="0">
                <a:solidFill>
                  <a:schemeClr val="accent1"/>
                </a:solidFill>
                <a:ea typeface="+mj-ea"/>
              </a:rPr>
              <a:t>(OPAL Formazione </a:t>
            </a:r>
            <a:r>
              <a:rPr lang="it-IT" sz="1400" b="1" spc="-15" dirty="0" err="1">
                <a:solidFill>
                  <a:schemeClr val="accent1"/>
                </a:solidFill>
                <a:ea typeface="+mj-ea"/>
              </a:rPr>
              <a:t>Upskilling</a:t>
            </a:r>
            <a:r>
              <a:rPr lang="it-IT" sz="1400" b="1" spc="-15" dirty="0">
                <a:solidFill>
                  <a:schemeClr val="accent1"/>
                </a:solidFill>
                <a:ea typeface="+mj-ea"/>
              </a:rPr>
              <a:t> (RRSP) mirata al profilo OPERATORE AMMINISTRATIVO SEGRETARIALE programma corso)</a:t>
            </a:r>
          </a:p>
        </p:txBody>
      </p:sp>
      <p:sp>
        <p:nvSpPr>
          <p:cNvPr id="6" name="CasellaDiTesto 5">
            <a:extLst>
              <a:ext uri="{FF2B5EF4-FFF2-40B4-BE49-F238E27FC236}">
                <a16:creationId xmlns:a16="http://schemas.microsoft.com/office/drawing/2014/main" id="{83A5BDB5-C328-4E16-93AB-172A8D8C1204}"/>
              </a:ext>
            </a:extLst>
          </p:cNvPr>
          <p:cNvSpPr txBox="1"/>
          <p:nvPr/>
        </p:nvSpPr>
        <p:spPr>
          <a:xfrm>
            <a:off x="462335" y="1824767"/>
            <a:ext cx="9041261" cy="4528419"/>
          </a:xfrm>
          <a:prstGeom prst="rect">
            <a:avLst/>
          </a:prstGeom>
          <a:noFill/>
        </p:spPr>
        <p:txBody>
          <a:bodyPr wrap="square" rtlCol="0">
            <a:spAutoFit/>
          </a:bodyPr>
          <a:lstStyle/>
          <a:p>
            <a:pPr marL="342900" indent="-342900">
              <a:lnSpc>
                <a:spcPct val="150000"/>
              </a:lnSpc>
              <a:buFont typeface="Arial" panose="020B0604020202020204" pitchFamily="34" charset="0"/>
              <a:buChar char="•"/>
            </a:pPr>
            <a:r>
              <a:rPr lang="it-IT" dirty="0"/>
              <a:t>Principali riferimenti normativi in materia di sicurezza dei dati e di tutela delle privacy</a:t>
            </a:r>
          </a:p>
          <a:p>
            <a:pPr marL="342900" indent="-342900">
              <a:lnSpc>
                <a:spcPct val="150000"/>
              </a:lnSpc>
              <a:buFont typeface="Arial" panose="020B0604020202020204" pitchFamily="34" charset="0"/>
              <a:buChar char="•"/>
            </a:pPr>
            <a:r>
              <a:rPr lang="it-IT" dirty="0"/>
              <a:t>Tipologia, caratteristiche e funzionalità delle principali attrezzature d’ufficio (fax, fotocopiatrice, scanner, …)</a:t>
            </a:r>
          </a:p>
          <a:p>
            <a:pPr marL="342900" indent="-342900">
              <a:lnSpc>
                <a:spcPct val="150000"/>
              </a:lnSpc>
              <a:buFont typeface="Arial" panose="020B0604020202020204" pitchFamily="34" charset="0"/>
              <a:buChar char="•"/>
            </a:pPr>
            <a:r>
              <a:rPr lang="it-IT" dirty="0"/>
              <a:t>Tecniche di gestione della comunicazione e della relazione</a:t>
            </a:r>
          </a:p>
          <a:p>
            <a:pPr marL="342900" indent="-342900">
              <a:lnSpc>
                <a:spcPct val="150000"/>
              </a:lnSpc>
              <a:buFont typeface="Arial" panose="020B0604020202020204" pitchFamily="34" charset="0"/>
              <a:buChar char="•"/>
            </a:pPr>
            <a:r>
              <a:rPr lang="it-IT" dirty="0"/>
              <a:t>Tipologia, caratteristiche e funzionalità dei servizi internet (navigazione, motori di ricerca, posta elettronica, …)</a:t>
            </a:r>
          </a:p>
          <a:p>
            <a:pPr marL="342900" indent="-342900">
              <a:lnSpc>
                <a:spcPct val="150000"/>
              </a:lnSpc>
              <a:buFont typeface="Arial" panose="020B0604020202020204" pitchFamily="34" charset="0"/>
              <a:buChar char="•"/>
            </a:pPr>
            <a:r>
              <a:rPr lang="it-IT" dirty="0"/>
              <a:t>Tipologia, caratteristiche e funzionalità dei principali software applicativi di comunicazione e archiviazione digitale</a:t>
            </a:r>
          </a:p>
          <a:p>
            <a:pPr marL="342900" indent="-342900">
              <a:lnSpc>
                <a:spcPct val="150000"/>
              </a:lnSpc>
              <a:buFont typeface="Arial" panose="020B0604020202020204" pitchFamily="34" charset="0"/>
              <a:buChar char="•"/>
            </a:pPr>
            <a:r>
              <a:rPr lang="it-IT" dirty="0"/>
              <a:t>Tecniche di archiviazione e classificazione manuale e digitali di documenti e dati</a:t>
            </a:r>
            <a:br>
              <a:rPr lang="it-IT" dirty="0"/>
            </a:br>
            <a:br>
              <a:rPr lang="it-IT" sz="1600" b="0" dirty="0">
                <a:solidFill>
                  <a:schemeClr val="tx1"/>
                </a:solidFill>
                <a:ea typeface="+mn-ea"/>
                <a:cs typeface="+mn-cs"/>
              </a:rPr>
            </a:br>
            <a:endParaRPr lang="it-IT" sz="1600" dirty="0"/>
          </a:p>
        </p:txBody>
      </p:sp>
      <p:sp>
        <p:nvSpPr>
          <p:cNvPr id="8" name="object 12">
            <a:extLst>
              <a:ext uri="{FF2B5EF4-FFF2-40B4-BE49-F238E27FC236}">
                <a16:creationId xmlns:a16="http://schemas.microsoft.com/office/drawing/2014/main" id="{64A34BBB-C264-4F18-955B-C98648DC21DD}"/>
              </a:ext>
            </a:extLst>
          </p:cNvPr>
          <p:cNvSpPr/>
          <p:nvPr/>
        </p:nvSpPr>
        <p:spPr>
          <a:xfrm>
            <a:off x="462335" y="1189304"/>
            <a:ext cx="2593435" cy="537585"/>
          </a:xfrm>
          <a:custGeom>
            <a:avLst/>
            <a:gdLst/>
            <a:ahLst/>
            <a:cxnLst/>
            <a:rect l="l" t="t" r="r" b="b"/>
            <a:pathLst>
              <a:path w="1596389" h="472439">
                <a:moveTo>
                  <a:pt x="1554614" y="471899"/>
                </a:moveTo>
                <a:lnTo>
                  <a:pt x="41385" y="471899"/>
                </a:lnTo>
                <a:lnTo>
                  <a:pt x="25276" y="468647"/>
                </a:lnTo>
                <a:lnTo>
                  <a:pt x="12121" y="459778"/>
                </a:lnTo>
                <a:lnTo>
                  <a:pt x="3252" y="446623"/>
                </a:lnTo>
                <a:lnTo>
                  <a:pt x="0" y="430514"/>
                </a:lnTo>
                <a:lnTo>
                  <a:pt x="0" y="41385"/>
                </a:lnTo>
                <a:lnTo>
                  <a:pt x="3252" y="25276"/>
                </a:lnTo>
                <a:lnTo>
                  <a:pt x="12121" y="12121"/>
                </a:lnTo>
                <a:lnTo>
                  <a:pt x="25276" y="3252"/>
                </a:lnTo>
                <a:lnTo>
                  <a:pt x="41385" y="0"/>
                </a:lnTo>
                <a:lnTo>
                  <a:pt x="1554614" y="0"/>
                </a:lnTo>
                <a:lnTo>
                  <a:pt x="1589046" y="18424"/>
                </a:lnTo>
                <a:lnTo>
                  <a:pt x="1595999" y="41385"/>
                </a:lnTo>
                <a:lnTo>
                  <a:pt x="1595999" y="430514"/>
                </a:lnTo>
                <a:lnTo>
                  <a:pt x="1592747" y="446623"/>
                </a:lnTo>
                <a:lnTo>
                  <a:pt x="1583878" y="459778"/>
                </a:lnTo>
                <a:lnTo>
                  <a:pt x="1570723" y="468647"/>
                </a:lnTo>
                <a:lnTo>
                  <a:pt x="1554614" y="471899"/>
                </a:lnTo>
                <a:close/>
              </a:path>
            </a:pathLst>
          </a:custGeom>
          <a:solidFill>
            <a:schemeClr val="accent1"/>
          </a:solidFill>
        </p:spPr>
        <p:txBody>
          <a:bodyPr wrap="square" lIns="0" tIns="0" rIns="0" bIns="0" rtlCol="0"/>
          <a:lstStyle/>
          <a:p>
            <a:endParaRPr/>
          </a:p>
        </p:txBody>
      </p:sp>
      <p:sp>
        <p:nvSpPr>
          <p:cNvPr id="10" name="CasellaDiTesto 9">
            <a:extLst>
              <a:ext uri="{FF2B5EF4-FFF2-40B4-BE49-F238E27FC236}">
                <a16:creationId xmlns:a16="http://schemas.microsoft.com/office/drawing/2014/main" id="{CC16FC36-12EC-4E1B-904D-6A74CAD45047}"/>
              </a:ext>
            </a:extLst>
          </p:cNvPr>
          <p:cNvSpPr txBox="1"/>
          <p:nvPr/>
        </p:nvSpPr>
        <p:spPr>
          <a:xfrm>
            <a:off x="462335" y="1258041"/>
            <a:ext cx="4171748" cy="400110"/>
          </a:xfrm>
          <a:prstGeom prst="rect">
            <a:avLst/>
          </a:prstGeom>
          <a:noFill/>
        </p:spPr>
        <p:txBody>
          <a:bodyPr wrap="square">
            <a:spAutoFit/>
          </a:bodyPr>
          <a:lstStyle/>
          <a:p>
            <a:pPr marL="59690">
              <a:lnSpc>
                <a:spcPct val="100000"/>
              </a:lnSpc>
              <a:spcBef>
                <a:spcPts val="1370"/>
              </a:spcBef>
            </a:pPr>
            <a:r>
              <a:rPr lang="it-IT" sz="2000" b="1" i="1" spc="20" dirty="0">
                <a:solidFill>
                  <a:schemeClr val="bg1"/>
                </a:solidFill>
                <a:cs typeface="Roboto"/>
              </a:rPr>
              <a:t>Programma corso:</a:t>
            </a:r>
            <a:endParaRPr lang="it-IT" sz="2000" b="1" spc="20" dirty="0">
              <a:solidFill>
                <a:schemeClr val="bg1"/>
              </a:solidFill>
              <a:cs typeface="Roboto"/>
            </a:endParaRPr>
          </a:p>
        </p:txBody>
      </p:sp>
      <p:sp>
        <p:nvSpPr>
          <p:cNvPr id="3" name="Rettangolo con angoli arrotondati 2">
            <a:extLst>
              <a:ext uri="{FF2B5EF4-FFF2-40B4-BE49-F238E27FC236}">
                <a16:creationId xmlns:a16="http://schemas.microsoft.com/office/drawing/2014/main" id="{01BF19F9-9870-DC38-3BB4-177D40A73E5F}"/>
              </a:ext>
            </a:extLst>
          </p:cNvPr>
          <p:cNvSpPr/>
          <p:nvPr/>
        </p:nvSpPr>
        <p:spPr>
          <a:xfrm>
            <a:off x="9789891" y="4355818"/>
            <a:ext cx="1596390" cy="819725"/>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00"/>
          </a:p>
        </p:txBody>
      </p:sp>
      <p:sp>
        <p:nvSpPr>
          <p:cNvPr id="7" name="CasellaDiTesto 6">
            <a:extLst>
              <a:ext uri="{FF2B5EF4-FFF2-40B4-BE49-F238E27FC236}">
                <a16:creationId xmlns:a16="http://schemas.microsoft.com/office/drawing/2014/main" id="{A645BA75-D4A7-76A9-B1C0-D26D38A9F55F}"/>
              </a:ext>
            </a:extLst>
          </p:cNvPr>
          <p:cNvSpPr txBox="1"/>
          <p:nvPr/>
        </p:nvSpPr>
        <p:spPr>
          <a:xfrm>
            <a:off x="9895242" y="4483076"/>
            <a:ext cx="1366207" cy="584775"/>
          </a:xfrm>
          <a:prstGeom prst="rect">
            <a:avLst/>
          </a:prstGeom>
          <a:noFill/>
        </p:spPr>
        <p:txBody>
          <a:bodyPr wrap="square" rtlCol="0">
            <a:spAutoFit/>
          </a:bodyPr>
          <a:lstStyle/>
          <a:p>
            <a:pPr algn="ctr"/>
            <a:r>
              <a:rPr lang="it-IT" sz="1600" b="1" dirty="0">
                <a:solidFill>
                  <a:schemeClr val="accent1"/>
                </a:solidFill>
                <a:hlinkClick r:id="rId3" action="ppaction://hlinksldjump"/>
              </a:rPr>
              <a:t>Vedi indice corsi</a:t>
            </a:r>
            <a:endParaRPr lang="it-IT" sz="1600" b="1" dirty="0">
              <a:solidFill>
                <a:schemeClr val="accent1"/>
              </a:solidFill>
            </a:endParaRPr>
          </a:p>
        </p:txBody>
      </p:sp>
      <p:pic>
        <p:nvPicPr>
          <p:cNvPr id="14" name="Immagine 13">
            <a:extLst>
              <a:ext uri="{FF2B5EF4-FFF2-40B4-BE49-F238E27FC236}">
                <a16:creationId xmlns:a16="http://schemas.microsoft.com/office/drawing/2014/main" id="{B56307D7-D1D6-4D6A-BE6F-D5195C9F2D94}"/>
              </a:ext>
            </a:extLst>
          </p:cNvPr>
          <p:cNvPicPr>
            <a:picLocks noChangeAspect="1"/>
          </p:cNvPicPr>
          <p:nvPr/>
        </p:nvPicPr>
        <p:blipFill>
          <a:blip r:embed="rId4"/>
          <a:stretch>
            <a:fillRect/>
          </a:stretch>
        </p:blipFill>
        <p:spPr>
          <a:xfrm>
            <a:off x="327484" y="5784507"/>
            <a:ext cx="9567758" cy="1086724"/>
          </a:xfrm>
          <a:prstGeom prst="rect">
            <a:avLst/>
          </a:prstGeom>
        </p:spPr>
      </p:pic>
      <p:pic>
        <p:nvPicPr>
          <p:cNvPr id="15" name="Immagine 14">
            <a:extLst>
              <a:ext uri="{FF2B5EF4-FFF2-40B4-BE49-F238E27FC236}">
                <a16:creationId xmlns:a16="http://schemas.microsoft.com/office/drawing/2014/main" id="{DBD0C9AC-B2D2-4981-AB23-BB3D8DA67B4E}"/>
              </a:ext>
            </a:extLst>
          </p:cNvPr>
          <p:cNvPicPr>
            <a:picLocks noChangeAspect="1"/>
          </p:cNvPicPr>
          <p:nvPr/>
        </p:nvPicPr>
        <p:blipFill>
          <a:blip r:embed="rId5"/>
          <a:stretch>
            <a:fillRect/>
          </a:stretch>
        </p:blipFill>
        <p:spPr>
          <a:xfrm>
            <a:off x="9898769" y="6182710"/>
            <a:ext cx="1378634" cy="340953"/>
          </a:xfrm>
          <a:prstGeom prst="rect">
            <a:avLst/>
          </a:prstGeom>
        </p:spPr>
      </p:pic>
    </p:spTree>
    <p:extLst>
      <p:ext uri="{BB962C8B-B14F-4D97-AF65-F5344CB8AC3E}">
        <p14:creationId xmlns:p14="http://schemas.microsoft.com/office/powerpoint/2010/main" val="88488022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92217" y="177799"/>
            <a:ext cx="10917349" cy="659155"/>
          </a:xfrm>
          <a:prstGeom prst="rect">
            <a:avLst/>
          </a:prstGeom>
          <a:noFill/>
        </p:spPr>
        <p:txBody>
          <a:bodyPr vert="horz" wrap="square" lIns="0" tIns="12700" rIns="0" bIns="0" rtlCol="0">
            <a:spAutoFit/>
          </a:bodyPr>
          <a:lstStyle/>
          <a:p>
            <a:pPr marL="12700">
              <a:lnSpc>
                <a:spcPct val="100000"/>
              </a:lnSpc>
              <a:spcBef>
                <a:spcPts val="100"/>
              </a:spcBef>
            </a:pPr>
            <a:r>
              <a:rPr lang="it-IT" sz="2800" spc="-15" dirty="0">
                <a:solidFill>
                  <a:schemeClr val="accent1"/>
                </a:solidFill>
                <a:latin typeface="+mn-lt"/>
              </a:rPr>
              <a:t>6. CORSO AMMINISTRAZIONE DEL PERSONALE</a:t>
            </a:r>
            <a:br>
              <a:rPr lang="it-IT" sz="2800" spc="-15" dirty="0">
                <a:solidFill>
                  <a:schemeClr val="accent1"/>
                </a:solidFill>
                <a:latin typeface="+mn-lt"/>
              </a:rPr>
            </a:br>
            <a:r>
              <a:rPr lang="it-IT" sz="1400" spc="-15" dirty="0">
                <a:solidFill>
                  <a:schemeClr val="accent1"/>
                </a:solidFill>
                <a:latin typeface="+mn-lt"/>
              </a:rPr>
              <a:t>(OPAL Formazione </a:t>
            </a:r>
            <a:r>
              <a:rPr lang="it-IT" sz="1400" spc="-15" dirty="0" err="1">
                <a:solidFill>
                  <a:schemeClr val="accent1"/>
                </a:solidFill>
                <a:latin typeface="+mn-lt"/>
              </a:rPr>
              <a:t>Upskilling</a:t>
            </a:r>
            <a:r>
              <a:rPr lang="it-IT" sz="1400" spc="-15" dirty="0">
                <a:solidFill>
                  <a:schemeClr val="accent1"/>
                </a:solidFill>
                <a:latin typeface="+mn-lt"/>
              </a:rPr>
              <a:t> (RRSP) mirata al profilo TECNICO DELL’AMMINISTRAZIONE DEL PERSONALE)</a:t>
            </a:r>
          </a:p>
        </p:txBody>
      </p:sp>
      <p:sp>
        <p:nvSpPr>
          <p:cNvPr id="5" name="object 5"/>
          <p:cNvSpPr/>
          <p:nvPr/>
        </p:nvSpPr>
        <p:spPr>
          <a:xfrm>
            <a:off x="392217" y="1284145"/>
            <a:ext cx="9163755" cy="1592756"/>
          </a:xfrm>
          <a:custGeom>
            <a:avLst/>
            <a:gdLst/>
            <a:ahLst/>
            <a:cxnLst/>
            <a:rect l="l" t="t" r="r" b="b"/>
            <a:pathLst>
              <a:path w="7729220" h="954405">
                <a:moveTo>
                  <a:pt x="7644907" y="954299"/>
                </a:moveTo>
                <a:lnTo>
                  <a:pt x="83692" y="954299"/>
                </a:lnTo>
                <a:lnTo>
                  <a:pt x="51115" y="947723"/>
                </a:lnTo>
                <a:lnTo>
                  <a:pt x="24512" y="929787"/>
                </a:lnTo>
                <a:lnTo>
                  <a:pt x="6576" y="903184"/>
                </a:lnTo>
                <a:lnTo>
                  <a:pt x="0" y="870607"/>
                </a:lnTo>
                <a:lnTo>
                  <a:pt x="0" y="83692"/>
                </a:lnTo>
                <a:lnTo>
                  <a:pt x="6576" y="51115"/>
                </a:lnTo>
                <a:lnTo>
                  <a:pt x="24512" y="24512"/>
                </a:lnTo>
                <a:lnTo>
                  <a:pt x="51115" y="6576"/>
                </a:lnTo>
                <a:lnTo>
                  <a:pt x="83692" y="0"/>
                </a:lnTo>
                <a:lnTo>
                  <a:pt x="7644907" y="0"/>
                </a:lnTo>
                <a:lnTo>
                  <a:pt x="7691340" y="14061"/>
                </a:lnTo>
                <a:lnTo>
                  <a:pt x="7722229" y="51664"/>
                </a:lnTo>
                <a:lnTo>
                  <a:pt x="7728599" y="83692"/>
                </a:lnTo>
                <a:lnTo>
                  <a:pt x="7728599" y="870607"/>
                </a:lnTo>
                <a:lnTo>
                  <a:pt x="7722023" y="903184"/>
                </a:lnTo>
                <a:lnTo>
                  <a:pt x="7704087" y="929787"/>
                </a:lnTo>
                <a:lnTo>
                  <a:pt x="7677484" y="947723"/>
                </a:lnTo>
                <a:lnTo>
                  <a:pt x="7644907" y="954299"/>
                </a:lnTo>
                <a:close/>
              </a:path>
            </a:pathLst>
          </a:custGeom>
          <a:solidFill>
            <a:schemeClr val="bg2">
              <a:lumMod val="90000"/>
            </a:schemeClr>
          </a:solidFill>
        </p:spPr>
        <p:txBody>
          <a:bodyPr wrap="square" lIns="0" tIns="0" rIns="0" bIns="0" rtlCol="0"/>
          <a:lstStyle/>
          <a:p>
            <a:endParaRPr>
              <a:solidFill>
                <a:srgbClr val="00B050"/>
              </a:solidFill>
            </a:endParaRPr>
          </a:p>
        </p:txBody>
      </p:sp>
      <p:sp>
        <p:nvSpPr>
          <p:cNvPr id="11" name="object 11"/>
          <p:cNvSpPr txBox="1"/>
          <p:nvPr/>
        </p:nvSpPr>
        <p:spPr>
          <a:xfrm>
            <a:off x="11309566" y="-37879"/>
            <a:ext cx="302895" cy="604520"/>
          </a:xfrm>
          <a:prstGeom prst="rect">
            <a:avLst/>
          </a:prstGeom>
        </p:spPr>
        <p:txBody>
          <a:bodyPr vert="horz" wrap="square" lIns="0" tIns="12700" rIns="0" bIns="0" rtlCol="0">
            <a:spAutoFit/>
          </a:bodyPr>
          <a:lstStyle/>
          <a:p>
            <a:pPr marL="12700">
              <a:lnSpc>
                <a:spcPct val="100000"/>
              </a:lnSpc>
              <a:spcBef>
                <a:spcPts val="100"/>
              </a:spcBef>
            </a:pPr>
            <a:r>
              <a:rPr sz="3800" b="1" dirty="0">
                <a:solidFill>
                  <a:srgbClr val="FFFFFF"/>
                </a:solidFill>
                <a:latin typeface="Roboto"/>
                <a:cs typeface="Roboto"/>
              </a:rPr>
              <a:t>1</a:t>
            </a:r>
            <a:endParaRPr sz="3800">
              <a:latin typeface="Roboto"/>
              <a:cs typeface="Roboto"/>
            </a:endParaRPr>
          </a:p>
        </p:txBody>
      </p:sp>
      <p:sp>
        <p:nvSpPr>
          <p:cNvPr id="12" name="object 12"/>
          <p:cNvSpPr/>
          <p:nvPr/>
        </p:nvSpPr>
        <p:spPr>
          <a:xfrm>
            <a:off x="476905" y="3131028"/>
            <a:ext cx="4303643" cy="537585"/>
          </a:xfrm>
          <a:custGeom>
            <a:avLst/>
            <a:gdLst/>
            <a:ahLst/>
            <a:cxnLst/>
            <a:rect l="l" t="t" r="r" b="b"/>
            <a:pathLst>
              <a:path w="1596389" h="472439">
                <a:moveTo>
                  <a:pt x="1554614" y="471899"/>
                </a:moveTo>
                <a:lnTo>
                  <a:pt x="41385" y="471899"/>
                </a:lnTo>
                <a:lnTo>
                  <a:pt x="25276" y="468647"/>
                </a:lnTo>
                <a:lnTo>
                  <a:pt x="12121" y="459778"/>
                </a:lnTo>
                <a:lnTo>
                  <a:pt x="3252" y="446623"/>
                </a:lnTo>
                <a:lnTo>
                  <a:pt x="0" y="430514"/>
                </a:lnTo>
                <a:lnTo>
                  <a:pt x="0" y="41385"/>
                </a:lnTo>
                <a:lnTo>
                  <a:pt x="3252" y="25276"/>
                </a:lnTo>
                <a:lnTo>
                  <a:pt x="12121" y="12121"/>
                </a:lnTo>
                <a:lnTo>
                  <a:pt x="25276" y="3252"/>
                </a:lnTo>
                <a:lnTo>
                  <a:pt x="41385" y="0"/>
                </a:lnTo>
                <a:lnTo>
                  <a:pt x="1554614" y="0"/>
                </a:lnTo>
                <a:lnTo>
                  <a:pt x="1589046" y="18424"/>
                </a:lnTo>
                <a:lnTo>
                  <a:pt x="1595999" y="41385"/>
                </a:lnTo>
                <a:lnTo>
                  <a:pt x="1595999" y="430514"/>
                </a:lnTo>
                <a:lnTo>
                  <a:pt x="1592747" y="446623"/>
                </a:lnTo>
                <a:lnTo>
                  <a:pt x="1583878" y="459778"/>
                </a:lnTo>
                <a:lnTo>
                  <a:pt x="1570723" y="468647"/>
                </a:lnTo>
                <a:lnTo>
                  <a:pt x="1554614" y="471899"/>
                </a:lnTo>
                <a:close/>
              </a:path>
            </a:pathLst>
          </a:custGeom>
          <a:solidFill>
            <a:schemeClr val="accent1"/>
          </a:solidFill>
        </p:spPr>
        <p:txBody>
          <a:bodyPr wrap="square" lIns="0" tIns="0" rIns="0" bIns="0" rtlCol="0"/>
          <a:lstStyle/>
          <a:p>
            <a:endParaRPr/>
          </a:p>
        </p:txBody>
      </p:sp>
      <p:sp>
        <p:nvSpPr>
          <p:cNvPr id="13" name="object 13"/>
          <p:cNvSpPr txBox="1"/>
          <p:nvPr/>
        </p:nvSpPr>
        <p:spPr>
          <a:xfrm>
            <a:off x="529483" y="3236496"/>
            <a:ext cx="8889221" cy="320601"/>
          </a:xfrm>
          <a:prstGeom prst="rect">
            <a:avLst/>
          </a:prstGeom>
        </p:spPr>
        <p:txBody>
          <a:bodyPr vert="horz" wrap="square" lIns="0" tIns="12700" rIns="0" bIns="0" rtlCol="0">
            <a:spAutoFit/>
          </a:bodyPr>
          <a:lstStyle/>
          <a:p>
            <a:pPr marL="12700">
              <a:lnSpc>
                <a:spcPct val="100000"/>
              </a:lnSpc>
              <a:spcBef>
                <a:spcPts val="100"/>
              </a:spcBef>
            </a:pPr>
            <a:r>
              <a:rPr lang="it-IT" sz="2000" b="1" spc="-25" dirty="0">
                <a:solidFill>
                  <a:srgbClr val="FFFFFF"/>
                </a:solidFill>
                <a:cs typeface="Roboto"/>
              </a:rPr>
              <a:t>I partecipanti saranno in grado di:</a:t>
            </a:r>
            <a:endParaRPr sz="2000" dirty="0">
              <a:cs typeface="Roboto"/>
            </a:endParaRPr>
          </a:p>
        </p:txBody>
      </p:sp>
      <p:sp>
        <p:nvSpPr>
          <p:cNvPr id="14" name="object 14"/>
          <p:cNvSpPr/>
          <p:nvPr/>
        </p:nvSpPr>
        <p:spPr>
          <a:xfrm>
            <a:off x="10314198" y="1326990"/>
            <a:ext cx="1596390" cy="1625373"/>
          </a:xfrm>
          <a:custGeom>
            <a:avLst/>
            <a:gdLst/>
            <a:ahLst/>
            <a:cxnLst/>
            <a:rect l="l" t="t" r="r" b="b"/>
            <a:pathLst>
              <a:path w="1596390" h="954405">
                <a:moveTo>
                  <a:pt x="1512307" y="954299"/>
                </a:moveTo>
                <a:lnTo>
                  <a:pt x="83692" y="954299"/>
                </a:lnTo>
                <a:lnTo>
                  <a:pt x="51115" y="947723"/>
                </a:lnTo>
                <a:lnTo>
                  <a:pt x="24512" y="929787"/>
                </a:lnTo>
                <a:lnTo>
                  <a:pt x="6576" y="903184"/>
                </a:lnTo>
                <a:lnTo>
                  <a:pt x="0" y="870607"/>
                </a:lnTo>
                <a:lnTo>
                  <a:pt x="0" y="83692"/>
                </a:lnTo>
                <a:lnTo>
                  <a:pt x="6576" y="51115"/>
                </a:lnTo>
                <a:lnTo>
                  <a:pt x="24512" y="24512"/>
                </a:lnTo>
                <a:lnTo>
                  <a:pt x="51115" y="6576"/>
                </a:lnTo>
                <a:lnTo>
                  <a:pt x="83692" y="0"/>
                </a:lnTo>
                <a:lnTo>
                  <a:pt x="1512307" y="0"/>
                </a:lnTo>
                <a:lnTo>
                  <a:pt x="1558740" y="14061"/>
                </a:lnTo>
                <a:lnTo>
                  <a:pt x="1589629" y="51664"/>
                </a:lnTo>
                <a:lnTo>
                  <a:pt x="1595999" y="83692"/>
                </a:lnTo>
                <a:lnTo>
                  <a:pt x="1595999" y="870607"/>
                </a:lnTo>
                <a:lnTo>
                  <a:pt x="1589423" y="903184"/>
                </a:lnTo>
                <a:lnTo>
                  <a:pt x="1571487" y="929787"/>
                </a:lnTo>
                <a:lnTo>
                  <a:pt x="1544884" y="947723"/>
                </a:lnTo>
                <a:lnTo>
                  <a:pt x="1512307" y="954299"/>
                </a:lnTo>
                <a:close/>
              </a:path>
            </a:pathLst>
          </a:custGeom>
          <a:solidFill>
            <a:schemeClr val="accent1"/>
          </a:solidFill>
        </p:spPr>
        <p:txBody>
          <a:bodyPr wrap="square" lIns="0" tIns="0" rIns="0" bIns="0" rtlCol="0"/>
          <a:lstStyle/>
          <a:p>
            <a:endParaRPr/>
          </a:p>
        </p:txBody>
      </p:sp>
      <p:sp>
        <p:nvSpPr>
          <p:cNvPr id="15" name="object 15"/>
          <p:cNvSpPr txBox="1"/>
          <p:nvPr/>
        </p:nvSpPr>
        <p:spPr>
          <a:xfrm>
            <a:off x="10576618" y="1763517"/>
            <a:ext cx="1074190" cy="689932"/>
          </a:xfrm>
          <a:prstGeom prst="rect">
            <a:avLst/>
          </a:prstGeom>
        </p:spPr>
        <p:txBody>
          <a:bodyPr vert="horz" wrap="square" lIns="0" tIns="12700" rIns="0" bIns="0" rtlCol="0">
            <a:spAutoFit/>
          </a:bodyPr>
          <a:lstStyle/>
          <a:p>
            <a:pPr marL="12700">
              <a:lnSpc>
                <a:spcPct val="100000"/>
              </a:lnSpc>
              <a:spcBef>
                <a:spcPts val="100"/>
              </a:spcBef>
            </a:pPr>
            <a:r>
              <a:rPr lang="it-IT" sz="2200" b="1" spc="-5" dirty="0">
                <a:solidFill>
                  <a:srgbClr val="FFFFFF"/>
                </a:solidFill>
                <a:cs typeface="Roboto"/>
              </a:rPr>
              <a:t>Durata:40</a:t>
            </a:r>
            <a:r>
              <a:rPr sz="2200" b="1" spc="-80" dirty="0">
                <a:solidFill>
                  <a:srgbClr val="FFFFFF"/>
                </a:solidFill>
                <a:cs typeface="Roboto"/>
              </a:rPr>
              <a:t> </a:t>
            </a:r>
            <a:r>
              <a:rPr sz="2200" b="1" dirty="0">
                <a:solidFill>
                  <a:srgbClr val="FFFFFF"/>
                </a:solidFill>
                <a:cs typeface="Roboto"/>
              </a:rPr>
              <a:t>ORE</a:t>
            </a:r>
            <a:endParaRPr lang="it-IT" sz="2200" b="1" dirty="0">
              <a:solidFill>
                <a:srgbClr val="FFFFFF"/>
              </a:solidFill>
              <a:cs typeface="Roboto"/>
            </a:endParaRPr>
          </a:p>
        </p:txBody>
      </p:sp>
      <p:sp>
        <p:nvSpPr>
          <p:cNvPr id="19" name="CasellaDiTesto 18">
            <a:extLst>
              <a:ext uri="{FF2B5EF4-FFF2-40B4-BE49-F238E27FC236}">
                <a16:creationId xmlns:a16="http://schemas.microsoft.com/office/drawing/2014/main" id="{AE419993-E428-4926-B9BE-D3A35F84AC1A}"/>
              </a:ext>
            </a:extLst>
          </p:cNvPr>
          <p:cNvSpPr txBox="1"/>
          <p:nvPr/>
        </p:nvSpPr>
        <p:spPr>
          <a:xfrm>
            <a:off x="327484" y="901038"/>
            <a:ext cx="4171748" cy="400110"/>
          </a:xfrm>
          <a:prstGeom prst="rect">
            <a:avLst/>
          </a:prstGeom>
          <a:noFill/>
        </p:spPr>
        <p:txBody>
          <a:bodyPr wrap="square">
            <a:spAutoFit/>
          </a:bodyPr>
          <a:lstStyle/>
          <a:p>
            <a:pPr marL="59690">
              <a:lnSpc>
                <a:spcPct val="100000"/>
              </a:lnSpc>
              <a:spcBef>
                <a:spcPts val="1370"/>
              </a:spcBef>
            </a:pPr>
            <a:r>
              <a:rPr lang="it-IT" sz="2000" b="1" i="1" spc="20" dirty="0">
                <a:solidFill>
                  <a:schemeClr val="tx1">
                    <a:lumMod val="65000"/>
                    <a:lumOff val="35000"/>
                  </a:schemeClr>
                </a:solidFill>
                <a:cs typeface="Roboto"/>
              </a:rPr>
              <a:t>Upskilling</a:t>
            </a:r>
            <a:r>
              <a:rPr lang="it-IT" sz="2000" b="1" spc="20" dirty="0">
                <a:solidFill>
                  <a:schemeClr val="tx1">
                    <a:lumMod val="65000"/>
                    <a:lumOff val="35000"/>
                  </a:schemeClr>
                </a:solidFill>
                <a:cs typeface="Roboto"/>
              </a:rPr>
              <a:t> mirato al profilo di: </a:t>
            </a:r>
          </a:p>
        </p:txBody>
      </p:sp>
      <p:sp>
        <p:nvSpPr>
          <p:cNvPr id="23" name="object 13">
            <a:extLst>
              <a:ext uri="{FF2B5EF4-FFF2-40B4-BE49-F238E27FC236}">
                <a16:creationId xmlns:a16="http://schemas.microsoft.com/office/drawing/2014/main" id="{26655215-3172-4130-B17A-FB0B2AA9CF00}"/>
              </a:ext>
            </a:extLst>
          </p:cNvPr>
          <p:cNvSpPr txBox="1"/>
          <p:nvPr/>
        </p:nvSpPr>
        <p:spPr>
          <a:xfrm>
            <a:off x="1" y="3821236"/>
            <a:ext cx="9753600" cy="1951816"/>
          </a:xfrm>
          <a:prstGeom prst="rect">
            <a:avLst/>
          </a:prstGeom>
        </p:spPr>
        <p:txBody>
          <a:bodyPr vert="horz" wrap="square" lIns="0" tIns="12700" rIns="0" bIns="0" rtlCol="0">
            <a:spAutoFit/>
          </a:bodyPr>
          <a:lstStyle/>
          <a:p>
            <a:pPr marL="742950" lvl="1" indent="-285750">
              <a:spcBef>
                <a:spcPts val="10"/>
              </a:spcBef>
              <a:buFont typeface="Wingdings" panose="05000000000000000000" pitchFamily="2" charset="2"/>
              <a:buChar char="v"/>
            </a:pPr>
            <a:r>
              <a:rPr lang="it-IT" spc="-15" dirty="0">
                <a:solidFill>
                  <a:srgbClr val="333333"/>
                </a:solidFill>
              </a:rPr>
              <a:t>Gestire le procedure finalizzate agli adempimenti obbligatori di tipo previdenziale, fiscale e contributivo durante tutte le fasi del rapporto di lavoro, dall’assunzione alla cessazione, curandone la correttezza e coordinandosi con i soggetti interni ed esterni interessati (enti previdenziali e assicurativi, consulenti, ecc.)</a:t>
            </a:r>
          </a:p>
          <a:p>
            <a:pPr marL="742950" lvl="1" indent="-285750">
              <a:spcBef>
                <a:spcPts val="10"/>
              </a:spcBef>
              <a:buFont typeface="Wingdings" panose="05000000000000000000" pitchFamily="2" charset="2"/>
              <a:buChar char="v"/>
            </a:pPr>
            <a:r>
              <a:rPr lang="it-IT" spc="-15" dirty="0">
                <a:solidFill>
                  <a:srgbClr val="333333"/>
                </a:solidFill>
              </a:rPr>
              <a:t>Provvedere al calcolo della retribuzione del personale, elaborando la busta paga, nelle scadenze previste, con riferimento a tutti gli elementi della retribuzione, alla normativa vigente ed alle differenti tipologie contrattuali.</a:t>
            </a:r>
          </a:p>
        </p:txBody>
      </p:sp>
      <p:sp>
        <p:nvSpPr>
          <p:cNvPr id="18" name="object 7">
            <a:extLst>
              <a:ext uri="{FF2B5EF4-FFF2-40B4-BE49-F238E27FC236}">
                <a16:creationId xmlns:a16="http://schemas.microsoft.com/office/drawing/2014/main" id="{C3B0C9A0-3CD5-4D46-9AA9-7D688688CE43}"/>
              </a:ext>
            </a:extLst>
          </p:cNvPr>
          <p:cNvSpPr txBox="1"/>
          <p:nvPr/>
        </p:nvSpPr>
        <p:spPr>
          <a:xfrm>
            <a:off x="476905" y="1276975"/>
            <a:ext cx="8889221" cy="1574277"/>
          </a:xfrm>
          <a:prstGeom prst="rect">
            <a:avLst/>
          </a:prstGeom>
        </p:spPr>
        <p:txBody>
          <a:bodyPr vert="horz" wrap="square" lIns="0" tIns="173990" rIns="0" bIns="0" rtlCol="0">
            <a:spAutoFit/>
          </a:bodyPr>
          <a:lstStyle/>
          <a:p>
            <a:pPr marL="12700" marR="5080" algn="just">
              <a:lnSpc>
                <a:spcPct val="101600"/>
              </a:lnSpc>
              <a:spcBef>
                <a:spcPts val="985"/>
              </a:spcBef>
            </a:pPr>
            <a:r>
              <a:rPr lang="it-IT" b="1" spc="-15" dirty="0">
                <a:solidFill>
                  <a:srgbClr val="333333"/>
                </a:solidFill>
              </a:rPr>
              <a:t>Tecnico dell’amministrazione del personale: </a:t>
            </a:r>
            <a:r>
              <a:rPr lang="it-IT" spc="-15" dirty="0">
                <a:solidFill>
                  <a:srgbClr val="333333"/>
                </a:solidFill>
              </a:rPr>
              <a:t>si occupa degli adempimenti connessi al processo di gestione amministrativa e contabile del personale. Realizza, sulla base di procedure predeterminate e avvalendosi di applicativi gestionali dedicati, la produzione della documentazione prevista dalle normative che regolano il rapporto di lavoro e le principali operazioni amministrative e contabili in materia fiscale, assicurativa e contributiva. </a:t>
            </a:r>
          </a:p>
        </p:txBody>
      </p:sp>
      <p:sp>
        <p:nvSpPr>
          <p:cNvPr id="16" name="Rettangolo con angoli arrotondati 15">
            <a:extLst>
              <a:ext uri="{FF2B5EF4-FFF2-40B4-BE49-F238E27FC236}">
                <a16:creationId xmlns:a16="http://schemas.microsoft.com/office/drawing/2014/main" id="{B83FCAF9-E444-4DEA-B408-48DD75662A13}"/>
              </a:ext>
            </a:extLst>
          </p:cNvPr>
          <p:cNvSpPr/>
          <p:nvPr/>
        </p:nvSpPr>
        <p:spPr>
          <a:xfrm>
            <a:off x="10314198" y="3045067"/>
            <a:ext cx="1596390" cy="1014899"/>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00"/>
          </a:p>
        </p:txBody>
      </p:sp>
      <p:sp>
        <p:nvSpPr>
          <p:cNvPr id="17" name="CasellaDiTesto 16">
            <a:extLst>
              <a:ext uri="{FF2B5EF4-FFF2-40B4-BE49-F238E27FC236}">
                <a16:creationId xmlns:a16="http://schemas.microsoft.com/office/drawing/2014/main" id="{F18AF62D-F79E-4877-9738-2F552970AF4E}"/>
              </a:ext>
            </a:extLst>
          </p:cNvPr>
          <p:cNvSpPr txBox="1"/>
          <p:nvPr/>
        </p:nvSpPr>
        <p:spPr>
          <a:xfrm>
            <a:off x="10441568" y="3176050"/>
            <a:ext cx="1303588" cy="830997"/>
          </a:xfrm>
          <a:prstGeom prst="rect">
            <a:avLst/>
          </a:prstGeom>
          <a:noFill/>
        </p:spPr>
        <p:txBody>
          <a:bodyPr wrap="square" rtlCol="0">
            <a:spAutoFit/>
          </a:bodyPr>
          <a:lstStyle/>
          <a:p>
            <a:pPr algn="ctr"/>
            <a:r>
              <a:rPr lang="it-IT" sz="1600" b="1" dirty="0">
                <a:solidFill>
                  <a:schemeClr val="accent1"/>
                </a:solidFill>
                <a:hlinkClick r:id="rId3" action="ppaction://hlinksldjump">
                  <a:extLst>
                    <a:ext uri="{A12FA001-AC4F-418D-AE19-62706E023703}">
                      <ahyp:hlinkClr xmlns:ahyp="http://schemas.microsoft.com/office/drawing/2018/hyperlinkcolor" val="tx"/>
                    </a:ext>
                  </a:extLst>
                </a:hlinkClick>
              </a:rPr>
              <a:t>Vedi dettagli programma</a:t>
            </a:r>
            <a:endParaRPr lang="it-IT" sz="1600" b="1" dirty="0">
              <a:solidFill>
                <a:schemeClr val="accent1"/>
              </a:solidFill>
            </a:endParaRPr>
          </a:p>
        </p:txBody>
      </p:sp>
      <p:sp>
        <p:nvSpPr>
          <p:cNvPr id="2" name="Rettangolo con angoli arrotondati 1">
            <a:extLst>
              <a:ext uri="{FF2B5EF4-FFF2-40B4-BE49-F238E27FC236}">
                <a16:creationId xmlns:a16="http://schemas.microsoft.com/office/drawing/2014/main" id="{C8FE06CD-03AA-FD48-0409-17F9173AB189}"/>
              </a:ext>
            </a:extLst>
          </p:cNvPr>
          <p:cNvSpPr/>
          <p:nvPr/>
        </p:nvSpPr>
        <p:spPr>
          <a:xfrm>
            <a:off x="10314198" y="4296114"/>
            <a:ext cx="1596390" cy="819725"/>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00"/>
          </a:p>
        </p:txBody>
      </p:sp>
      <p:sp>
        <p:nvSpPr>
          <p:cNvPr id="7" name="CasellaDiTesto 6">
            <a:extLst>
              <a:ext uri="{FF2B5EF4-FFF2-40B4-BE49-F238E27FC236}">
                <a16:creationId xmlns:a16="http://schemas.microsoft.com/office/drawing/2014/main" id="{1B10C237-AB04-CB11-1285-FA2FCB53E45E}"/>
              </a:ext>
            </a:extLst>
          </p:cNvPr>
          <p:cNvSpPr txBox="1"/>
          <p:nvPr/>
        </p:nvSpPr>
        <p:spPr>
          <a:xfrm>
            <a:off x="10424034" y="4413588"/>
            <a:ext cx="1366207" cy="584775"/>
          </a:xfrm>
          <a:prstGeom prst="rect">
            <a:avLst/>
          </a:prstGeom>
          <a:noFill/>
        </p:spPr>
        <p:txBody>
          <a:bodyPr wrap="square" rtlCol="0">
            <a:spAutoFit/>
          </a:bodyPr>
          <a:lstStyle/>
          <a:p>
            <a:pPr algn="ctr"/>
            <a:r>
              <a:rPr lang="it-IT" sz="1600" b="1" dirty="0">
                <a:solidFill>
                  <a:schemeClr val="accent1"/>
                </a:solidFill>
                <a:hlinkClick r:id="rId4" action="ppaction://hlinksldjump"/>
              </a:rPr>
              <a:t>Vedi indice corsi</a:t>
            </a:r>
            <a:endParaRPr lang="it-IT" sz="1600" b="1" dirty="0">
              <a:solidFill>
                <a:schemeClr val="accent1"/>
              </a:solidFill>
            </a:endParaRPr>
          </a:p>
        </p:txBody>
      </p:sp>
      <p:pic>
        <p:nvPicPr>
          <p:cNvPr id="20" name="Immagine 19">
            <a:extLst>
              <a:ext uri="{FF2B5EF4-FFF2-40B4-BE49-F238E27FC236}">
                <a16:creationId xmlns:a16="http://schemas.microsoft.com/office/drawing/2014/main" id="{BF8D1EC7-F279-4192-884A-517FF9856BCD}"/>
              </a:ext>
            </a:extLst>
          </p:cNvPr>
          <p:cNvPicPr>
            <a:picLocks noChangeAspect="1"/>
          </p:cNvPicPr>
          <p:nvPr/>
        </p:nvPicPr>
        <p:blipFill>
          <a:blip r:embed="rId5"/>
          <a:stretch>
            <a:fillRect/>
          </a:stretch>
        </p:blipFill>
        <p:spPr>
          <a:xfrm>
            <a:off x="327484" y="5765584"/>
            <a:ext cx="9567758" cy="1086724"/>
          </a:xfrm>
          <a:prstGeom prst="rect">
            <a:avLst/>
          </a:prstGeom>
        </p:spPr>
      </p:pic>
      <p:pic>
        <p:nvPicPr>
          <p:cNvPr id="21" name="Immagine 20">
            <a:extLst>
              <a:ext uri="{FF2B5EF4-FFF2-40B4-BE49-F238E27FC236}">
                <a16:creationId xmlns:a16="http://schemas.microsoft.com/office/drawing/2014/main" id="{7ED3AE41-4214-40D1-AD0E-C3EACB6E4544}"/>
              </a:ext>
            </a:extLst>
          </p:cNvPr>
          <p:cNvPicPr>
            <a:picLocks noChangeAspect="1"/>
          </p:cNvPicPr>
          <p:nvPr/>
        </p:nvPicPr>
        <p:blipFill>
          <a:blip r:embed="rId6"/>
          <a:stretch>
            <a:fillRect/>
          </a:stretch>
        </p:blipFill>
        <p:spPr>
          <a:xfrm>
            <a:off x="9898769" y="6182710"/>
            <a:ext cx="1378634" cy="340953"/>
          </a:xfrm>
          <a:prstGeom prst="rect">
            <a:avLst/>
          </a:prstGeom>
        </p:spPr>
      </p:pic>
    </p:spTree>
    <p:extLst>
      <p:ext uri="{BB962C8B-B14F-4D97-AF65-F5344CB8AC3E}">
        <p14:creationId xmlns:p14="http://schemas.microsoft.com/office/powerpoint/2010/main" val="17686310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object 11"/>
          <p:cNvSpPr txBox="1"/>
          <p:nvPr/>
        </p:nvSpPr>
        <p:spPr>
          <a:xfrm>
            <a:off x="11659486" y="484732"/>
            <a:ext cx="302895" cy="604520"/>
          </a:xfrm>
          <a:prstGeom prst="rect">
            <a:avLst/>
          </a:prstGeom>
        </p:spPr>
        <p:txBody>
          <a:bodyPr vert="horz" wrap="square" lIns="0" tIns="12700" rIns="0" bIns="0" rtlCol="0">
            <a:spAutoFit/>
          </a:bodyPr>
          <a:lstStyle/>
          <a:p>
            <a:pPr marL="12700">
              <a:lnSpc>
                <a:spcPct val="100000"/>
              </a:lnSpc>
              <a:spcBef>
                <a:spcPts val="100"/>
              </a:spcBef>
            </a:pPr>
            <a:r>
              <a:rPr sz="3800" b="1" dirty="0">
                <a:solidFill>
                  <a:srgbClr val="FFFFFF"/>
                </a:solidFill>
                <a:cs typeface="Roboto"/>
              </a:rPr>
              <a:t>1</a:t>
            </a:r>
            <a:endParaRPr sz="3800">
              <a:cs typeface="Roboto"/>
            </a:endParaRPr>
          </a:p>
        </p:txBody>
      </p:sp>
      <p:sp>
        <p:nvSpPr>
          <p:cNvPr id="12" name="object 3">
            <a:extLst>
              <a:ext uri="{FF2B5EF4-FFF2-40B4-BE49-F238E27FC236}">
                <a16:creationId xmlns:a16="http://schemas.microsoft.com/office/drawing/2014/main" id="{150AB436-1CFB-9109-7FA3-97F78A0F2B2A}"/>
              </a:ext>
            </a:extLst>
          </p:cNvPr>
          <p:cNvSpPr txBox="1">
            <a:spLocks noGrp="1"/>
          </p:cNvSpPr>
          <p:nvPr>
            <p:ph type="title"/>
          </p:nvPr>
        </p:nvSpPr>
        <p:spPr>
          <a:xfrm>
            <a:off x="464447" y="243900"/>
            <a:ext cx="10917349" cy="659155"/>
          </a:xfrm>
          <a:prstGeom prst="rect">
            <a:avLst/>
          </a:prstGeom>
          <a:noFill/>
        </p:spPr>
        <p:txBody>
          <a:bodyPr vert="horz" wrap="square" lIns="0" tIns="12700" rIns="0" bIns="0" rtlCol="0">
            <a:spAutoFit/>
          </a:bodyPr>
          <a:lstStyle/>
          <a:p>
            <a:pPr marL="12700">
              <a:lnSpc>
                <a:spcPct val="100000"/>
              </a:lnSpc>
              <a:spcBef>
                <a:spcPts val="100"/>
              </a:spcBef>
            </a:pPr>
            <a:r>
              <a:rPr lang="it-IT" sz="2800" spc="-15" dirty="0">
                <a:solidFill>
                  <a:schemeClr val="accent1"/>
                </a:solidFill>
                <a:latin typeface="+mn-lt"/>
              </a:rPr>
              <a:t>6. CORSO AMMINISTRAZIONE DEL PERSONALE</a:t>
            </a:r>
            <a:br>
              <a:rPr lang="it-IT" sz="2800" spc="-15" dirty="0">
                <a:solidFill>
                  <a:schemeClr val="accent1"/>
                </a:solidFill>
                <a:latin typeface="+mn-lt"/>
              </a:rPr>
            </a:br>
            <a:r>
              <a:rPr lang="it-IT" sz="1400" spc="-15" dirty="0">
                <a:solidFill>
                  <a:schemeClr val="accent1"/>
                </a:solidFill>
                <a:latin typeface="+mn-lt"/>
              </a:rPr>
              <a:t>(OPAL Formazione </a:t>
            </a:r>
            <a:r>
              <a:rPr lang="it-IT" sz="1400" spc="-15" dirty="0" err="1">
                <a:solidFill>
                  <a:schemeClr val="accent1"/>
                </a:solidFill>
                <a:latin typeface="+mn-lt"/>
              </a:rPr>
              <a:t>Upskilling</a:t>
            </a:r>
            <a:r>
              <a:rPr lang="it-IT" sz="1400" spc="-15" dirty="0">
                <a:solidFill>
                  <a:schemeClr val="accent1"/>
                </a:solidFill>
                <a:latin typeface="+mn-lt"/>
              </a:rPr>
              <a:t> (RRSP) mirata al profilo TECNICO DELL’AMMINISTRAZIONE DEL PERSONALE)</a:t>
            </a:r>
          </a:p>
        </p:txBody>
      </p:sp>
      <p:sp>
        <p:nvSpPr>
          <p:cNvPr id="13" name="CasellaDiTesto 12">
            <a:extLst>
              <a:ext uri="{FF2B5EF4-FFF2-40B4-BE49-F238E27FC236}">
                <a16:creationId xmlns:a16="http://schemas.microsoft.com/office/drawing/2014/main" id="{A2657439-937C-451B-9089-1A7054E275E2}"/>
              </a:ext>
            </a:extLst>
          </p:cNvPr>
          <p:cNvSpPr txBox="1"/>
          <p:nvPr/>
        </p:nvSpPr>
        <p:spPr>
          <a:xfrm>
            <a:off x="374660" y="2060411"/>
            <a:ext cx="8408631" cy="3724096"/>
          </a:xfrm>
          <a:prstGeom prst="rect">
            <a:avLst/>
          </a:prstGeom>
          <a:noFill/>
        </p:spPr>
        <p:txBody>
          <a:bodyPr wrap="square" rtlCol="0">
            <a:spAutoFit/>
          </a:bodyPr>
          <a:lstStyle/>
          <a:p>
            <a:pPr marL="342900" indent="-342900" algn="just">
              <a:lnSpc>
                <a:spcPct val="150000"/>
              </a:lnSpc>
              <a:buFont typeface="Arial" panose="020B0604020202020204" pitchFamily="34" charset="0"/>
              <a:buChar char="•"/>
            </a:pPr>
            <a:r>
              <a:rPr lang="it-IT" dirty="0"/>
              <a:t>Elaborazione manuale cedolini paga</a:t>
            </a:r>
          </a:p>
          <a:p>
            <a:pPr marL="342900" indent="-342900" algn="just">
              <a:lnSpc>
                <a:spcPct val="150000"/>
              </a:lnSpc>
              <a:buFont typeface="Arial" panose="020B0604020202020204" pitchFamily="34" charset="0"/>
              <a:buChar char="•"/>
            </a:pPr>
            <a:r>
              <a:rPr lang="it-IT" dirty="0">
                <a:effectLst/>
                <a:ea typeface="Calibri" panose="020F0502020204030204" pitchFamily="34" charset="0"/>
                <a:cs typeface="Times New Roman" panose="02020603050405020304" pitchFamily="18" charset="0"/>
              </a:rPr>
              <a:t>Adempimenti obbligatori dei datori di lavoro: Inail e Inps</a:t>
            </a:r>
          </a:p>
          <a:p>
            <a:pPr marL="342900" indent="-342900" algn="just">
              <a:lnSpc>
                <a:spcPct val="150000"/>
              </a:lnSpc>
              <a:buFont typeface="Arial" panose="020B0604020202020204" pitchFamily="34" charset="0"/>
              <a:buChar char="•"/>
            </a:pPr>
            <a:r>
              <a:rPr lang="it-IT" dirty="0">
                <a:effectLst/>
                <a:ea typeface="Calibri" panose="020F0502020204030204" pitchFamily="34" charset="0"/>
                <a:cs typeface="Times New Roman" panose="02020603050405020304" pitchFamily="18" charset="0"/>
              </a:rPr>
              <a:t>Prestatore di lavoro subordinato e varie tipologie di contratti di lavoro subordinato</a:t>
            </a:r>
          </a:p>
          <a:p>
            <a:pPr marL="342900" indent="-342900" algn="just">
              <a:lnSpc>
                <a:spcPct val="150000"/>
              </a:lnSpc>
              <a:buFont typeface="Arial" panose="020B0604020202020204" pitchFamily="34" charset="0"/>
              <a:buChar char="•"/>
            </a:pPr>
            <a:r>
              <a:rPr lang="it-IT" dirty="0">
                <a:ea typeface="Calibri" panose="020F0502020204030204" pitchFamily="34" charset="0"/>
                <a:cs typeface="Times New Roman" panose="02020603050405020304" pitchFamily="18" charset="0"/>
              </a:rPr>
              <a:t>A</a:t>
            </a:r>
            <a:r>
              <a:rPr lang="it-IT" dirty="0">
                <a:effectLst/>
                <a:ea typeface="Calibri" panose="020F0502020204030204" pitchFamily="34" charset="0"/>
                <a:cs typeface="Times New Roman" panose="02020603050405020304" pitchFamily="18" charset="0"/>
              </a:rPr>
              <a:t>ssunzioni agevolate per i datori di lavoro</a:t>
            </a:r>
          </a:p>
          <a:p>
            <a:pPr marL="342900" indent="-342900" algn="just">
              <a:lnSpc>
                <a:spcPct val="150000"/>
              </a:lnSpc>
              <a:buFont typeface="Arial" panose="020B0604020202020204" pitchFamily="34" charset="0"/>
              <a:buChar char="•"/>
            </a:pPr>
            <a:r>
              <a:rPr lang="it-IT" dirty="0">
                <a:ea typeface="Calibri" panose="020F0502020204030204" pitchFamily="34" charset="0"/>
                <a:cs typeface="Times New Roman" panose="02020603050405020304" pitchFamily="18" charset="0"/>
              </a:rPr>
              <a:t>O</a:t>
            </a:r>
            <a:r>
              <a:rPr lang="it-IT" dirty="0">
                <a:effectLst/>
                <a:ea typeface="Calibri" panose="020F0502020204030204" pitchFamily="34" charset="0"/>
                <a:cs typeface="Times New Roman" panose="02020603050405020304" pitchFamily="18" charset="0"/>
              </a:rPr>
              <a:t>rario di lavoro e retribuzione</a:t>
            </a:r>
          </a:p>
          <a:p>
            <a:pPr marL="342900" indent="-342900" algn="just">
              <a:lnSpc>
                <a:spcPct val="150000"/>
              </a:lnSpc>
              <a:buFont typeface="Arial" panose="020B0604020202020204" pitchFamily="34" charset="0"/>
              <a:buChar char="•"/>
            </a:pPr>
            <a:r>
              <a:rPr lang="it-IT" dirty="0">
                <a:ea typeface="Calibri" panose="020F0502020204030204" pitchFamily="34" charset="0"/>
                <a:cs typeface="Times New Roman" panose="02020603050405020304" pitchFamily="18" charset="0"/>
              </a:rPr>
              <a:t>M</a:t>
            </a:r>
            <a:r>
              <a:rPr lang="it-IT" dirty="0">
                <a:effectLst/>
                <a:ea typeface="Calibri" panose="020F0502020204030204" pitchFamily="34" charset="0"/>
                <a:cs typeface="Times New Roman" panose="02020603050405020304" pitchFamily="18" charset="0"/>
              </a:rPr>
              <a:t>alattia, infortunio, maternità, </a:t>
            </a:r>
            <a:r>
              <a:rPr lang="it-IT" dirty="0" err="1">
                <a:effectLst/>
                <a:ea typeface="Calibri" panose="020F0502020204030204" pitchFamily="34" charset="0"/>
                <a:cs typeface="Times New Roman" panose="02020603050405020304" pitchFamily="18" charset="0"/>
              </a:rPr>
              <a:t>NASpI</a:t>
            </a:r>
            <a:endParaRPr lang="it-IT" dirty="0">
              <a:effectLst/>
              <a:ea typeface="Calibri" panose="020F0502020204030204" pitchFamily="34" charset="0"/>
              <a:cs typeface="Times New Roman" panose="02020603050405020304" pitchFamily="18" charset="0"/>
            </a:endParaRPr>
          </a:p>
          <a:p>
            <a:pPr marL="342900" indent="-342900" algn="just">
              <a:lnSpc>
                <a:spcPct val="150000"/>
              </a:lnSpc>
              <a:buFont typeface="Arial" panose="020B0604020202020204" pitchFamily="34" charset="0"/>
              <a:buChar char="•"/>
            </a:pPr>
            <a:r>
              <a:rPr lang="it-IT" dirty="0">
                <a:ea typeface="Calibri" panose="020F0502020204030204" pitchFamily="34" charset="0"/>
                <a:cs typeface="Times New Roman" panose="02020603050405020304" pitchFamily="18" charset="0"/>
              </a:rPr>
              <a:t>C</a:t>
            </a:r>
            <a:r>
              <a:rPr lang="it-IT" dirty="0">
                <a:effectLst/>
                <a:ea typeface="Calibri" panose="020F0502020204030204" pitchFamily="34" charset="0"/>
                <a:cs typeface="Times New Roman" panose="02020603050405020304" pitchFamily="18" charset="0"/>
              </a:rPr>
              <a:t>essazione del rapporto di lavoro: dimissioni e licenziamento, </a:t>
            </a:r>
            <a:r>
              <a:rPr lang="it-IT" dirty="0" err="1">
                <a:effectLst/>
                <a:ea typeface="Calibri" panose="020F0502020204030204" pitchFamily="34" charset="0"/>
                <a:cs typeface="Times New Roman" panose="02020603050405020304" pitchFamily="18" charset="0"/>
              </a:rPr>
              <a:t>NASpI</a:t>
            </a:r>
            <a:endParaRPr lang="it-IT" dirty="0">
              <a:effectLst/>
              <a:ea typeface="Calibri" panose="020F0502020204030204" pitchFamily="34" charset="0"/>
              <a:cs typeface="Times New Roman" panose="02020603050405020304" pitchFamily="18" charset="0"/>
            </a:endParaRPr>
          </a:p>
          <a:p>
            <a:pPr algn="just"/>
            <a:endParaRPr lang="it-IT" sz="2000" dirty="0">
              <a:effectLst/>
              <a:ea typeface="Calibri" panose="020F0502020204030204" pitchFamily="34" charset="0"/>
              <a:cs typeface="Times New Roman" panose="02020603050405020304" pitchFamily="18" charset="0"/>
            </a:endParaRPr>
          </a:p>
        </p:txBody>
      </p:sp>
      <p:sp>
        <p:nvSpPr>
          <p:cNvPr id="8" name="object 12">
            <a:extLst>
              <a:ext uri="{FF2B5EF4-FFF2-40B4-BE49-F238E27FC236}">
                <a16:creationId xmlns:a16="http://schemas.microsoft.com/office/drawing/2014/main" id="{17C2F1E2-9C05-490A-85B0-6AB351D54A80}"/>
              </a:ext>
            </a:extLst>
          </p:cNvPr>
          <p:cNvSpPr/>
          <p:nvPr/>
        </p:nvSpPr>
        <p:spPr>
          <a:xfrm>
            <a:off x="467127" y="1362997"/>
            <a:ext cx="2593435" cy="537585"/>
          </a:xfrm>
          <a:custGeom>
            <a:avLst/>
            <a:gdLst/>
            <a:ahLst/>
            <a:cxnLst/>
            <a:rect l="l" t="t" r="r" b="b"/>
            <a:pathLst>
              <a:path w="1596389" h="472439">
                <a:moveTo>
                  <a:pt x="1554614" y="471899"/>
                </a:moveTo>
                <a:lnTo>
                  <a:pt x="41385" y="471899"/>
                </a:lnTo>
                <a:lnTo>
                  <a:pt x="25276" y="468647"/>
                </a:lnTo>
                <a:lnTo>
                  <a:pt x="12121" y="459778"/>
                </a:lnTo>
                <a:lnTo>
                  <a:pt x="3252" y="446623"/>
                </a:lnTo>
                <a:lnTo>
                  <a:pt x="0" y="430514"/>
                </a:lnTo>
                <a:lnTo>
                  <a:pt x="0" y="41385"/>
                </a:lnTo>
                <a:lnTo>
                  <a:pt x="3252" y="25276"/>
                </a:lnTo>
                <a:lnTo>
                  <a:pt x="12121" y="12121"/>
                </a:lnTo>
                <a:lnTo>
                  <a:pt x="25276" y="3252"/>
                </a:lnTo>
                <a:lnTo>
                  <a:pt x="41385" y="0"/>
                </a:lnTo>
                <a:lnTo>
                  <a:pt x="1554614" y="0"/>
                </a:lnTo>
                <a:lnTo>
                  <a:pt x="1589046" y="18424"/>
                </a:lnTo>
                <a:lnTo>
                  <a:pt x="1595999" y="41385"/>
                </a:lnTo>
                <a:lnTo>
                  <a:pt x="1595999" y="430514"/>
                </a:lnTo>
                <a:lnTo>
                  <a:pt x="1592747" y="446623"/>
                </a:lnTo>
                <a:lnTo>
                  <a:pt x="1583878" y="459778"/>
                </a:lnTo>
                <a:lnTo>
                  <a:pt x="1570723" y="468647"/>
                </a:lnTo>
                <a:lnTo>
                  <a:pt x="1554614" y="471899"/>
                </a:lnTo>
                <a:close/>
              </a:path>
            </a:pathLst>
          </a:custGeom>
          <a:solidFill>
            <a:schemeClr val="accent1"/>
          </a:solidFill>
        </p:spPr>
        <p:txBody>
          <a:bodyPr wrap="square" lIns="0" tIns="0" rIns="0" bIns="0" rtlCol="0"/>
          <a:lstStyle/>
          <a:p>
            <a:endParaRPr/>
          </a:p>
        </p:txBody>
      </p:sp>
      <p:sp>
        <p:nvSpPr>
          <p:cNvPr id="9" name="CasellaDiTesto 8">
            <a:extLst>
              <a:ext uri="{FF2B5EF4-FFF2-40B4-BE49-F238E27FC236}">
                <a16:creationId xmlns:a16="http://schemas.microsoft.com/office/drawing/2014/main" id="{12D65B17-B4A7-4E73-A334-7AAE9683F0B3}"/>
              </a:ext>
            </a:extLst>
          </p:cNvPr>
          <p:cNvSpPr txBox="1"/>
          <p:nvPr/>
        </p:nvSpPr>
        <p:spPr>
          <a:xfrm>
            <a:off x="568607" y="1431734"/>
            <a:ext cx="4171748" cy="400110"/>
          </a:xfrm>
          <a:prstGeom prst="rect">
            <a:avLst/>
          </a:prstGeom>
          <a:noFill/>
        </p:spPr>
        <p:txBody>
          <a:bodyPr wrap="square">
            <a:spAutoFit/>
          </a:bodyPr>
          <a:lstStyle/>
          <a:p>
            <a:pPr marL="59690">
              <a:lnSpc>
                <a:spcPct val="100000"/>
              </a:lnSpc>
              <a:spcBef>
                <a:spcPts val="1370"/>
              </a:spcBef>
            </a:pPr>
            <a:r>
              <a:rPr lang="it-IT" sz="2000" b="1" i="1" spc="20" dirty="0">
                <a:solidFill>
                  <a:schemeClr val="bg1"/>
                </a:solidFill>
                <a:cs typeface="Roboto"/>
              </a:rPr>
              <a:t>Programma corso:</a:t>
            </a:r>
            <a:endParaRPr lang="it-IT" sz="2000" b="1" spc="20" dirty="0">
              <a:solidFill>
                <a:schemeClr val="bg1"/>
              </a:solidFill>
              <a:cs typeface="Roboto"/>
            </a:endParaRPr>
          </a:p>
        </p:txBody>
      </p:sp>
      <p:sp>
        <p:nvSpPr>
          <p:cNvPr id="3" name="Rettangolo con angoli arrotondati 2">
            <a:extLst>
              <a:ext uri="{FF2B5EF4-FFF2-40B4-BE49-F238E27FC236}">
                <a16:creationId xmlns:a16="http://schemas.microsoft.com/office/drawing/2014/main" id="{D5760340-11E4-7E8C-BED9-774615176D0C}"/>
              </a:ext>
            </a:extLst>
          </p:cNvPr>
          <p:cNvSpPr/>
          <p:nvPr/>
        </p:nvSpPr>
        <p:spPr>
          <a:xfrm>
            <a:off x="9737280" y="4205182"/>
            <a:ext cx="1596390" cy="819725"/>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00"/>
          </a:p>
        </p:txBody>
      </p:sp>
      <p:sp>
        <p:nvSpPr>
          <p:cNvPr id="5" name="CasellaDiTesto 4">
            <a:extLst>
              <a:ext uri="{FF2B5EF4-FFF2-40B4-BE49-F238E27FC236}">
                <a16:creationId xmlns:a16="http://schemas.microsoft.com/office/drawing/2014/main" id="{7821A68B-F432-AF75-DABA-E14E64A3B827}"/>
              </a:ext>
            </a:extLst>
          </p:cNvPr>
          <p:cNvSpPr txBox="1"/>
          <p:nvPr/>
        </p:nvSpPr>
        <p:spPr>
          <a:xfrm>
            <a:off x="9847116" y="4322656"/>
            <a:ext cx="1366207" cy="584775"/>
          </a:xfrm>
          <a:prstGeom prst="rect">
            <a:avLst/>
          </a:prstGeom>
          <a:noFill/>
        </p:spPr>
        <p:txBody>
          <a:bodyPr wrap="square" rtlCol="0">
            <a:spAutoFit/>
          </a:bodyPr>
          <a:lstStyle/>
          <a:p>
            <a:pPr algn="ctr"/>
            <a:r>
              <a:rPr lang="it-IT" sz="1600" b="1" dirty="0">
                <a:solidFill>
                  <a:schemeClr val="accent1"/>
                </a:solidFill>
                <a:hlinkClick r:id="rId3" action="ppaction://hlinksldjump"/>
              </a:rPr>
              <a:t>Vedi indice corsi</a:t>
            </a:r>
            <a:endParaRPr lang="it-IT" sz="1600" b="1" dirty="0">
              <a:solidFill>
                <a:schemeClr val="accent1"/>
              </a:solidFill>
            </a:endParaRPr>
          </a:p>
        </p:txBody>
      </p:sp>
      <p:pic>
        <p:nvPicPr>
          <p:cNvPr id="14" name="Immagine 13">
            <a:extLst>
              <a:ext uri="{FF2B5EF4-FFF2-40B4-BE49-F238E27FC236}">
                <a16:creationId xmlns:a16="http://schemas.microsoft.com/office/drawing/2014/main" id="{941775FE-28AF-4BF5-9F0D-CB0281812AAF}"/>
              </a:ext>
            </a:extLst>
          </p:cNvPr>
          <p:cNvPicPr>
            <a:picLocks noChangeAspect="1"/>
          </p:cNvPicPr>
          <p:nvPr/>
        </p:nvPicPr>
        <p:blipFill>
          <a:blip r:embed="rId4"/>
          <a:stretch>
            <a:fillRect/>
          </a:stretch>
        </p:blipFill>
        <p:spPr>
          <a:xfrm>
            <a:off x="327484" y="5784507"/>
            <a:ext cx="9567758" cy="1086724"/>
          </a:xfrm>
          <a:prstGeom prst="rect">
            <a:avLst/>
          </a:prstGeom>
        </p:spPr>
      </p:pic>
      <p:pic>
        <p:nvPicPr>
          <p:cNvPr id="15" name="Immagine 14">
            <a:extLst>
              <a:ext uri="{FF2B5EF4-FFF2-40B4-BE49-F238E27FC236}">
                <a16:creationId xmlns:a16="http://schemas.microsoft.com/office/drawing/2014/main" id="{D822EC1B-9814-4FBC-B761-F61DFAA55AB9}"/>
              </a:ext>
            </a:extLst>
          </p:cNvPr>
          <p:cNvPicPr>
            <a:picLocks noChangeAspect="1"/>
          </p:cNvPicPr>
          <p:nvPr/>
        </p:nvPicPr>
        <p:blipFill>
          <a:blip r:embed="rId5"/>
          <a:stretch>
            <a:fillRect/>
          </a:stretch>
        </p:blipFill>
        <p:spPr>
          <a:xfrm>
            <a:off x="9898769" y="6182710"/>
            <a:ext cx="1378634" cy="340953"/>
          </a:xfrm>
          <a:prstGeom prst="rect">
            <a:avLst/>
          </a:prstGeom>
        </p:spPr>
      </p:pic>
    </p:spTree>
    <p:extLst>
      <p:ext uri="{BB962C8B-B14F-4D97-AF65-F5344CB8AC3E}">
        <p14:creationId xmlns:p14="http://schemas.microsoft.com/office/powerpoint/2010/main" val="149592284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34429" y="194237"/>
            <a:ext cx="11262183" cy="659155"/>
          </a:xfrm>
          <a:prstGeom prst="rect">
            <a:avLst/>
          </a:prstGeom>
        </p:spPr>
        <p:txBody>
          <a:bodyPr vert="horz" wrap="square" lIns="0" tIns="12700" rIns="0" bIns="0" rtlCol="0">
            <a:spAutoFit/>
          </a:bodyPr>
          <a:lstStyle/>
          <a:p>
            <a:pPr marL="12700">
              <a:lnSpc>
                <a:spcPct val="100000"/>
              </a:lnSpc>
              <a:spcBef>
                <a:spcPts val="100"/>
              </a:spcBef>
            </a:pPr>
            <a:r>
              <a:rPr lang="it-IT" sz="2800" spc="-15" dirty="0">
                <a:solidFill>
                  <a:schemeClr val="accent1"/>
                </a:solidFill>
                <a:latin typeface="+mn-lt"/>
              </a:rPr>
              <a:t>7. CORSO  GESTIONE DELLE RISORSE UMANE </a:t>
            </a:r>
            <a:br>
              <a:rPr lang="it-IT" sz="2800" spc="-15" dirty="0">
                <a:solidFill>
                  <a:schemeClr val="accent1"/>
                </a:solidFill>
                <a:latin typeface="+mn-lt"/>
              </a:rPr>
            </a:br>
            <a:r>
              <a:rPr lang="it-IT" sz="1400" spc="-15" dirty="0">
                <a:solidFill>
                  <a:schemeClr val="accent1"/>
                </a:solidFill>
                <a:latin typeface="+mn-lt"/>
              </a:rPr>
              <a:t>(OPAL Formazione </a:t>
            </a:r>
            <a:r>
              <a:rPr lang="it-IT" sz="1400" spc="-15" dirty="0" err="1">
                <a:solidFill>
                  <a:schemeClr val="accent1"/>
                </a:solidFill>
                <a:latin typeface="+mn-lt"/>
              </a:rPr>
              <a:t>Upskilling</a:t>
            </a:r>
            <a:r>
              <a:rPr lang="it-IT" sz="1400" spc="-15" dirty="0">
                <a:solidFill>
                  <a:schemeClr val="accent1"/>
                </a:solidFill>
                <a:latin typeface="+mn-lt"/>
              </a:rPr>
              <a:t> (RRSP) mirata al profilo ESPERTO DELLA GESTIONE E DELLO SVILUPPO DELLE RISORSE UMANE)</a:t>
            </a:r>
          </a:p>
        </p:txBody>
      </p:sp>
      <p:sp>
        <p:nvSpPr>
          <p:cNvPr id="5" name="object 5"/>
          <p:cNvSpPr/>
          <p:nvPr/>
        </p:nvSpPr>
        <p:spPr>
          <a:xfrm>
            <a:off x="283144" y="1373084"/>
            <a:ext cx="8684394" cy="1592756"/>
          </a:xfrm>
          <a:custGeom>
            <a:avLst/>
            <a:gdLst/>
            <a:ahLst/>
            <a:cxnLst/>
            <a:rect l="l" t="t" r="r" b="b"/>
            <a:pathLst>
              <a:path w="7729220" h="954405">
                <a:moveTo>
                  <a:pt x="7644907" y="954299"/>
                </a:moveTo>
                <a:lnTo>
                  <a:pt x="83692" y="954299"/>
                </a:lnTo>
                <a:lnTo>
                  <a:pt x="51115" y="947723"/>
                </a:lnTo>
                <a:lnTo>
                  <a:pt x="24512" y="929787"/>
                </a:lnTo>
                <a:lnTo>
                  <a:pt x="6576" y="903184"/>
                </a:lnTo>
                <a:lnTo>
                  <a:pt x="0" y="870607"/>
                </a:lnTo>
                <a:lnTo>
                  <a:pt x="0" y="83692"/>
                </a:lnTo>
                <a:lnTo>
                  <a:pt x="6576" y="51115"/>
                </a:lnTo>
                <a:lnTo>
                  <a:pt x="24512" y="24512"/>
                </a:lnTo>
                <a:lnTo>
                  <a:pt x="51115" y="6576"/>
                </a:lnTo>
                <a:lnTo>
                  <a:pt x="83692" y="0"/>
                </a:lnTo>
                <a:lnTo>
                  <a:pt x="7644907" y="0"/>
                </a:lnTo>
                <a:lnTo>
                  <a:pt x="7691340" y="14061"/>
                </a:lnTo>
                <a:lnTo>
                  <a:pt x="7722229" y="51664"/>
                </a:lnTo>
                <a:lnTo>
                  <a:pt x="7728599" y="83692"/>
                </a:lnTo>
                <a:lnTo>
                  <a:pt x="7728599" y="870607"/>
                </a:lnTo>
                <a:lnTo>
                  <a:pt x="7722023" y="903184"/>
                </a:lnTo>
                <a:lnTo>
                  <a:pt x="7704087" y="929787"/>
                </a:lnTo>
                <a:lnTo>
                  <a:pt x="7677484" y="947723"/>
                </a:lnTo>
                <a:lnTo>
                  <a:pt x="7644907" y="954299"/>
                </a:lnTo>
                <a:close/>
              </a:path>
            </a:pathLst>
          </a:custGeom>
          <a:solidFill>
            <a:schemeClr val="bg2">
              <a:lumMod val="90000"/>
            </a:schemeClr>
          </a:solidFill>
        </p:spPr>
        <p:txBody>
          <a:bodyPr wrap="square" lIns="0" tIns="0" rIns="0" bIns="0" rtlCol="0"/>
          <a:lstStyle/>
          <a:p>
            <a:endParaRPr>
              <a:solidFill>
                <a:srgbClr val="00B050"/>
              </a:solidFill>
            </a:endParaRPr>
          </a:p>
        </p:txBody>
      </p:sp>
      <p:sp>
        <p:nvSpPr>
          <p:cNvPr id="11" name="object 11"/>
          <p:cNvSpPr txBox="1"/>
          <p:nvPr/>
        </p:nvSpPr>
        <p:spPr>
          <a:xfrm>
            <a:off x="11293718" y="1725"/>
            <a:ext cx="302895" cy="604520"/>
          </a:xfrm>
          <a:prstGeom prst="rect">
            <a:avLst/>
          </a:prstGeom>
        </p:spPr>
        <p:txBody>
          <a:bodyPr vert="horz" wrap="square" lIns="0" tIns="12700" rIns="0" bIns="0" rtlCol="0">
            <a:spAutoFit/>
          </a:bodyPr>
          <a:lstStyle/>
          <a:p>
            <a:pPr marL="12700">
              <a:lnSpc>
                <a:spcPct val="100000"/>
              </a:lnSpc>
              <a:spcBef>
                <a:spcPts val="100"/>
              </a:spcBef>
            </a:pPr>
            <a:r>
              <a:rPr sz="3800" b="1" dirty="0">
                <a:solidFill>
                  <a:srgbClr val="FFFFFF"/>
                </a:solidFill>
                <a:latin typeface="Roboto"/>
                <a:cs typeface="Roboto"/>
              </a:rPr>
              <a:t>1</a:t>
            </a:r>
            <a:endParaRPr sz="3800">
              <a:latin typeface="Roboto"/>
              <a:cs typeface="Roboto"/>
            </a:endParaRPr>
          </a:p>
        </p:txBody>
      </p:sp>
      <p:sp>
        <p:nvSpPr>
          <p:cNvPr id="12" name="object 12"/>
          <p:cNvSpPr/>
          <p:nvPr/>
        </p:nvSpPr>
        <p:spPr>
          <a:xfrm>
            <a:off x="404980" y="3376644"/>
            <a:ext cx="4049911" cy="537585"/>
          </a:xfrm>
          <a:custGeom>
            <a:avLst/>
            <a:gdLst/>
            <a:ahLst/>
            <a:cxnLst/>
            <a:rect l="l" t="t" r="r" b="b"/>
            <a:pathLst>
              <a:path w="1596389" h="472439">
                <a:moveTo>
                  <a:pt x="1554614" y="471899"/>
                </a:moveTo>
                <a:lnTo>
                  <a:pt x="41385" y="471899"/>
                </a:lnTo>
                <a:lnTo>
                  <a:pt x="25276" y="468647"/>
                </a:lnTo>
                <a:lnTo>
                  <a:pt x="12121" y="459778"/>
                </a:lnTo>
                <a:lnTo>
                  <a:pt x="3252" y="446623"/>
                </a:lnTo>
                <a:lnTo>
                  <a:pt x="0" y="430514"/>
                </a:lnTo>
                <a:lnTo>
                  <a:pt x="0" y="41385"/>
                </a:lnTo>
                <a:lnTo>
                  <a:pt x="3252" y="25276"/>
                </a:lnTo>
                <a:lnTo>
                  <a:pt x="12121" y="12121"/>
                </a:lnTo>
                <a:lnTo>
                  <a:pt x="25276" y="3252"/>
                </a:lnTo>
                <a:lnTo>
                  <a:pt x="41385" y="0"/>
                </a:lnTo>
                <a:lnTo>
                  <a:pt x="1554614" y="0"/>
                </a:lnTo>
                <a:lnTo>
                  <a:pt x="1589046" y="18424"/>
                </a:lnTo>
                <a:lnTo>
                  <a:pt x="1595999" y="41385"/>
                </a:lnTo>
                <a:lnTo>
                  <a:pt x="1595999" y="430514"/>
                </a:lnTo>
                <a:lnTo>
                  <a:pt x="1592747" y="446623"/>
                </a:lnTo>
                <a:lnTo>
                  <a:pt x="1583878" y="459778"/>
                </a:lnTo>
                <a:lnTo>
                  <a:pt x="1570723" y="468647"/>
                </a:lnTo>
                <a:lnTo>
                  <a:pt x="1554614" y="471899"/>
                </a:lnTo>
                <a:close/>
              </a:path>
            </a:pathLst>
          </a:custGeom>
          <a:solidFill>
            <a:schemeClr val="accent1"/>
          </a:solidFill>
        </p:spPr>
        <p:txBody>
          <a:bodyPr wrap="square" lIns="0" tIns="0" rIns="0" bIns="0" rtlCol="0"/>
          <a:lstStyle/>
          <a:p>
            <a:endParaRPr/>
          </a:p>
        </p:txBody>
      </p:sp>
      <p:sp>
        <p:nvSpPr>
          <p:cNvPr id="13" name="object 13"/>
          <p:cNvSpPr txBox="1"/>
          <p:nvPr/>
        </p:nvSpPr>
        <p:spPr>
          <a:xfrm>
            <a:off x="449687" y="3394978"/>
            <a:ext cx="9423728" cy="320601"/>
          </a:xfrm>
          <a:prstGeom prst="rect">
            <a:avLst/>
          </a:prstGeom>
        </p:spPr>
        <p:txBody>
          <a:bodyPr vert="horz" wrap="square" lIns="0" tIns="12700" rIns="0" bIns="0" rtlCol="0">
            <a:spAutoFit/>
          </a:bodyPr>
          <a:lstStyle/>
          <a:p>
            <a:pPr marL="12700">
              <a:lnSpc>
                <a:spcPct val="100000"/>
              </a:lnSpc>
              <a:spcBef>
                <a:spcPts val="100"/>
              </a:spcBef>
            </a:pPr>
            <a:r>
              <a:rPr lang="it-IT" sz="2000" b="1" spc="-25" dirty="0">
                <a:solidFill>
                  <a:srgbClr val="FFFFFF"/>
                </a:solidFill>
                <a:cs typeface="Roboto"/>
              </a:rPr>
              <a:t>I partecipanti saranno in grado di:</a:t>
            </a:r>
            <a:endParaRPr sz="2000" dirty="0">
              <a:cs typeface="Roboto"/>
            </a:endParaRPr>
          </a:p>
        </p:txBody>
      </p:sp>
      <p:sp>
        <p:nvSpPr>
          <p:cNvPr id="14" name="object 14"/>
          <p:cNvSpPr/>
          <p:nvPr/>
        </p:nvSpPr>
        <p:spPr>
          <a:xfrm>
            <a:off x="10149701" y="1408881"/>
            <a:ext cx="1780836" cy="1625373"/>
          </a:xfrm>
          <a:custGeom>
            <a:avLst/>
            <a:gdLst/>
            <a:ahLst/>
            <a:cxnLst/>
            <a:rect l="l" t="t" r="r" b="b"/>
            <a:pathLst>
              <a:path w="1596390" h="954405">
                <a:moveTo>
                  <a:pt x="1512307" y="954299"/>
                </a:moveTo>
                <a:lnTo>
                  <a:pt x="83692" y="954299"/>
                </a:lnTo>
                <a:lnTo>
                  <a:pt x="51115" y="947723"/>
                </a:lnTo>
                <a:lnTo>
                  <a:pt x="24512" y="929787"/>
                </a:lnTo>
                <a:lnTo>
                  <a:pt x="6576" y="903184"/>
                </a:lnTo>
                <a:lnTo>
                  <a:pt x="0" y="870607"/>
                </a:lnTo>
                <a:lnTo>
                  <a:pt x="0" y="83692"/>
                </a:lnTo>
                <a:lnTo>
                  <a:pt x="6576" y="51115"/>
                </a:lnTo>
                <a:lnTo>
                  <a:pt x="24512" y="24512"/>
                </a:lnTo>
                <a:lnTo>
                  <a:pt x="51115" y="6576"/>
                </a:lnTo>
                <a:lnTo>
                  <a:pt x="83692" y="0"/>
                </a:lnTo>
                <a:lnTo>
                  <a:pt x="1512307" y="0"/>
                </a:lnTo>
                <a:lnTo>
                  <a:pt x="1558740" y="14061"/>
                </a:lnTo>
                <a:lnTo>
                  <a:pt x="1589629" y="51664"/>
                </a:lnTo>
                <a:lnTo>
                  <a:pt x="1595999" y="83692"/>
                </a:lnTo>
                <a:lnTo>
                  <a:pt x="1595999" y="870607"/>
                </a:lnTo>
                <a:lnTo>
                  <a:pt x="1589423" y="903184"/>
                </a:lnTo>
                <a:lnTo>
                  <a:pt x="1571487" y="929787"/>
                </a:lnTo>
                <a:lnTo>
                  <a:pt x="1544884" y="947723"/>
                </a:lnTo>
                <a:lnTo>
                  <a:pt x="1512307" y="954299"/>
                </a:lnTo>
                <a:close/>
              </a:path>
            </a:pathLst>
          </a:custGeom>
          <a:solidFill>
            <a:schemeClr val="accent1"/>
          </a:solidFill>
        </p:spPr>
        <p:txBody>
          <a:bodyPr wrap="square" lIns="0" tIns="0" rIns="0" bIns="0" rtlCol="0"/>
          <a:lstStyle/>
          <a:p>
            <a:endParaRPr/>
          </a:p>
        </p:txBody>
      </p:sp>
      <p:sp>
        <p:nvSpPr>
          <p:cNvPr id="15" name="object 15"/>
          <p:cNvSpPr txBox="1"/>
          <p:nvPr/>
        </p:nvSpPr>
        <p:spPr>
          <a:xfrm>
            <a:off x="10551904" y="1860292"/>
            <a:ext cx="1051926" cy="689932"/>
          </a:xfrm>
          <a:prstGeom prst="rect">
            <a:avLst/>
          </a:prstGeom>
        </p:spPr>
        <p:txBody>
          <a:bodyPr vert="horz" wrap="square" lIns="0" tIns="12700" rIns="0" bIns="0" rtlCol="0">
            <a:spAutoFit/>
          </a:bodyPr>
          <a:lstStyle/>
          <a:p>
            <a:pPr marL="12700">
              <a:lnSpc>
                <a:spcPct val="100000"/>
              </a:lnSpc>
              <a:spcBef>
                <a:spcPts val="100"/>
              </a:spcBef>
            </a:pPr>
            <a:r>
              <a:rPr lang="it-IT" sz="2200" b="1" spc="-5" dirty="0">
                <a:solidFill>
                  <a:srgbClr val="FFFFFF"/>
                </a:solidFill>
                <a:cs typeface="Roboto"/>
              </a:rPr>
              <a:t>Durata:40</a:t>
            </a:r>
            <a:r>
              <a:rPr sz="2200" b="1" spc="-80" dirty="0">
                <a:solidFill>
                  <a:srgbClr val="FFFFFF"/>
                </a:solidFill>
                <a:cs typeface="Roboto"/>
              </a:rPr>
              <a:t> </a:t>
            </a:r>
            <a:r>
              <a:rPr sz="2200" b="1" dirty="0">
                <a:solidFill>
                  <a:srgbClr val="FFFFFF"/>
                </a:solidFill>
                <a:cs typeface="Roboto"/>
              </a:rPr>
              <a:t>ORE</a:t>
            </a:r>
            <a:endParaRPr lang="it-IT" sz="2200" b="1" dirty="0">
              <a:solidFill>
                <a:srgbClr val="FFFFFF"/>
              </a:solidFill>
              <a:cs typeface="Roboto"/>
            </a:endParaRPr>
          </a:p>
        </p:txBody>
      </p:sp>
      <p:sp>
        <p:nvSpPr>
          <p:cNvPr id="19" name="CasellaDiTesto 18">
            <a:extLst>
              <a:ext uri="{FF2B5EF4-FFF2-40B4-BE49-F238E27FC236}">
                <a16:creationId xmlns:a16="http://schemas.microsoft.com/office/drawing/2014/main" id="{AE419993-E428-4926-B9BE-D3A35F84AC1A}"/>
              </a:ext>
            </a:extLst>
          </p:cNvPr>
          <p:cNvSpPr txBox="1"/>
          <p:nvPr/>
        </p:nvSpPr>
        <p:spPr>
          <a:xfrm>
            <a:off x="235017" y="1003312"/>
            <a:ext cx="4171748" cy="400110"/>
          </a:xfrm>
          <a:prstGeom prst="rect">
            <a:avLst/>
          </a:prstGeom>
          <a:noFill/>
        </p:spPr>
        <p:txBody>
          <a:bodyPr wrap="square">
            <a:spAutoFit/>
          </a:bodyPr>
          <a:lstStyle/>
          <a:p>
            <a:pPr marL="59690">
              <a:lnSpc>
                <a:spcPct val="100000"/>
              </a:lnSpc>
              <a:spcBef>
                <a:spcPts val="1370"/>
              </a:spcBef>
            </a:pPr>
            <a:r>
              <a:rPr lang="it-IT" sz="2000" b="1" i="1" spc="20" dirty="0">
                <a:solidFill>
                  <a:schemeClr val="tx1">
                    <a:lumMod val="65000"/>
                    <a:lumOff val="35000"/>
                  </a:schemeClr>
                </a:solidFill>
                <a:cs typeface="Roboto"/>
              </a:rPr>
              <a:t>Upskilling</a:t>
            </a:r>
            <a:r>
              <a:rPr lang="it-IT" sz="2000" b="1" spc="20" dirty="0">
                <a:solidFill>
                  <a:schemeClr val="tx1">
                    <a:lumMod val="65000"/>
                    <a:lumOff val="35000"/>
                  </a:schemeClr>
                </a:solidFill>
                <a:cs typeface="Roboto"/>
              </a:rPr>
              <a:t> mirato al profilo di: </a:t>
            </a:r>
          </a:p>
        </p:txBody>
      </p:sp>
      <p:sp>
        <p:nvSpPr>
          <p:cNvPr id="22" name="object 7">
            <a:extLst>
              <a:ext uri="{FF2B5EF4-FFF2-40B4-BE49-F238E27FC236}">
                <a16:creationId xmlns:a16="http://schemas.microsoft.com/office/drawing/2014/main" id="{E4E34B0E-EDE1-4916-ACBE-41A7F0D3FC48}"/>
              </a:ext>
            </a:extLst>
          </p:cNvPr>
          <p:cNvSpPr txBox="1"/>
          <p:nvPr/>
        </p:nvSpPr>
        <p:spPr>
          <a:xfrm>
            <a:off x="382555" y="1467026"/>
            <a:ext cx="8316693" cy="1293559"/>
          </a:xfrm>
          <a:prstGeom prst="rect">
            <a:avLst/>
          </a:prstGeom>
        </p:spPr>
        <p:txBody>
          <a:bodyPr vert="horz" wrap="square" lIns="0" tIns="173990" rIns="0" bIns="0" rtlCol="0">
            <a:spAutoFit/>
          </a:bodyPr>
          <a:lstStyle/>
          <a:p>
            <a:pPr marL="12700" marR="5080" algn="just">
              <a:lnSpc>
                <a:spcPct val="101600"/>
              </a:lnSpc>
              <a:spcBef>
                <a:spcPts val="985"/>
              </a:spcBef>
            </a:pPr>
            <a:r>
              <a:rPr lang="it-IT" b="1" spc="-15" dirty="0">
                <a:solidFill>
                  <a:srgbClr val="333333"/>
                </a:solidFill>
              </a:rPr>
              <a:t>Esperto della gestione e dello sviluppo delle risorse umane: </a:t>
            </a:r>
            <a:r>
              <a:rPr lang="it-IT" spc="-15" dirty="0">
                <a:solidFill>
                  <a:srgbClr val="333333"/>
                </a:solidFill>
              </a:rPr>
              <a:t>si occupa di realizzare la programmazione del personale, prefigurare percorsi di sviluppo professionale ed organizzativo. Gestisce in modo integrato le risorse umane, in coerenza con gli obiettivi strategici dell’azienda e le esigenze del mercato. </a:t>
            </a:r>
          </a:p>
        </p:txBody>
      </p:sp>
      <p:sp>
        <p:nvSpPr>
          <p:cNvPr id="25" name="object 13">
            <a:extLst>
              <a:ext uri="{FF2B5EF4-FFF2-40B4-BE49-F238E27FC236}">
                <a16:creationId xmlns:a16="http://schemas.microsoft.com/office/drawing/2014/main" id="{B1190D32-5D27-4F20-96A1-1615CAA81E52}"/>
              </a:ext>
            </a:extLst>
          </p:cNvPr>
          <p:cNvSpPr txBox="1"/>
          <p:nvPr/>
        </p:nvSpPr>
        <p:spPr>
          <a:xfrm>
            <a:off x="0" y="4179871"/>
            <a:ext cx="9567758" cy="1674817"/>
          </a:xfrm>
          <a:prstGeom prst="rect">
            <a:avLst/>
          </a:prstGeom>
        </p:spPr>
        <p:txBody>
          <a:bodyPr vert="horz" wrap="square" lIns="0" tIns="12700" rIns="0" bIns="0" rtlCol="0">
            <a:spAutoFit/>
          </a:bodyPr>
          <a:lstStyle/>
          <a:p>
            <a:pPr marL="742950" lvl="1" indent="-285750">
              <a:spcBef>
                <a:spcPts val="10"/>
              </a:spcBef>
              <a:buFont typeface="Wingdings" panose="05000000000000000000" pitchFamily="2" charset="2"/>
              <a:buChar char="v"/>
            </a:pPr>
            <a:r>
              <a:rPr lang="it-IT" spc="-15" dirty="0">
                <a:solidFill>
                  <a:srgbClr val="333333"/>
                </a:solidFill>
              </a:rPr>
              <a:t>Programmare il reclutamento e la selezione sulla base delle caratteristiche della posizioni mancanti</a:t>
            </a:r>
          </a:p>
          <a:p>
            <a:pPr marL="742950" lvl="1" indent="-285750">
              <a:spcBef>
                <a:spcPts val="10"/>
              </a:spcBef>
              <a:buFont typeface="Wingdings" panose="05000000000000000000" pitchFamily="2" charset="2"/>
              <a:buChar char="v"/>
            </a:pPr>
            <a:r>
              <a:rPr lang="it-IT" spc="-15" dirty="0">
                <a:solidFill>
                  <a:srgbClr val="333333"/>
                </a:solidFill>
              </a:rPr>
              <a:t>Disegnare e attuare il Piano di reclutamento individuando i ruoli da ricoprire e i canali di ricerca e selezione</a:t>
            </a:r>
          </a:p>
          <a:p>
            <a:pPr marL="742950" lvl="1" indent="-285750">
              <a:spcBef>
                <a:spcPts val="10"/>
              </a:spcBef>
              <a:buFont typeface="Wingdings" panose="05000000000000000000" pitchFamily="2" charset="2"/>
              <a:buChar char="v"/>
            </a:pPr>
            <a:r>
              <a:rPr lang="it-IT" spc="-15" dirty="0">
                <a:solidFill>
                  <a:srgbClr val="333333"/>
                </a:solidFill>
              </a:rPr>
              <a:t>Screening cv e colloqui di selezione</a:t>
            </a:r>
          </a:p>
          <a:p>
            <a:pPr lvl="1">
              <a:spcBef>
                <a:spcPts val="10"/>
              </a:spcBef>
            </a:pPr>
            <a:endParaRPr lang="it-IT" spc="-15" dirty="0">
              <a:solidFill>
                <a:srgbClr val="333333"/>
              </a:solidFill>
            </a:endParaRPr>
          </a:p>
        </p:txBody>
      </p:sp>
      <p:sp>
        <p:nvSpPr>
          <p:cNvPr id="16" name="Rettangolo con angoli arrotondati 15">
            <a:extLst>
              <a:ext uri="{FF2B5EF4-FFF2-40B4-BE49-F238E27FC236}">
                <a16:creationId xmlns:a16="http://schemas.microsoft.com/office/drawing/2014/main" id="{4B0CFA06-5682-426B-B345-D391B87F6727}"/>
              </a:ext>
            </a:extLst>
          </p:cNvPr>
          <p:cNvSpPr/>
          <p:nvPr/>
        </p:nvSpPr>
        <p:spPr>
          <a:xfrm>
            <a:off x="10149701" y="3205386"/>
            <a:ext cx="1780836" cy="1014899"/>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00"/>
          </a:p>
        </p:txBody>
      </p:sp>
      <p:sp>
        <p:nvSpPr>
          <p:cNvPr id="17" name="CasellaDiTesto 16">
            <a:extLst>
              <a:ext uri="{FF2B5EF4-FFF2-40B4-BE49-F238E27FC236}">
                <a16:creationId xmlns:a16="http://schemas.microsoft.com/office/drawing/2014/main" id="{7FE0EC60-099B-4735-B917-86455F5502BE}"/>
              </a:ext>
            </a:extLst>
          </p:cNvPr>
          <p:cNvSpPr txBox="1"/>
          <p:nvPr/>
        </p:nvSpPr>
        <p:spPr>
          <a:xfrm>
            <a:off x="10329932" y="3350802"/>
            <a:ext cx="1454204" cy="584775"/>
          </a:xfrm>
          <a:prstGeom prst="rect">
            <a:avLst/>
          </a:prstGeom>
          <a:noFill/>
        </p:spPr>
        <p:txBody>
          <a:bodyPr wrap="square" rtlCol="0">
            <a:spAutoFit/>
          </a:bodyPr>
          <a:lstStyle/>
          <a:p>
            <a:pPr algn="ctr"/>
            <a:r>
              <a:rPr lang="it-IT" sz="1600" b="1" dirty="0">
                <a:solidFill>
                  <a:schemeClr val="accent1"/>
                </a:solidFill>
                <a:hlinkClick r:id="rId3" action="ppaction://hlinksldjump">
                  <a:extLst>
                    <a:ext uri="{A12FA001-AC4F-418D-AE19-62706E023703}">
                      <ahyp:hlinkClr xmlns:ahyp="http://schemas.microsoft.com/office/drawing/2018/hyperlinkcolor" val="tx"/>
                    </a:ext>
                  </a:extLst>
                </a:hlinkClick>
              </a:rPr>
              <a:t>Vedi dettagli programma</a:t>
            </a:r>
            <a:endParaRPr lang="it-IT" sz="1600" b="1" dirty="0">
              <a:solidFill>
                <a:schemeClr val="accent1"/>
              </a:solidFill>
            </a:endParaRPr>
          </a:p>
        </p:txBody>
      </p:sp>
      <p:sp>
        <p:nvSpPr>
          <p:cNvPr id="2" name="Rettangolo con angoli arrotondati 1">
            <a:extLst>
              <a:ext uri="{FF2B5EF4-FFF2-40B4-BE49-F238E27FC236}">
                <a16:creationId xmlns:a16="http://schemas.microsoft.com/office/drawing/2014/main" id="{70BE1FAE-D429-1456-018D-885BB2EE28B9}"/>
              </a:ext>
            </a:extLst>
          </p:cNvPr>
          <p:cNvSpPr/>
          <p:nvPr/>
        </p:nvSpPr>
        <p:spPr>
          <a:xfrm>
            <a:off x="10123255" y="4391417"/>
            <a:ext cx="1780836" cy="819725"/>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00"/>
          </a:p>
        </p:txBody>
      </p:sp>
      <p:sp>
        <p:nvSpPr>
          <p:cNvPr id="7" name="CasellaDiTesto 6">
            <a:extLst>
              <a:ext uri="{FF2B5EF4-FFF2-40B4-BE49-F238E27FC236}">
                <a16:creationId xmlns:a16="http://schemas.microsoft.com/office/drawing/2014/main" id="{00FD8CDB-BEE6-6957-2555-914B7CB3931F}"/>
              </a:ext>
            </a:extLst>
          </p:cNvPr>
          <p:cNvSpPr txBox="1"/>
          <p:nvPr/>
        </p:nvSpPr>
        <p:spPr>
          <a:xfrm>
            <a:off x="10259687" y="4508891"/>
            <a:ext cx="1524058" cy="584775"/>
          </a:xfrm>
          <a:prstGeom prst="rect">
            <a:avLst/>
          </a:prstGeom>
          <a:noFill/>
        </p:spPr>
        <p:txBody>
          <a:bodyPr wrap="square" rtlCol="0">
            <a:spAutoFit/>
          </a:bodyPr>
          <a:lstStyle/>
          <a:p>
            <a:pPr algn="ctr"/>
            <a:r>
              <a:rPr lang="it-IT" sz="1600" b="1" dirty="0">
                <a:solidFill>
                  <a:schemeClr val="accent1"/>
                </a:solidFill>
                <a:hlinkClick r:id="rId4" action="ppaction://hlinksldjump"/>
              </a:rPr>
              <a:t>Vedi indice corsi</a:t>
            </a:r>
            <a:endParaRPr lang="it-IT" sz="1600" b="1" dirty="0">
              <a:solidFill>
                <a:schemeClr val="accent1"/>
              </a:solidFill>
            </a:endParaRPr>
          </a:p>
        </p:txBody>
      </p:sp>
      <p:pic>
        <p:nvPicPr>
          <p:cNvPr id="18" name="Immagine 17">
            <a:extLst>
              <a:ext uri="{FF2B5EF4-FFF2-40B4-BE49-F238E27FC236}">
                <a16:creationId xmlns:a16="http://schemas.microsoft.com/office/drawing/2014/main" id="{6D283741-50E8-4C77-ABCE-43B846486B36}"/>
              </a:ext>
            </a:extLst>
          </p:cNvPr>
          <p:cNvPicPr>
            <a:picLocks noChangeAspect="1"/>
          </p:cNvPicPr>
          <p:nvPr/>
        </p:nvPicPr>
        <p:blipFill>
          <a:blip r:embed="rId5"/>
          <a:stretch>
            <a:fillRect/>
          </a:stretch>
        </p:blipFill>
        <p:spPr>
          <a:xfrm>
            <a:off x="327484" y="5784507"/>
            <a:ext cx="9567758" cy="1086724"/>
          </a:xfrm>
          <a:prstGeom prst="rect">
            <a:avLst/>
          </a:prstGeom>
        </p:spPr>
      </p:pic>
      <p:pic>
        <p:nvPicPr>
          <p:cNvPr id="20" name="Immagine 19">
            <a:extLst>
              <a:ext uri="{FF2B5EF4-FFF2-40B4-BE49-F238E27FC236}">
                <a16:creationId xmlns:a16="http://schemas.microsoft.com/office/drawing/2014/main" id="{EBE86EA4-BE32-4FD0-8CD9-C44648ED5442}"/>
              </a:ext>
            </a:extLst>
          </p:cNvPr>
          <p:cNvPicPr>
            <a:picLocks noChangeAspect="1"/>
          </p:cNvPicPr>
          <p:nvPr/>
        </p:nvPicPr>
        <p:blipFill>
          <a:blip r:embed="rId6"/>
          <a:stretch>
            <a:fillRect/>
          </a:stretch>
        </p:blipFill>
        <p:spPr>
          <a:xfrm>
            <a:off x="9898769" y="6182710"/>
            <a:ext cx="1378634" cy="340953"/>
          </a:xfrm>
          <a:prstGeom prst="rect">
            <a:avLst/>
          </a:prstGeom>
        </p:spPr>
      </p:pic>
    </p:spTree>
    <p:extLst>
      <p:ext uri="{BB962C8B-B14F-4D97-AF65-F5344CB8AC3E}">
        <p14:creationId xmlns:p14="http://schemas.microsoft.com/office/powerpoint/2010/main" val="281659945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503786" y="253047"/>
            <a:ext cx="11068798" cy="659155"/>
          </a:xfrm>
          <a:prstGeom prst="rect">
            <a:avLst/>
          </a:prstGeom>
        </p:spPr>
        <p:txBody>
          <a:bodyPr vert="horz" wrap="square" lIns="0" tIns="12700" rIns="0" bIns="0" rtlCol="0">
            <a:spAutoFit/>
          </a:bodyPr>
          <a:lstStyle/>
          <a:p>
            <a:pPr marL="12700">
              <a:lnSpc>
                <a:spcPct val="100000"/>
              </a:lnSpc>
              <a:spcBef>
                <a:spcPts val="100"/>
              </a:spcBef>
            </a:pPr>
            <a:r>
              <a:rPr lang="it-IT" sz="2800" spc="-15" dirty="0">
                <a:solidFill>
                  <a:schemeClr val="accent1"/>
                </a:solidFill>
                <a:latin typeface="+mn-lt"/>
              </a:rPr>
              <a:t>7. CORSO GESTIONE DELLE RISORSE UMANE</a:t>
            </a:r>
            <a:br>
              <a:rPr lang="it-IT" sz="2800" spc="-15" dirty="0">
                <a:solidFill>
                  <a:schemeClr val="accent1"/>
                </a:solidFill>
                <a:latin typeface="+mn-lt"/>
              </a:rPr>
            </a:br>
            <a:r>
              <a:rPr lang="it-IT" sz="1400" spc="-15" dirty="0">
                <a:solidFill>
                  <a:schemeClr val="accent1"/>
                </a:solidFill>
                <a:latin typeface="+mn-lt"/>
              </a:rPr>
              <a:t>(OPAL Formazione </a:t>
            </a:r>
            <a:r>
              <a:rPr lang="it-IT" sz="1400" spc="-15" dirty="0" err="1">
                <a:solidFill>
                  <a:schemeClr val="accent1"/>
                </a:solidFill>
                <a:latin typeface="+mn-lt"/>
              </a:rPr>
              <a:t>Upskilling</a:t>
            </a:r>
            <a:r>
              <a:rPr lang="it-IT" sz="1400" spc="-15" dirty="0">
                <a:solidFill>
                  <a:schemeClr val="accent1"/>
                </a:solidFill>
                <a:latin typeface="+mn-lt"/>
              </a:rPr>
              <a:t> (RRSP) mirata al profilo ESPERTO DELLA GESTIONE E DELLO SVILUPPO DELLE RISORSE UMANE</a:t>
            </a:r>
          </a:p>
        </p:txBody>
      </p:sp>
      <p:sp>
        <p:nvSpPr>
          <p:cNvPr id="11" name="object 11"/>
          <p:cNvSpPr txBox="1"/>
          <p:nvPr/>
        </p:nvSpPr>
        <p:spPr>
          <a:xfrm>
            <a:off x="11596613" y="154633"/>
            <a:ext cx="302895" cy="604520"/>
          </a:xfrm>
          <a:prstGeom prst="rect">
            <a:avLst/>
          </a:prstGeom>
        </p:spPr>
        <p:txBody>
          <a:bodyPr vert="horz" wrap="square" lIns="0" tIns="12700" rIns="0" bIns="0" rtlCol="0">
            <a:spAutoFit/>
          </a:bodyPr>
          <a:lstStyle/>
          <a:p>
            <a:pPr marL="12700">
              <a:lnSpc>
                <a:spcPct val="100000"/>
              </a:lnSpc>
              <a:spcBef>
                <a:spcPts val="100"/>
              </a:spcBef>
            </a:pPr>
            <a:r>
              <a:rPr sz="3800" b="1" dirty="0">
                <a:solidFill>
                  <a:srgbClr val="FFFFFF"/>
                </a:solidFill>
                <a:cs typeface="Roboto"/>
              </a:rPr>
              <a:t>1</a:t>
            </a:r>
            <a:endParaRPr sz="3800">
              <a:cs typeface="Roboto"/>
            </a:endParaRPr>
          </a:p>
        </p:txBody>
      </p:sp>
      <p:sp>
        <p:nvSpPr>
          <p:cNvPr id="13" name="object 13"/>
          <p:cNvSpPr txBox="1"/>
          <p:nvPr/>
        </p:nvSpPr>
        <p:spPr>
          <a:xfrm>
            <a:off x="830494" y="3434471"/>
            <a:ext cx="8889221" cy="320601"/>
          </a:xfrm>
          <a:prstGeom prst="rect">
            <a:avLst/>
          </a:prstGeom>
        </p:spPr>
        <p:txBody>
          <a:bodyPr vert="horz" wrap="square" lIns="0" tIns="12700" rIns="0" bIns="0" rtlCol="0">
            <a:spAutoFit/>
          </a:bodyPr>
          <a:lstStyle/>
          <a:p>
            <a:pPr marL="12700">
              <a:lnSpc>
                <a:spcPct val="100000"/>
              </a:lnSpc>
              <a:spcBef>
                <a:spcPts val="100"/>
              </a:spcBef>
            </a:pPr>
            <a:r>
              <a:rPr lang="it-IT" sz="2000" b="1" spc="-25" dirty="0">
                <a:solidFill>
                  <a:srgbClr val="FFFFFF"/>
                </a:solidFill>
                <a:cs typeface="Roboto"/>
              </a:rPr>
              <a:t>I partecipanti saranno in grado di:</a:t>
            </a:r>
            <a:endParaRPr sz="2000" dirty="0">
              <a:cs typeface="Roboto"/>
            </a:endParaRPr>
          </a:p>
        </p:txBody>
      </p:sp>
      <p:sp>
        <p:nvSpPr>
          <p:cNvPr id="22" name="object 7">
            <a:extLst>
              <a:ext uri="{FF2B5EF4-FFF2-40B4-BE49-F238E27FC236}">
                <a16:creationId xmlns:a16="http://schemas.microsoft.com/office/drawing/2014/main" id="{E4E34B0E-EDE1-4916-ACBE-41A7F0D3FC48}"/>
              </a:ext>
            </a:extLst>
          </p:cNvPr>
          <p:cNvSpPr txBox="1"/>
          <p:nvPr/>
        </p:nvSpPr>
        <p:spPr>
          <a:xfrm>
            <a:off x="503786" y="1900383"/>
            <a:ext cx="8316693" cy="3032882"/>
          </a:xfrm>
          <a:prstGeom prst="rect">
            <a:avLst/>
          </a:prstGeom>
        </p:spPr>
        <p:txBody>
          <a:bodyPr vert="horz" wrap="square" lIns="0" tIns="173990" rIns="0" bIns="0" rtlCol="0">
            <a:spAutoFit/>
          </a:bodyPr>
          <a:lstStyle/>
          <a:p>
            <a:pPr marL="298450" marR="5080" indent="-285750">
              <a:spcBef>
                <a:spcPts val="985"/>
              </a:spcBef>
              <a:buFont typeface="Arial" panose="020B0604020202020204" pitchFamily="34" charset="0"/>
              <a:buChar char="•"/>
            </a:pPr>
            <a:r>
              <a:rPr lang="it-IT" b="0" i="0" dirty="0">
                <a:solidFill>
                  <a:srgbClr val="212121"/>
                </a:solidFill>
                <a:effectLst/>
              </a:rPr>
              <a:t>Metodologie, tecniche e strumenti di ricerca del personale</a:t>
            </a:r>
          </a:p>
          <a:p>
            <a:pPr marL="298450" marR="5080" indent="-285750">
              <a:spcBef>
                <a:spcPts val="985"/>
              </a:spcBef>
              <a:buFont typeface="Arial" panose="020B0604020202020204" pitchFamily="34" charset="0"/>
              <a:buChar char="•"/>
            </a:pPr>
            <a:r>
              <a:rPr lang="it-IT" b="0" i="0" dirty="0">
                <a:solidFill>
                  <a:srgbClr val="212121"/>
                </a:solidFill>
                <a:effectLst/>
              </a:rPr>
              <a:t>Modelli e tecniche di gestione della comunicazione e della relazione</a:t>
            </a:r>
          </a:p>
          <a:p>
            <a:pPr marL="298450" marR="5080" indent="-285750">
              <a:spcBef>
                <a:spcPts val="985"/>
              </a:spcBef>
              <a:buFont typeface="Arial" panose="020B0604020202020204" pitchFamily="34" charset="0"/>
              <a:buChar char="•"/>
            </a:pPr>
            <a:r>
              <a:rPr lang="it-IT" b="0" i="0" dirty="0">
                <a:solidFill>
                  <a:srgbClr val="212121"/>
                </a:solidFill>
                <a:effectLst/>
              </a:rPr>
              <a:t>Tipologie, caratteristiche e funzionalità delle principali tecniche e strumenti di selezione del personale (prove, test di valutazione, </a:t>
            </a:r>
            <a:r>
              <a:rPr lang="it-IT" b="0" i="0" dirty="0" err="1">
                <a:solidFill>
                  <a:srgbClr val="212121"/>
                </a:solidFill>
                <a:effectLst/>
              </a:rPr>
              <a:t>assessment</a:t>
            </a:r>
            <a:r>
              <a:rPr lang="it-IT" b="0" i="0" dirty="0">
                <a:solidFill>
                  <a:srgbClr val="212121"/>
                </a:solidFill>
                <a:effectLst/>
              </a:rPr>
              <a:t> center, …)</a:t>
            </a:r>
          </a:p>
          <a:p>
            <a:pPr marL="298450" marR="5080" indent="-285750">
              <a:spcBef>
                <a:spcPts val="985"/>
              </a:spcBef>
              <a:buFont typeface="Arial" panose="020B0604020202020204" pitchFamily="34" charset="0"/>
              <a:buChar char="•"/>
            </a:pPr>
            <a:r>
              <a:rPr lang="it-IT" b="0" i="0" dirty="0">
                <a:solidFill>
                  <a:srgbClr val="212121"/>
                </a:solidFill>
                <a:effectLst/>
              </a:rPr>
              <a:t>Tipologie, caratteristiche e funzionalità delle diverse fonti e canali di reclutamento</a:t>
            </a:r>
          </a:p>
          <a:p>
            <a:pPr marL="298450" marR="5080" indent="-285750">
              <a:spcBef>
                <a:spcPts val="985"/>
              </a:spcBef>
              <a:buFont typeface="Arial" panose="020B0604020202020204" pitchFamily="34" charset="0"/>
              <a:buChar char="•"/>
            </a:pPr>
            <a:r>
              <a:rPr lang="it-IT" b="0" i="0" dirty="0">
                <a:solidFill>
                  <a:srgbClr val="212121"/>
                </a:solidFill>
                <a:effectLst/>
              </a:rPr>
              <a:t>Tecniche di analisi dei fabbisogni di personale</a:t>
            </a:r>
          </a:p>
          <a:p>
            <a:pPr marL="298450" marR="5080" indent="-285750">
              <a:spcBef>
                <a:spcPts val="985"/>
              </a:spcBef>
              <a:buFont typeface="Arial" panose="020B0604020202020204" pitchFamily="34" charset="0"/>
              <a:buChar char="•"/>
            </a:pPr>
            <a:r>
              <a:rPr lang="it-IT" b="0" i="0" dirty="0">
                <a:solidFill>
                  <a:srgbClr val="212121"/>
                </a:solidFill>
                <a:effectLst/>
              </a:rPr>
              <a:t>Modalità e procedure di inserimento ed accoglienza</a:t>
            </a:r>
            <a:endParaRPr lang="it-IT" spc="-15" dirty="0">
              <a:solidFill>
                <a:srgbClr val="333333"/>
              </a:solidFill>
            </a:endParaRPr>
          </a:p>
        </p:txBody>
      </p:sp>
      <p:sp>
        <p:nvSpPr>
          <p:cNvPr id="10" name="object 12">
            <a:extLst>
              <a:ext uri="{FF2B5EF4-FFF2-40B4-BE49-F238E27FC236}">
                <a16:creationId xmlns:a16="http://schemas.microsoft.com/office/drawing/2014/main" id="{52734142-BF84-4DA2-8122-2DD853562E5D}"/>
              </a:ext>
            </a:extLst>
          </p:cNvPr>
          <p:cNvSpPr/>
          <p:nvPr/>
        </p:nvSpPr>
        <p:spPr>
          <a:xfrm>
            <a:off x="503786" y="1342157"/>
            <a:ext cx="2593435" cy="537585"/>
          </a:xfrm>
          <a:custGeom>
            <a:avLst/>
            <a:gdLst/>
            <a:ahLst/>
            <a:cxnLst/>
            <a:rect l="l" t="t" r="r" b="b"/>
            <a:pathLst>
              <a:path w="1596389" h="472439">
                <a:moveTo>
                  <a:pt x="1554614" y="471899"/>
                </a:moveTo>
                <a:lnTo>
                  <a:pt x="41385" y="471899"/>
                </a:lnTo>
                <a:lnTo>
                  <a:pt x="25276" y="468647"/>
                </a:lnTo>
                <a:lnTo>
                  <a:pt x="12121" y="459778"/>
                </a:lnTo>
                <a:lnTo>
                  <a:pt x="3252" y="446623"/>
                </a:lnTo>
                <a:lnTo>
                  <a:pt x="0" y="430514"/>
                </a:lnTo>
                <a:lnTo>
                  <a:pt x="0" y="41385"/>
                </a:lnTo>
                <a:lnTo>
                  <a:pt x="3252" y="25276"/>
                </a:lnTo>
                <a:lnTo>
                  <a:pt x="12121" y="12121"/>
                </a:lnTo>
                <a:lnTo>
                  <a:pt x="25276" y="3252"/>
                </a:lnTo>
                <a:lnTo>
                  <a:pt x="41385" y="0"/>
                </a:lnTo>
                <a:lnTo>
                  <a:pt x="1554614" y="0"/>
                </a:lnTo>
                <a:lnTo>
                  <a:pt x="1589046" y="18424"/>
                </a:lnTo>
                <a:lnTo>
                  <a:pt x="1595999" y="41385"/>
                </a:lnTo>
                <a:lnTo>
                  <a:pt x="1595999" y="430514"/>
                </a:lnTo>
                <a:lnTo>
                  <a:pt x="1592747" y="446623"/>
                </a:lnTo>
                <a:lnTo>
                  <a:pt x="1583878" y="459778"/>
                </a:lnTo>
                <a:lnTo>
                  <a:pt x="1570723" y="468647"/>
                </a:lnTo>
                <a:lnTo>
                  <a:pt x="1554614" y="471899"/>
                </a:lnTo>
                <a:close/>
              </a:path>
            </a:pathLst>
          </a:custGeom>
          <a:solidFill>
            <a:schemeClr val="accent1"/>
          </a:solidFill>
        </p:spPr>
        <p:txBody>
          <a:bodyPr wrap="square" lIns="0" tIns="0" rIns="0" bIns="0" rtlCol="0"/>
          <a:lstStyle/>
          <a:p>
            <a:endParaRPr/>
          </a:p>
        </p:txBody>
      </p:sp>
      <p:sp>
        <p:nvSpPr>
          <p:cNvPr id="12" name="CasellaDiTesto 11">
            <a:extLst>
              <a:ext uri="{FF2B5EF4-FFF2-40B4-BE49-F238E27FC236}">
                <a16:creationId xmlns:a16="http://schemas.microsoft.com/office/drawing/2014/main" id="{36ACC78F-CEBE-4FFF-9BC7-797FC0C22D96}"/>
              </a:ext>
            </a:extLst>
          </p:cNvPr>
          <p:cNvSpPr txBox="1"/>
          <p:nvPr/>
        </p:nvSpPr>
        <p:spPr>
          <a:xfrm>
            <a:off x="605266" y="1410894"/>
            <a:ext cx="4171748" cy="400110"/>
          </a:xfrm>
          <a:prstGeom prst="rect">
            <a:avLst/>
          </a:prstGeom>
          <a:noFill/>
        </p:spPr>
        <p:txBody>
          <a:bodyPr wrap="square">
            <a:spAutoFit/>
          </a:bodyPr>
          <a:lstStyle/>
          <a:p>
            <a:pPr marL="59690">
              <a:lnSpc>
                <a:spcPct val="100000"/>
              </a:lnSpc>
              <a:spcBef>
                <a:spcPts val="1370"/>
              </a:spcBef>
            </a:pPr>
            <a:r>
              <a:rPr lang="it-IT" sz="2000" b="1" i="1" spc="20" dirty="0">
                <a:solidFill>
                  <a:schemeClr val="bg1"/>
                </a:solidFill>
                <a:cs typeface="Roboto"/>
              </a:rPr>
              <a:t>Programma corso :</a:t>
            </a:r>
            <a:endParaRPr lang="it-IT" sz="2000" b="1" spc="20" dirty="0">
              <a:solidFill>
                <a:schemeClr val="bg1"/>
              </a:solidFill>
              <a:cs typeface="Roboto"/>
            </a:endParaRPr>
          </a:p>
        </p:txBody>
      </p:sp>
      <p:sp>
        <p:nvSpPr>
          <p:cNvPr id="5" name="Rettangolo con angoli arrotondati 4">
            <a:extLst>
              <a:ext uri="{FF2B5EF4-FFF2-40B4-BE49-F238E27FC236}">
                <a16:creationId xmlns:a16="http://schemas.microsoft.com/office/drawing/2014/main" id="{EFBFD994-917A-3469-F280-08CC89CB7C6C}"/>
              </a:ext>
            </a:extLst>
          </p:cNvPr>
          <p:cNvSpPr/>
          <p:nvPr/>
        </p:nvSpPr>
        <p:spPr>
          <a:xfrm>
            <a:off x="9785406" y="4365602"/>
            <a:ext cx="1596390" cy="819725"/>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00"/>
          </a:p>
        </p:txBody>
      </p:sp>
      <p:sp>
        <p:nvSpPr>
          <p:cNvPr id="6" name="CasellaDiTesto 5">
            <a:extLst>
              <a:ext uri="{FF2B5EF4-FFF2-40B4-BE49-F238E27FC236}">
                <a16:creationId xmlns:a16="http://schemas.microsoft.com/office/drawing/2014/main" id="{EE84A7CC-3639-F9B5-921E-8EEBC5E4F53C}"/>
              </a:ext>
            </a:extLst>
          </p:cNvPr>
          <p:cNvSpPr txBox="1"/>
          <p:nvPr/>
        </p:nvSpPr>
        <p:spPr>
          <a:xfrm>
            <a:off x="9895242" y="4483076"/>
            <a:ext cx="1366207" cy="584775"/>
          </a:xfrm>
          <a:prstGeom prst="rect">
            <a:avLst/>
          </a:prstGeom>
          <a:noFill/>
        </p:spPr>
        <p:txBody>
          <a:bodyPr wrap="square" rtlCol="0">
            <a:spAutoFit/>
          </a:bodyPr>
          <a:lstStyle/>
          <a:p>
            <a:pPr algn="ctr"/>
            <a:r>
              <a:rPr lang="it-IT" sz="1600" b="1" dirty="0">
                <a:solidFill>
                  <a:schemeClr val="accent1"/>
                </a:solidFill>
                <a:hlinkClick r:id="rId3" action="ppaction://hlinksldjump"/>
              </a:rPr>
              <a:t>Vedi indice corsi</a:t>
            </a:r>
            <a:endParaRPr lang="it-IT" sz="1600" b="1" dirty="0">
              <a:solidFill>
                <a:schemeClr val="accent1"/>
              </a:solidFill>
            </a:endParaRPr>
          </a:p>
        </p:txBody>
      </p:sp>
      <p:pic>
        <p:nvPicPr>
          <p:cNvPr id="14" name="Immagine 13">
            <a:extLst>
              <a:ext uri="{FF2B5EF4-FFF2-40B4-BE49-F238E27FC236}">
                <a16:creationId xmlns:a16="http://schemas.microsoft.com/office/drawing/2014/main" id="{344EB33D-553F-4B09-893C-DE597D59E5AF}"/>
              </a:ext>
            </a:extLst>
          </p:cNvPr>
          <p:cNvPicPr>
            <a:picLocks noChangeAspect="1"/>
          </p:cNvPicPr>
          <p:nvPr/>
        </p:nvPicPr>
        <p:blipFill>
          <a:blip r:embed="rId4"/>
          <a:stretch>
            <a:fillRect/>
          </a:stretch>
        </p:blipFill>
        <p:spPr>
          <a:xfrm>
            <a:off x="327484" y="5784507"/>
            <a:ext cx="9567758" cy="1086724"/>
          </a:xfrm>
          <a:prstGeom prst="rect">
            <a:avLst/>
          </a:prstGeom>
        </p:spPr>
      </p:pic>
      <p:pic>
        <p:nvPicPr>
          <p:cNvPr id="15" name="Immagine 14">
            <a:extLst>
              <a:ext uri="{FF2B5EF4-FFF2-40B4-BE49-F238E27FC236}">
                <a16:creationId xmlns:a16="http://schemas.microsoft.com/office/drawing/2014/main" id="{F85A6562-C6C2-4AF1-8A80-581B805639FF}"/>
              </a:ext>
            </a:extLst>
          </p:cNvPr>
          <p:cNvPicPr>
            <a:picLocks noChangeAspect="1"/>
          </p:cNvPicPr>
          <p:nvPr/>
        </p:nvPicPr>
        <p:blipFill>
          <a:blip r:embed="rId5"/>
          <a:stretch>
            <a:fillRect/>
          </a:stretch>
        </p:blipFill>
        <p:spPr>
          <a:xfrm>
            <a:off x="9898769" y="6182710"/>
            <a:ext cx="1378634" cy="340953"/>
          </a:xfrm>
          <a:prstGeom prst="rect">
            <a:avLst/>
          </a:prstGeom>
        </p:spPr>
      </p:pic>
    </p:spTree>
    <p:extLst>
      <p:ext uri="{BB962C8B-B14F-4D97-AF65-F5344CB8AC3E}">
        <p14:creationId xmlns:p14="http://schemas.microsoft.com/office/powerpoint/2010/main" val="15225376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48569" y="245362"/>
            <a:ext cx="11342670" cy="659155"/>
          </a:xfrm>
          <a:prstGeom prst="rect">
            <a:avLst/>
          </a:prstGeom>
        </p:spPr>
        <p:txBody>
          <a:bodyPr vert="horz" wrap="square" lIns="0" tIns="12700" rIns="0" bIns="0" rtlCol="0">
            <a:spAutoFit/>
          </a:bodyPr>
          <a:lstStyle/>
          <a:p>
            <a:pPr marL="12700">
              <a:lnSpc>
                <a:spcPct val="100000"/>
              </a:lnSpc>
              <a:spcBef>
                <a:spcPts val="100"/>
              </a:spcBef>
            </a:pPr>
            <a:r>
              <a:rPr lang="it-IT" sz="2800" spc="-15" dirty="0">
                <a:solidFill>
                  <a:schemeClr val="accent1"/>
                </a:solidFill>
                <a:latin typeface="+mn-lt"/>
              </a:rPr>
              <a:t>8. CORSO CUSTOMER SERVICE</a:t>
            </a:r>
            <a:br>
              <a:rPr lang="it-IT" sz="2800" spc="-15" dirty="0">
                <a:solidFill>
                  <a:schemeClr val="accent1"/>
                </a:solidFill>
                <a:latin typeface="+mn-lt"/>
              </a:rPr>
            </a:br>
            <a:r>
              <a:rPr lang="it-IT" sz="1400" spc="-15" dirty="0">
                <a:solidFill>
                  <a:schemeClr val="accent1"/>
                </a:solidFill>
                <a:latin typeface="+mn-lt"/>
              </a:rPr>
              <a:t>(OPAL Formazione </a:t>
            </a:r>
            <a:r>
              <a:rPr lang="it-IT" sz="1400" spc="-15" dirty="0" err="1">
                <a:solidFill>
                  <a:schemeClr val="accent1"/>
                </a:solidFill>
                <a:latin typeface="+mn-lt"/>
              </a:rPr>
              <a:t>Upskilling</a:t>
            </a:r>
            <a:r>
              <a:rPr lang="it-IT" sz="1400" spc="-15" dirty="0">
                <a:solidFill>
                  <a:schemeClr val="accent1"/>
                </a:solidFill>
                <a:latin typeface="+mn-lt"/>
              </a:rPr>
              <a:t> (RRSP) mirata al profilo OPERATORE DELL’ACCOGLIENZA E ASSISTENZA CLIENTI)</a:t>
            </a:r>
          </a:p>
        </p:txBody>
      </p:sp>
      <p:sp>
        <p:nvSpPr>
          <p:cNvPr id="5" name="object 5"/>
          <p:cNvSpPr/>
          <p:nvPr/>
        </p:nvSpPr>
        <p:spPr>
          <a:xfrm>
            <a:off x="345865" y="1819495"/>
            <a:ext cx="8889221" cy="1242955"/>
          </a:xfrm>
          <a:custGeom>
            <a:avLst/>
            <a:gdLst/>
            <a:ahLst/>
            <a:cxnLst/>
            <a:rect l="l" t="t" r="r" b="b"/>
            <a:pathLst>
              <a:path w="7729220" h="954405">
                <a:moveTo>
                  <a:pt x="7644907" y="954299"/>
                </a:moveTo>
                <a:lnTo>
                  <a:pt x="83692" y="954299"/>
                </a:lnTo>
                <a:lnTo>
                  <a:pt x="51115" y="947723"/>
                </a:lnTo>
                <a:lnTo>
                  <a:pt x="24512" y="929787"/>
                </a:lnTo>
                <a:lnTo>
                  <a:pt x="6576" y="903184"/>
                </a:lnTo>
                <a:lnTo>
                  <a:pt x="0" y="870607"/>
                </a:lnTo>
                <a:lnTo>
                  <a:pt x="0" y="83692"/>
                </a:lnTo>
                <a:lnTo>
                  <a:pt x="6576" y="51115"/>
                </a:lnTo>
                <a:lnTo>
                  <a:pt x="24512" y="24512"/>
                </a:lnTo>
                <a:lnTo>
                  <a:pt x="51115" y="6576"/>
                </a:lnTo>
                <a:lnTo>
                  <a:pt x="83692" y="0"/>
                </a:lnTo>
                <a:lnTo>
                  <a:pt x="7644907" y="0"/>
                </a:lnTo>
                <a:lnTo>
                  <a:pt x="7691340" y="14061"/>
                </a:lnTo>
                <a:lnTo>
                  <a:pt x="7722229" y="51664"/>
                </a:lnTo>
                <a:lnTo>
                  <a:pt x="7728599" y="83692"/>
                </a:lnTo>
                <a:lnTo>
                  <a:pt x="7728599" y="870607"/>
                </a:lnTo>
                <a:lnTo>
                  <a:pt x="7722023" y="903184"/>
                </a:lnTo>
                <a:lnTo>
                  <a:pt x="7704087" y="929787"/>
                </a:lnTo>
                <a:lnTo>
                  <a:pt x="7677484" y="947723"/>
                </a:lnTo>
                <a:lnTo>
                  <a:pt x="7644907" y="954299"/>
                </a:lnTo>
                <a:close/>
              </a:path>
            </a:pathLst>
          </a:custGeom>
          <a:solidFill>
            <a:schemeClr val="bg2">
              <a:lumMod val="90000"/>
            </a:schemeClr>
          </a:solidFill>
        </p:spPr>
        <p:txBody>
          <a:bodyPr wrap="square" lIns="0" tIns="0" rIns="0" bIns="0" rtlCol="0"/>
          <a:lstStyle/>
          <a:p>
            <a:endParaRPr>
              <a:solidFill>
                <a:srgbClr val="00B050"/>
              </a:solidFill>
            </a:endParaRPr>
          </a:p>
        </p:txBody>
      </p:sp>
      <p:sp>
        <p:nvSpPr>
          <p:cNvPr id="11" name="object 11"/>
          <p:cNvSpPr txBox="1"/>
          <p:nvPr/>
        </p:nvSpPr>
        <p:spPr>
          <a:xfrm>
            <a:off x="11564529" y="667977"/>
            <a:ext cx="302895" cy="604520"/>
          </a:xfrm>
          <a:prstGeom prst="rect">
            <a:avLst/>
          </a:prstGeom>
        </p:spPr>
        <p:txBody>
          <a:bodyPr vert="horz" wrap="square" lIns="0" tIns="12700" rIns="0" bIns="0" rtlCol="0">
            <a:spAutoFit/>
          </a:bodyPr>
          <a:lstStyle/>
          <a:p>
            <a:pPr marL="12700">
              <a:lnSpc>
                <a:spcPct val="100000"/>
              </a:lnSpc>
              <a:spcBef>
                <a:spcPts val="100"/>
              </a:spcBef>
            </a:pPr>
            <a:r>
              <a:rPr sz="3800" b="1" dirty="0">
                <a:solidFill>
                  <a:srgbClr val="FFFFFF"/>
                </a:solidFill>
                <a:latin typeface="Roboto"/>
                <a:cs typeface="Roboto"/>
              </a:rPr>
              <a:t>1</a:t>
            </a:r>
            <a:endParaRPr sz="3800">
              <a:latin typeface="Roboto"/>
              <a:cs typeface="Roboto"/>
            </a:endParaRPr>
          </a:p>
        </p:txBody>
      </p:sp>
      <p:sp>
        <p:nvSpPr>
          <p:cNvPr id="12" name="object 12"/>
          <p:cNvSpPr/>
          <p:nvPr/>
        </p:nvSpPr>
        <p:spPr>
          <a:xfrm>
            <a:off x="406356" y="3352224"/>
            <a:ext cx="4113961" cy="537585"/>
          </a:xfrm>
          <a:custGeom>
            <a:avLst/>
            <a:gdLst/>
            <a:ahLst/>
            <a:cxnLst/>
            <a:rect l="l" t="t" r="r" b="b"/>
            <a:pathLst>
              <a:path w="1596389" h="472439">
                <a:moveTo>
                  <a:pt x="1554614" y="471899"/>
                </a:moveTo>
                <a:lnTo>
                  <a:pt x="41385" y="471899"/>
                </a:lnTo>
                <a:lnTo>
                  <a:pt x="25276" y="468647"/>
                </a:lnTo>
                <a:lnTo>
                  <a:pt x="12121" y="459778"/>
                </a:lnTo>
                <a:lnTo>
                  <a:pt x="3252" y="446623"/>
                </a:lnTo>
                <a:lnTo>
                  <a:pt x="0" y="430514"/>
                </a:lnTo>
                <a:lnTo>
                  <a:pt x="0" y="41385"/>
                </a:lnTo>
                <a:lnTo>
                  <a:pt x="3252" y="25276"/>
                </a:lnTo>
                <a:lnTo>
                  <a:pt x="12121" y="12121"/>
                </a:lnTo>
                <a:lnTo>
                  <a:pt x="25276" y="3252"/>
                </a:lnTo>
                <a:lnTo>
                  <a:pt x="41385" y="0"/>
                </a:lnTo>
                <a:lnTo>
                  <a:pt x="1554614" y="0"/>
                </a:lnTo>
                <a:lnTo>
                  <a:pt x="1589046" y="18424"/>
                </a:lnTo>
                <a:lnTo>
                  <a:pt x="1595999" y="41385"/>
                </a:lnTo>
                <a:lnTo>
                  <a:pt x="1595999" y="430514"/>
                </a:lnTo>
                <a:lnTo>
                  <a:pt x="1592747" y="446623"/>
                </a:lnTo>
                <a:lnTo>
                  <a:pt x="1583878" y="459778"/>
                </a:lnTo>
                <a:lnTo>
                  <a:pt x="1570723" y="468647"/>
                </a:lnTo>
                <a:lnTo>
                  <a:pt x="1554614" y="471899"/>
                </a:lnTo>
                <a:close/>
              </a:path>
            </a:pathLst>
          </a:custGeom>
          <a:solidFill>
            <a:schemeClr val="accent1"/>
          </a:solidFill>
        </p:spPr>
        <p:txBody>
          <a:bodyPr wrap="square" lIns="0" tIns="0" rIns="0" bIns="0" rtlCol="0"/>
          <a:lstStyle/>
          <a:p>
            <a:endParaRPr/>
          </a:p>
        </p:txBody>
      </p:sp>
      <p:sp>
        <p:nvSpPr>
          <p:cNvPr id="13" name="object 13"/>
          <p:cNvSpPr txBox="1"/>
          <p:nvPr/>
        </p:nvSpPr>
        <p:spPr>
          <a:xfrm>
            <a:off x="541738" y="3434471"/>
            <a:ext cx="8889221" cy="320601"/>
          </a:xfrm>
          <a:prstGeom prst="rect">
            <a:avLst/>
          </a:prstGeom>
        </p:spPr>
        <p:txBody>
          <a:bodyPr vert="horz" wrap="square" lIns="0" tIns="12700" rIns="0" bIns="0" rtlCol="0">
            <a:spAutoFit/>
          </a:bodyPr>
          <a:lstStyle/>
          <a:p>
            <a:pPr marL="12700">
              <a:lnSpc>
                <a:spcPct val="100000"/>
              </a:lnSpc>
              <a:spcBef>
                <a:spcPts val="100"/>
              </a:spcBef>
            </a:pPr>
            <a:r>
              <a:rPr lang="it-IT" sz="2000" b="1" spc="-25" dirty="0">
                <a:solidFill>
                  <a:srgbClr val="FFFFFF"/>
                </a:solidFill>
                <a:cs typeface="Roboto"/>
              </a:rPr>
              <a:t>I partecipanti saranno in grado di:</a:t>
            </a:r>
            <a:endParaRPr lang="it-IT" sz="2000" dirty="0">
              <a:cs typeface="Roboto"/>
            </a:endParaRPr>
          </a:p>
        </p:txBody>
      </p:sp>
      <p:sp>
        <p:nvSpPr>
          <p:cNvPr id="14" name="object 14"/>
          <p:cNvSpPr/>
          <p:nvPr/>
        </p:nvSpPr>
        <p:spPr>
          <a:xfrm>
            <a:off x="10223784" y="1797206"/>
            <a:ext cx="1596390" cy="1625373"/>
          </a:xfrm>
          <a:custGeom>
            <a:avLst/>
            <a:gdLst/>
            <a:ahLst/>
            <a:cxnLst/>
            <a:rect l="l" t="t" r="r" b="b"/>
            <a:pathLst>
              <a:path w="1596390" h="954405">
                <a:moveTo>
                  <a:pt x="1512307" y="954299"/>
                </a:moveTo>
                <a:lnTo>
                  <a:pt x="83692" y="954299"/>
                </a:lnTo>
                <a:lnTo>
                  <a:pt x="51115" y="947723"/>
                </a:lnTo>
                <a:lnTo>
                  <a:pt x="24512" y="929787"/>
                </a:lnTo>
                <a:lnTo>
                  <a:pt x="6576" y="903184"/>
                </a:lnTo>
                <a:lnTo>
                  <a:pt x="0" y="870607"/>
                </a:lnTo>
                <a:lnTo>
                  <a:pt x="0" y="83692"/>
                </a:lnTo>
                <a:lnTo>
                  <a:pt x="6576" y="51115"/>
                </a:lnTo>
                <a:lnTo>
                  <a:pt x="24512" y="24512"/>
                </a:lnTo>
                <a:lnTo>
                  <a:pt x="51115" y="6576"/>
                </a:lnTo>
                <a:lnTo>
                  <a:pt x="83692" y="0"/>
                </a:lnTo>
                <a:lnTo>
                  <a:pt x="1512307" y="0"/>
                </a:lnTo>
                <a:lnTo>
                  <a:pt x="1558740" y="14061"/>
                </a:lnTo>
                <a:lnTo>
                  <a:pt x="1589629" y="51664"/>
                </a:lnTo>
                <a:lnTo>
                  <a:pt x="1595999" y="83692"/>
                </a:lnTo>
                <a:lnTo>
                  <a:pt x="1595999" y="870607"/>
                </a:lnTo>
                <a:lnTo>
                  <a:pt x="1589423" y="903184"/>
                </a:lnTo>
                <a:lnTo>
                  <a:pt x="1571487" y="929787"/>
                </a:lnTo>
                <a:lnTo>
                  <a:pt x="1544884" y="947723"/>
                </a:lnTo>
                <a:lnTo>
                  <a:pt x="1512307" y="954299"/>
                </a:lnTo>
                <a:close/>
              </a:path>
            </a:pathLst>
          </a:custGeom>
          <a:solidFill>
            <a:schemeClr val="accent1"/>
          </a:solidFill>
        </p:spPr>
        <p:txBody>
          <a:bodyPr wrap="square" lIns="0" tIns="0" rIns="0" bIns="0" rtlCol="0"/>
          <a:lstStyle/>
          <a:p>
            <a:endParaRPr lang="it-IT">
              <a:solidFill>
                <a:schemeClr val="accent1"/>
              </a:solidFill>
            </a:endParaRPr>
          </a:p>
        </p:txBody>
      </p:sp>
      <p:sp>
        <p:nvSpPr>
          <p:cNvPr id="15" name="object 15"/>
          <p:cNvSpPr txBox="1"/>
          <p:nvPr/>
        </p:nvSpPr>
        <p:spPr>
          <a:xfrm>
            <a:off x="10519343" y="2185437"/>
            <a:ext cx="1099771" cy="689932"/>
          </a:xfrm>
          <a:prstGeom prst="rect">
            <a:avLst/>
          </a:prstGeom>
        </p:spPr>
        <p:txBody>
          <a:bodyPr vert="horz" wrap="square" lIns="0" tIns="12700" rIns="0" bIns="0" rtlCol="0">
            <a:spAutoFit/>
          </a:bodyPr>
          <a:lstStyle/>
          <a:p>
            <a:pPr marL="12700">
              <a:lnSpc>
                <a:spcPct val="100000"/>
              </a:lnSpc>
              <a:spcBef>
                <a:spcPts val="100"/>
              </a:spcBef>
            </a:pPr>
            <a:r>
              <a:rPr lang="it-IT" sz="2200" b="1" spc="-5" dirty="0">
                <a:solidFill>
                  <a:srgbClr val="FFFFFF"/>
                </a:solidFill>
                <a:cs typeface="Roboto"/>
              </a:rPr>
              <a:t>Durata:40</a:t>
            </a:r>
            <a:r>
              <a:rPr lang="it-IT" sz="2200" b="1" spc="-80" dirty="0">
                <a:solidFill>
                  <a:srgbClr val="FFFFFF"/>
                </a:solidFill>
                <a:cs typeface="Roboto"/>
              </a:rPr>
              <a:t> </a:t>
            </a:r>
            <a:r>
              <a:rPr lang="it-IT" sz="2200" b="1" dirty="0">
                <a:solidFill>
                  <a:srgbClr val="FFFFFF"/>
                </a:solidFill>
                <a:cs typeface="Roboto"/>
              </a:rPr>
              <a:t>ORE</a:t>
            </a:r>
          </a:p>
        </p:txBody>
      </p:sp>
      <p:sp>
        <p:nvSpPr>
          <p:cNvPr id="19" name="CasellaDiTesto 18">
            <a:extLst>
              <a:ext uri="{FF2B5EF4-FFF2-40B4-BE49-F238E27FC236}">
                <a16:creationId xmlns:a16="http://schemas.microsoft.com/office/drawing/2014/main" id="{AE419993-E428-4926-B9BE-D3A35F84AC1A}"/>
              </a:ext>
            </a:extLst>
          </p:cNvPr>
          <p:cNvSpPr txBox="1"/>
          <p:nvPr/>
        </p:nvSpPr>
        <p:spPr>
          <a:xfrm>
            <a:off x="348569" y="1233374"/>
            <a:ext cx="4171748" cy="400110"/>
          </a:xfrm>
          <a:prstGeom prst="rect">
            <a:avLst/>
          </a:prstGeom>
          <a:noFill/>
        </p:spPr>
        <p:txBody>
          <a:bodyPr wrap="square">
            <a:spAutoFit/>
          </a:bodyPr>
          <a:lstStyle/>
          <a:p>
            <a:pPr marL="59690">
              <a:lnSpc>
                <a:spcPct val="100000"/>
              </a:lnSpc>
              <a:spcBef>
                <a:spcPts val="1370"/>
              </a:spcBef>
            </a:pPr>
            <a:r>
              <a:rPr lang="it-IT" sz="2000" b="1" i="1" spc="20" dirty="0">
                <a:solidFill>
                  <a:schemeClr val="tx1">
                    <a:lumMod val="65000"/>
                    <a:lumOff val="35000"/>
                  </a:schemeClr>
                </a:solidFill>
                <a:cs typeface="Roboto"/>
              </a:rPr>
              <a:t>Upskilling</a:t>
            </a:r>
            <a:r>
              <a:rPr lang="it-IT" sz="2000" b="1" spc="20" dirty="0">
                <a:solidFill>
                  <a:schemeClr val="tx1">
                    <a:lumMod val="65000"/>
                    <a:lumOff val="35000"/>
                  </a:schemeClr>
                </a:solidFill>
                <a:cs typeface="Roboto"/>
              </a:rPr>
              <a:t> mirato al profilo di: </a:t>
            </a:r>
          </a:p>
        </p:txBody>
      </p:sp>
      <p:sp>
        <p:nvSpPr>
          <p:cNvPr id="23" name="object 13">
            <a:extLst>
              <a:ext uri="{FF2B5EF4-FFF2-40B4-BE49-F238E27FC236}">
                <a16:creationId xmlns:a16="http://schemas.microsoft.com/office/drawing/2014/main" id="{26655215-3172-4130-B17A-FB0B2AA9CF00}"/>
              </a:ext>
            </a:extLst>
          </p:cNvPr>
          <p:cNvSpPr txBox="1"/>
          <p:nvPr/>
        </p:nvSpPr>
        <p:spPr>
          <a:xfrm>
            <a:off x="0" y="4127093"/>
            <a:ext cx="9690985" cy="1120820"/>
          </a:xfrm>
          <a:prstGeom prst="rect">
            <a:avLst/>
          </a:prstGeom>
        </p:spPr>
        <p:txBody>
          <a:bodyPr vert="horz" wrap="square" lIns="0" tIns="12700" rIns="0" bIns="0" rtlCol="0">
            <a:spAutoFit/>
          </a:bodyPr>
          <a:lstStyle/>
          <a:p>
            <a:pPr marL="742950" lvl="1" indent="-285750">
              <a:spcBef>
                <a:spcPts val="10"/>
              </a:spcBef>
              <a:buFont typeface="Wingdings" panose="05000000000000000000" pitchFamily="2" charset="2"/>
              <a:buChar char="v"/>
            </a:pPr>
            <a:r>
              <a:rPr lang="it-IT" spc="-15" dirty="0">
                <a:solidFill>
                  <a:srgbClr val="333333"/>
                </a:solidFill>
              </a:rPr>
              <a:t>Gestire la relazione con il cliente, seguendolo nella fase di accoglienza, di erogazione di informazioni e di gestione dei reclami</a:t>
            </a:r>
          </a:p>
          <a:p>
            <a:pPr marL="742950" lvl="1" indent="-285750">
              <a:spcBef>
                <a:spcPts val="10"/>
              </a:spcBef>
              <a:buFont typeface="Wingdings" panose="05000000000000000000" pitchFamily="2" charset="2"/>
              <a:buChar char="v"/>
            </a:pPr>
            <a:r>
              <a:rPr lang="it-IT" spc="-15" dirty="0">
                <a:solidFill>
                  <a:srgbClr val="333333"/>
                </a:solidFill>
              </a:rPr>
              <a:t>Tecniche di comunicazione </a:t>
            </a:r>
          </a:p>
          <a:p>
            <a:pPr marL="742950" lvl="1" indent="-285750">
              <a:spcBef>
                <a:spcPts val="10"/>
              </a:spcBef>
              <a:buFont typeface="Wingdings" panose="05000000000000000000" pitchFamily="2" charset="2"/>
              <a:buChar char="v"/>
            </a:pPr>
            <a:r>
              <a:rPr lang="it-IT" spc="-15" dirty="0">
                <a:solidFill>
                  <a:srgbClr val="333333"/>
                </a:solidFill>
              </a:rPr>
              <a:t>Servizio di accoglienza clienti ed assistenza </a:t>
            </a:r>
            <a:r>
              <a:rPr lang="it-IT" spc="-15" dirty="0" err="1">
                <a:solidFill>
                  <a:srgbClr val="333333"/>
                </a:solidFill>
              </a:rPr>
              <a:t>pre</a:t>
            </a:r>
            <a:r>
              <a:rPr lang="it-IT" spc="-15" dirty="0">
                <a:solidFill>
                  <a:srgbClr val="333333"/>
                </a:solidFill>
              </a:rPr>
              <a:t> e post vendita</a:t>
            </a:r>
          </a:p>
        </p:txBody>
      </p:sp>
      <p:sp>
        <p:nvSpPr>
          <p:cNvPr id="18" name="object 7">
            <a:extLst>
              <a:ext uri="{FF2B5EF4-FFF2-40B4-BE49-F238E27FC236}">
                <a16:creationId xmlns:a16="http://schemas.microsoft.com/office/drawing/2014/main" id="{BCA79126-CD8E-4B74-897D-BAC10847B75A}"/>
              </a:ext>
            </a:extLst>
          </p:cNvPr>
          <p:cNvSpPr txBox="1"/>
          <p:nvPr/>
        </p:nvSpPr>
        <p:spPr>
          <a:xfrm>
            <a:off x="515569" y="1835699"/>
            <a:ext cx="8549812" cy="1011046"/>
          </a:xfrm>
          <a:prstGeom prst="rect">
            <a:avLst/>
          </a:prstGeom>
        </p:spPr>
        <p:txBody>
          <a:bodyPr vert="horz" wrap="square" lIns="0" tIns="173990" rIns="0" bIns="0" rtlCol="0">
            <a:spAutoFit/>
          </a:bodyPr>
          <a:lstStyle/>
          <a:p>
            <a:pPr marL="12700" marR="5080" algn="just">
              <a:lnSpc>
                <a:spcPct val="101600"/>
              </a:lnSpc>
              <a:spcBef>
                <a:spcPts val="985"/>
              </a:spcBef>
            </a:pPr>
            <a:r>
              <a:rPr lang="it-IT" b="1" spc="-15" dirty="0">
                <a:solidFill>
                  <a:srgbClr val="333333"/>
                </a:solidFill>
              </a:rPr>
              <a:t>Operatore dell’accoglienza e assistenza clienti: </a:t>
            </a:r>
            <a:r>
              <a:rPr lang="it-IT" spc="-15" dirty="0">
                <a:solidFill>
                  <a:srgbClr val="333333"/>
                </a:solidFill>
              </a:rPr>
              <a:t>si occupa di facilitare l'accesso alla corretta fruizione dei servizi, anche online, da parte dei clienti, fornendo loro strumenti e indicazioni necessari.</a:t>
            </a:r>
          </a:p>
        </p:txBody>
      </p:sp>
      <p:sp>
        <p:nvSpPr>
          <p:cNvPr id="2" name="Rettangolo con angoli arrotondati 1">
            <a:extLst>
              <a:ext uri="{FF2B5EF4-FFF2-40B4-BE49-F238E27FC236}">
                <a16:creationId xmlns:a16="http://schemas.microsoft.com/office/drawing/2014/main" id="{39766045-3997-409B-65D0-EF7DCD8D4C13}"/>
              </a:ext>
            </a:extLst>
          </p:cNvPr>
          <p:cNvSpPr/>
          <p:nvPr/>
        </p:nvSpPr>
        <p:spPr>
          <a:xfrm>
            <a:off x="10271034" y="3570536"/>
            <a:ext cx="1596390" cy="819725"/>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00"/>
          </a:p>
        </p:txBody>
      </p:sp>
      <p:sp>
        <p:nvSpPr>
          <p:cNvPr id="7" name="CasellaDiTesto 6">
            <a:extLst>
              <a:ext uri="{FF2B5EF4-FFF2-40B4-BE49-F238E27FC236}">
                <a16:creationId xmlns:a16="http://schemas.microsoft.com/office/drawing/2014/main" id="{A59B91C8-91B5-BA1A-95B2-5464DDC3841C}"/>
              </a:ext>
            </a:extLst>
          </p:cNvPr>
          <p:cNvSpPr txBox="1"/>
          <p:nvPr/>
        </p:nvSpPr>
        <p:spPr>
          <a:xfrm>
            <a:off x="10419437" y="3707570"/>
            <a:ext cx="1366207" cy="584775"/>
          </a:xfrm>
          <a:prstGeom prst="rect">
            <a:avLst/>
          </a:prstGeom>
          <a:noFill/>
        </p:spPr>
        <p:txBody>
          <a:bodyPr wrap="square" rtlCol="0">
            <a:spAutoFit/>
          </a:bodyPr>
          <a:lstStyle/>
          <a:p>
            <a:pPr algn="ctr"/>
            <a:r>
              <a:rPr lang="it-IT" sz="1600" b="1" dirty="0">
                <a:solidFill>
                  <a:schemeClr val="accent1"/>
                </a:solidFill>
                <a:hlinkClick r:id="rId3" action="ppaction://hlinksldjump"/>
              </a:rPr>
              <a:t>Vedi indice corsi</a:t>
            </a:r>
            <a:endParaRPr lang="it-IT" sz="1600" b="1" dirty="0">
              <a:solidFill>
                <a:schemeClr val="accent1"/>
              </a:solidFill>
            </a:endParaRPr>
          </a:p>
        </p:txBody>
      </p:sp>
      <p:pic>
        <p:nvPicPr>
          <p:cNvPr id="16" name="Immagine 15">
            <a:extLst>
              <a:ext uri="{FF2B5EF4-FFF2-40B4-BE49-F238E27FC236}">
                <a16:creationId xmlns:a16="http://schemas.microsoft.com/office/drawing/2014/main" id="{970A3854-F891-4443-BB0D-F27AC3012BCE}"/>
              </a:ext>
            </a:extLst>
          </p:cNvPr>
          <p:cNvPicPr>
            <a:picLocks noChangeAspect="1"/>
          </p:cNvPicPr>
          <p:nvPr/>
        </p:nvPicPr>
        <p:blipFill>
          <a:blip r:embed="rId4"/>
          <a:stretch>
            <a:fillRect/>
          </a:stretch>
        </p:blipFill>
        <p:spPr>
          <a:xfrm>
            <a:off x="327484" y="5784507"/>
            <a:ext cx="9567758" cy="1086724"/>
          </a:xfrm>
          <a:prstGeom prst="rect">
            <a:avLst/>
          </a:prstGeom>
        </p:spPr>
      </p:pic>
      <p:pic>
        <p:nvPicPr>
          <p:cNvPr id="17" name="Immagine 16">
            <a:extLst>
              <a:ext uri="{FF2B5EF4-FFF2-40B4-BE49-F238E27FC236}">
                <a16:creationId xmlns:a16="http://schemas.microsoft.com/office/drawing/2014/main" id="{DA349237-0BBD-41E8-942B-D4FF9758B568}"/>
              </a:ext>
            </a:extLst>
          </p:cNvPr>
          <p:cNvPicPr>
            <a:picLocks noChangeAspect="1"/>
          </p:cNvPicPr>
          <p:nvPr/>
        </p:nvPicPr>
        <p:blipFill>
          <a:blip r:embed="rId5"/>
          <a:stretch>
            <a:fillRect/>
          </a:stretch>
        </p:blipFill>
        <p:spPr>
          <a:xfrm>
            <a:off x="9898769" y="6182710"/>
            <a:ext cx="1378634" cy="340953"/>
          </a:xfrm>
          <a:prstGeom prst="rect">
            <a:avLst/>
          </a:prstGeom>
        </p:spPr>
      </p:pic>
    </p:spTree>
    <p:extLst>
      <p:ext uri="{BB962C8B-B14F-4D97-AF65-F5344CB8AC3E}">
        <p14:creationId xmlns:p14="http://schemas.microsoft.com/office/powerpoint/2010/main" val="47005817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418183" y="281310"/>
            <a:ext cx="10917349" cy="659155"/>
          </a:xfrm>
          <a:prstGeom prst="rect">
            <a:avLst/>
          </a:prstGeom>
        </p:spPr>
        <p:txBody>
          <a:bodyPr vert="horz" wrap="square" lIns="0" tIns="12700" rIns="0" bIns="0" rtlCol="0">
            <a:spAutoFit/>
          </a:bodyPr>
          <a:lstStyle/>
          <a:p>
            <a:pPr marL="12700">
              <a:lnSpc>
                <a:spcPct val="100000"/>
              </a:lnSpc>
              <a:spcBef>
                <a:spcPts val="100"/>
              </a:spcBef>
            </a:pPr>
            <a:r>
              <a:rPr lang="it-IT" sz="2800" spc="-15" dirty="0">
                <a:solidFill>
                  <a:schemeClr val="accent1"/>
                </a:solidFill>
                <a:latin typeface="+mn-lt"/>
              </a:rPr>
              <a:t>8. CORSO CUSTOMER SERVICE</a:t>
            </a:r>
            <a:br>
              <a:rPr lang="it-IT" sz="2800" spc="-15" dirty="0">
                <a:solidFill>
                  <a:schemeClr val="accent1"/>
                </a:solidFill>
                <a:latin typeface="+mn-lt"/>
              </a:rPr>
            </a:br>
            <a:r>
              <a:rPr lang="it-IT" sz="1400" spc="-15" dirty="0">
                <a:solidFill>
                  <a:schemeClr val="accent1"/>
                </a:solidFill>
                <a:latin typeface="+mn-lt"/>
              </a:rPr>
              <a:t>(OPAL Formazione </a:t>
            </a:r>
            <a:r>
              <a:rPr lang="it-IT" sz="1400" spc="-15" dirty="0" err="1">
                <a:solidFill>
                  <a:schemeClr val="accent1"/>
                </a:solidFill>
                <a:latin typeface="+mn-lt"/>
              </a:rPr>
              <a:t>Upskilling</a:t>
            </a:r>
            <a:r>
              <a:rPr lang="it-IT" sz="1400" spc="-15" dirty="0">
                <a:solidFill>
                  <a:schemeClr val="accent1"/>
                </a:solidFill>
                <a:latin typeface="+mn-lt"/>
              </a:rPr>
              <a:t> (RRSP) mirata al profilo OPERATORE DELL’ACCOGLIENZA E ASSISTENZA CLIENTI)</a:t>
            </a:r>
          </a:p>
        </p:txBody>
      </p:sp>
      <p:sp>
        <p:nvSpPr>
          <p:cNvPr id="11" name="object 11"/>
          <p:cNvSpPr txBox="1"/>
          <p:nvPr/>
        </p:nvSpPr>
        <p:spPr>
          <a:xfrm>
            <a:off x="11596613" y="154633"/>
            <a:ext cx="302895" cy="604520"/>
          </a:xfrm>
          <a:prstGeom prst="rect">
            <a:avLst/>
          </a:prstGeom>
        </p:spPr>
        <p:txBody>
          <a:bodyPr vert="horz" wrap="square" lIns="0" tIns="12700" rIns="0" bIns="0" rtlCol="0">
            <a:spAutoFit/>
          </a:bodyPr>
          <a:lstStyle/>
          <a:p>
            <a:pPr marL="12700">
              <a:lnSpc>
                <a:spcPct val="100000"/>
              </a:lnSpc>
              <a:spcBef>
                <a:spcPts val="100"/>
              </a:spcBef>
            </a:pPr>
            <a:r>
              <a:rPr sz="3800" b="1" dirty="0">
                <a:solidFill>
                  <a:srgbClr val="FFFFFF"/>
                </a:solidFill>
                <a:latin typeface="Roboto"/>
                <a:cs typeface="Roboto"/>
              </a:rPr>
              <a:t>1</a:t>
            </a:r>
            <a:endParaRPr sz="3800">
              <a:latin typeface="Roboto"/>
              <a:cs typeface="Roboto"/>
            </a:endParaRPr>
          </a:p>
        </p:txBody>
      </p:sp>
      <p:sp>
        <p:nvSpPr>
          <p:cNvPr id="13" name="object 13"/>
          <p:cNvSpPr txBox="1"/>
          <p:nvPr/>
        </p:nvSpPr>
        <p:spPr>
          <a:xfrm>
            <a:off x="830494" y="3434471"/>
            <a:ext cx="8889221" cy="320601"/>
          </a:xfrm>
          <a:prstGeom prst="rect">
            <a:avLst/>
          </a:prstGeom>
        </p:spPr>
        <p:txBody>
          <a:bodyPr vert="horz" wrap="square" lIns="0" tIns="12700" rIns="0" bIns="0" rtlCol="0">
            <a:spAutoFit/>
          </a:bodyPr>
          <a:lstStyle/>
          <a:p>
            <a:pPr marL="12700">
              <a:lnSpc>
                <a:spcPct val="100000"/>
              </a:lnSpc>
              <a:spcBef>
                <a:spcPts val="100"/>
              </a:spcBef>
            </a:pPr>
            <a:r>
              <a:rPr lang="it-IT" sz="2000" b="1" spc="-25" dirty="0">
                <a:solidFill>
                  <a:srgbClr val="FFFFFF"/>
                </a:solidFill>
                <a:cs typeface="Roboto"/>
              </a:rPr>
              <a:t>I partecipanti saranno in grado di:</a:t>
            </a:r>
            <a:endParaRPr lang="it-IT" sz="2000" dirty="0">
              <a:cs typeface="Roboto"/>
            </a:endParaRPr>
          </a:p>
        </p:txBody>
      </p:sp>
      <p:sp>
        <p:nvSpPr>
          <p:cNvPr id="15" name="object 15"/>
          <p:cNvSpPr txBox="1"/>
          <p:nvPr/>
        </p:nvSpPr>
        <p:spPr>
          <a:xfrm>
            <a:off x="10227205" y="1985879"/>
            <a:ext cx="942975" cy="689932"/>
          </a:xfrm>
          <a:prstGeom prst="rect">
            <a:avLst/>
          </a:prstGeom>
        </p:spPr>
        <p:txBody>
          <a:bodyPr vert="horz" wrap="square" lIns="0" tIns="12700" rIns="0" bIns="0" rtlCol="0">
            <a:spAutoFit/>
          </a:bodyPr>
          <a:lstStyle/>
          <a:p>
            <a:pPr marL="12700">
              <a:lnSpc>
                <a:spcPct val="100000"/>
              </a:lnSpc>
              <a:spcBef>
                <a:spcPts val="100"/>
              </a:spcBef>
            </a:pPr>
            <a:r>
              <a:rPr lang="it-IT" sz="2200" b="1" spc="-5" dirty="0">
                <a:solidFill>
                  <a:srgbClr val="FFFFFF"/>
                </a:solidFill>
                <a:cs typeface="Roboto"/>
              </a:rPr>
              <a:t>Durata:40</a:t>
            </a:r>
            <a:r>
              <a:rPr lang="it-IT" sz="2200" b="1" spc="-80" dirty="0">
                <a:solidFill>
                  <a:srgbClr val="FFFFFF"/>
                </a:solidFill>
                <a:cs typeface="Roboto"/>
              </a:rPr>
              <a:t> </a:t>
            </a:r>
            <a:r>
              <a:rPr lang="it-IT" sz="2200" b="1" dirty="0">
                <a:solidFill>
                  <a:srgbClr val="FFFFFF"/>
                </a:solidFill>
                <a:cs typeface="Roboto"/>
              </a:rPr>
              <a:t>ORE</a:t>
            </a:r>
          </a:p>
        </p:txBody>
      </p:sp>
      <p:sp>
        <p:nvSpPr>
          <p:cNvPr id="16" name="CasellaDiTesto 15">
            <a:extLst>
              <a:ext uri="{FF2B5EF4-FFF2-40B4-BE49-F238E27FC236}">
                <a16:creationId xmlns:a16="http://schemas.microsoft.com/office/drawing/2014/main" id="{2DEB545D-2146-41DA-8354-C6002A18E837}"/>
              </a:ext>
            </a:extLst>
          </p:cNvPr>
          <p:cNvSpPr txBox="1"/>
          <p:nvPr/>
        </p:nvSpPr>
        <p:spPr>
          <a:xfrm>
            <a:off x="327484" y="1955183"/>
            <a:ext cx="8724049" cy="3369064"/>
          </a:xfrm>
          <a:prstGeom prst="rect">
            <a:avLst/>
          </a:prstGeom>
          <a:noFill/>
        </p:spPr>
        <p:txBody>
          <a:bodyPr wrap="square" rtlCol="0">
            <a:spAutoFit/>
          </a:bodyPr>
          <a:lstStyle/>
          <a:p>
            <a:pPr marL="342900" indent="-342900" algn="just">
              <a:lnSpc>
                <a:spcPct val="150000"/>
              </a:lnSpc>
              <a:buFont typeface="Arial" panose="020B0604020202020204" pitchFamily="34" charset="0"/>
              <a:buChar char="•"/>
            </a:pPr>
            <a:r>
              <a:rPr lang="it-IT" b="0" i="0" dirty="0">
                <a:solidFill>
                  <a:srgbClr val="212121"/>
                </a:solidFill>
                <a:effectLst/>
              </a:rPr>
              <a:t>Tipologie, caratteristiche e funzionalità delle tecnologie a supporto della gestione delle comunicazioni telefoniche ed interpersonali verso l’esterno e verso l’interno</a:t>
            </a:r>
          </a:p>
          <a:p>
            <a:pPr marL="342900" indent="-342900" algn="just">
              <a:lnSpc>
                <a:spcPct val="150000"/>
              </a:lnSpc>
              <a:buFont typeface="Arial" panose="020B0604020202020204" pitchFamily="34" charset="0"/>
              <a:buChar char="•"/>
            </a:pPr>
            <a:r>
              <a:rPr lang="it-IT" b="0" i="0" dirty="0">
                <a:solidFill>
                  <a:srgbClr val="212121"/>
                </a:solidFill>
                <a:effectLst/>
              </a:rPr>
              <a:t>Tipologie, caratteristiche e funzionalità delle tecnologie a supporto dei sistemi di </a:t>
            </a:r>
            <a:r>
              <a:rPr lang="it-IT" b="0" i="0" dirty="0" err="1">
                <a:solidFill>
                  <a:srgbClr val="212121"/>
                </a:solidFill>
                <a:effectLst/>
              </a:rPr>
              <a:t>content</a:t>
            </a:r>
            <a:r>
              <a:rPr lang="it-IT" b="0" i="0" dirty="0">
                <a:solidFill>
                  <a:srgbClr val="212121"/>
                </a:solidFill>
                <a:effectLst/>
              </a:rPr>
              <a:t> management e per l’organizzazione di archivi informatizzati</a:t>
            </a:r>
          </a:p>
          <a:p>
            <a:pPr marL="342900" indent="-342900" algn="just">
              <a:lnSpc>
                <a:spcPct val="150000"/>
              </a:lnSpc>
              <a:buFont typeface="Arial" panose="020B0604020202020204" pitchFamily="34" charset="0"/>
              <a:buChar char="•"/>
            </a:pPr>
            <a:r>
              <a:rPr lang="it-IT" b="0" i="0" dirty="0">
                <a:solidFill>
                  <a:srgbClr val="212121"/>
                </a:solidFill>
                <a:effectLst/>
              </a:rPr>
              <a:t>Principali riferimenti normativi in materia di gestione e trattamento delle informazioni e dei dati</a:t>
            </a:r>
          </a:p>
          <a:p>
            <a:pPr marL="342900" indent="-342900" algn="just">
              <a:lnSpc>
                <a:spcPct val="150000"/>
              </a:lnSpc>
              <a:buFont typeface="Arial" panose="020B0604020202020204" pitchFamily="34" charset="0"/>
              <a:buChar char="•"/>
            </a:pPr>
            <a:r>
              <a:rPr lang="it-IT" b="0" i="0" dirty="0">
                <a:solidFill>
                  <a:srgbClr val="212121"/>
                </a:solidFill>
                <a:effectLst/>
              </a:rPr>
              <a:t>Procedure di comunicazione interna</a:t>
            </a:r>
          </a:p>
          <a:p>
            <a:pPr marL="342900" indent="-342900" algn="just">
              <a:lnSpc>
                <a:spcPct val="150000"/>
              </a:lnSpc>
              <a:buFont typeface="Arial" panose="020B0604020202020204" pitchFamily="34" charset="0"/>
              <a:buChar char="•"/>
            </a:pPr>
            <a:r>
              <a:rPr lang="it-IT" b="0" i="0" dirty="0">
                <a:solidFill>
                  <a:srgbClr val="212121"/>
                </a:solidFill>
                <a:effectLst/>
              </a:rPr>
              <a:t>Modalità, tecniche e strumenti per la predisposizione di materiale informativo</a:t>
            </a:r>
            <a:endParaRPr lang="it-IT" b="0" i="0" dirty="0">
              <a:solidFill>
                <a:srgbClr val="212121"/>
              </a:solidFill>
              <a:cs typeface="Times New Roman" panose="02020603050405020304" pitchFamily="18" charset="0"/>
            </a:endParaRPr>
          </a:p>
        </p:txBody>
      </p:sp>
      <p:sp>
        <p:nvSpPr>
          <p:cNvPr id="10" name="object 12">
            <a:extLst>
              <a:ext uri="{FF2B5EF4-FFF2-40B4-BE49-F238E27FC236}">
                <a16:creationId xmlns:a16="http://schemas.microsoft.com/office/drawing/2014/main" id="{DDE53CE7-53A8-44E2-9881-153CFC191663}"/>
              </a:ext>
            </a:extLst>
          </p:cNvPr>
          <p:cNvSpPr/>
          <p:nvPr/>
        </p:nvSpPr>
        <p:spPr>
          <a:xfrm>
            <a:off x="418183" y="1302007"/>
            <a:ext cx="2593435" cy="537585"/>
          </a:xfrm>
          <a:custGeom>
            <a:avLst/>
            <a:gdLst/>
            <a:ahLst/>
            <a:cxnLst/>
            <a:rect l="l" t="t" r="r" b="b"/>
            <a:pathLst>
              <a:path w="1596389" h="472439">
                <a:moveTo>
                  <a:pt x="1554614" y="471899"/>
                </a:moveTo>
                <a:lnTo>
                  <a:pt x="41385" y="471899"/>
                </a:lnTo>
                <a:lnTo>
                  <a:pt x="25276" y="468647"/>
                </a:lnTo>
                <a:lnTo>
                  <a:pt x="12121" y="459778"/>
                </a:lnTo>
                <a:lnTo>
                  <a:pt x="3252" y="446623"/>
                </a:lnTo>
                <a:lnTo>
                  <a:pt x="0" y="430514"/>
                </a:lnTo>
                <a:lnTo>
                  <a:pt x="0" y="41385"/>
                </a:lnTo>
                <a:lnTo>
                  <a:pt x="3252" y="25276"/>
                </a:lnTo>
                <a:lnTo>
                  <a:pt x="12121" y="12121"/>
                </a:lnTo>
                <a:lnTo>
                  <a:pt x="25276" y="3252"/>
                </a:lnTo>
                <a:lnTo>
                  <a:pt x="41385" y="0"/>
                </a:lnTo>
                <a:lnTo>
                  <a:pt x="1554614" y="0"/>
                </a:lnTo>
                <a:lnTo>
                  <a:pt x="1589046" y="18424"/>
                </a:lnTo>
                <a:lnTo>
                  <a:pt x="1595999" y="41385"/>
                </a:lnTo>
                <a:lnTo>
                  <a:pt x="1595999" y="430514"/>
                </a:lnTo>
                <a:lnTo>
                  <a:pt x="1592747" y="446623"/>
                </a:lnTo>
                <a:lnTo>
                  <a:pt x="1583878" y="459778"/>
                </a:lnTo>
                <a:lnTo>
                  <a:pt x="1570723" y="468647"/>
                </a:lnTo>
                <a:lnTo>
                  <a:pt x="1554614" y="471899"/>
                </a:lnTo>
                <a:close/>
              </a:path>
            </a:pathLst>
          </a:custGeom>
          <a:solidFill>
            <a:schemeClr val="accent1"/>
          </a:solidFill>
        </p:spPr>
        <p:txBody>
          <a:bodyPr wrap="square" lIns="0" tIns="0" rIns="0" bIns="0" rtlCol="0"/>
          <a:lstStyle/>
          <a:p>
            <a:endParaRPr/>
          </a:p>
        </p:txBody>
      </p:sp>
      <p:sp>
        <p:nvSpPr>
          <p:cNvPr id="12" name="CasellaDiTesto 11">
            <a:extLst>
              <a:ext uri="{FF2B5EF4-FFF2-40B4-BE49-F238E27FC236}">
                <a16:creationId xmlns:a16="http://schemas.microsoft.com/office/drawing/2014/main" id="{CF484A55-0555-4E65-AEC8-C517D2225C25}"/>
              </a:ext>
            </a:extLst>
          </p:cNvPr>
          <p:cNvSpPr txBox="1"/>
          <p:nvPr/>
        </p:nvSpPr>
        <p:spPr>
          <a:xfrm>
            <a:off x="418183" y="1370744"/>
            <a:ext cx="4171748" cy="400110"/>
          </a:xfrm>
          <a:prstGeom prst="rect">
            <a:avLst/>
          </a:prstGeom>
          <a:noFill/>
        </p:spPr>
        <p:txBody>
          <a:bodyPr wrap="square">
            <a:spAutoFit/>
          </a:bodyPr>
          <a:lstStyle/>
          <a:p>
            <a:pPr marL="59690">
              <a:lnSpc>
                <a:spcPct val="100000"/>
              </a:lnSpc>
              <a:spcBef>
                <a:spcPts val="1370"/>
              </a:spcBef>
            </a:pPr>
            <a:r>
              <a:rPr lang="it-IT" sz="2000" b="1" i="1" spc="20" dirty="0">
                <a:solidFill>
                  <a:schemeClr val="bg1"/>
                </a:solidFill>
                <a:cs typeface="Roboto"/>
              </a:rPr>
              <a:t>Programma corso:</a:t>
            </a:r>
            <a:endParaRPr lang="it-IT" sz="2000" b="1" spc="20" dirty="0">
              <a:solidFill>
                <a:schemeClr val="bg1"/>
              </a:solidFill>
              <a:cs typeface="Roboto"/>
            </a:endParaRPr>
          </a:p>
        </p:txBody>
      </p:sp>
      <p:sp>
        <p:nvSpPr>
          <p:cNvPr id="5" name="Rettangolo con angoli arrotondati 4">
            <a:extLst>
              <a:ext uri="{FF2B5EF4-FFF2-40B4-BE49-F238E27FC236}">
                <a16:creationId xmlns:a16="http://schemas.microsoft.com/office/drawing/2014/main" id="{F53ACEE4-8CA8-8BC3-9802-6D24BA9889E2}"/>
              </a:ext>
            </a:extLst>
          </p:cNvPr>
          <p:cNvSpPr/>
          <p:nvPr/>
        </p:nvSpPr>
        <p:spPr>
          <a:xfrm>
            <a:off x="9785406" y="4365602"/>
            <a:ext cx="1596390" cy="819725"/>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00"/>
          </a:p>
        </p:txBody>
      </p:sp>
      <p:sp>
        <p:nvSpPr>
          <p:cNvPr id="6" name="CasellaDiTesto 5">
            <a:extLst>
              <a:ext uri="{FF2B5EF4-FFF2-40B4-BE49-F238E27FC236}">
                <a16:creationId xmlns:a16="http://schemas.microsoft.com/office/drawing/2014/main" id="{9D429DE3-DD57-D924-B2E8-4E0828F59FC5}"/>
              </a:ext>
            </a:extLst>
          </p:cNvPr>
          <p:cNvSpPr txBox="1"/>
          <p:nvPr/>
        </p:nvSpPr>
        <p:spPr>
          <a:xfrm>
            <a:off x="9895242" y="4483076"/>
            <a:ext cx="1366207" cy="584775"/>
          </a:xfrm>
          <a:prstGeom prst="rect">
            <a:avLst/>
          </a:prstGeom>
          <a:noFill/>
        </p:spPr>
        <p:txBody>
          <a:bodyPr wrap="square" rtlCol="0">
            <a:spAutoFit/>
          </a:bodyPr>
          <a:lstStyle/>
          <a:p>
            <a:pPr algn="ctr"/>
            <a:r>
              <a:rPr lang="it-IT" sz="1600" b="1" dirty="0">
                <a:solidFill>
                  <a:schemeClr val="accent1"/>
                </a:solidFill>
                <a:hlinkClick r:id="rId3" action="ppaction://hlinksldjump"/>
              </a:rPr>
              <a:t>Vedi indice corsi</a:t>
            </a:r>
            <a:endParaRPr lang="it-IT" sz="1600" b="1" dirty="0">
              <a:solidFill>
                <a:schemeClr val="accent1"/>
              </a:solidFill>
            </a:endParaRPr>
          </a:p>
        </p:txBody>
      </p:sp>
      <p:pic>
        <p:nvPicPr>
          <p:cNvPr id="14" name="Immagine 13">
            <a:extLst>
              <a:ext uri="{FF2B5EF4-FFF2-40B4-BE49-F238E27FC236}">
                <a16:creationId xmlns:a16="http://schemas.microsoft.com/office/drawing/2014/main" id="{3ACB1CB9-B169-4005-A288-12F771B89CFB}"/>
              </a:ext>
            </a:extLst>
          </p:cNvPr>
          <p:cNvPicPr>
            <a:picLocks noChangeAspect="1"/>
          </p:cNvPicPr>
          <p:nvPr/>
        </p:nvPicPr>
        <p:blipFill>
          <a:blip r:embed="rId4"/>
          <a:stretch>
            <a:fillRect/>
          </a:stretch>
        </p:blipFill>
        <p:spPr>
          <a:xfrm>
            <a:off x="327484" y="5784507"/>
            <a:ext cx="9567758" cy="1086724"/>
          </a:xfrm>
          <a:prstGeom prst="rect">
            <a:avLst/>
          </a:prstGeom>
        </p:spPr>
      </p:pic>
      <p:pic>
        <p:nvPicPr>
          <p:cNvPr id="17" name="Immagine 16">
            <a:extLst>
              <a:ext uri="{FF2B5EF4-FFF2-40B4-BE49-F238E27FC236}">
                <a16:creationId xmlns:a16="http://schemas.microsoft.com/office/drawing/2014/main" id="{DA9229E2-300E-4893-ACD7-15E0128163BC}"/>
              </a:ext>
            </a:extLst>
          </p:cNvPr>
          <p:cNvPicPr>
            <a:picLocks noChangeAspect="1"/>
          </p:cNvPicPr>
          <p:nvPr/>
        </p:nvPicPr>
        <p:blipFill>
          <a:blip r:embed="rId5"/>
          <a:stretch>
            <a:fillRect/>
          </a:stretch>
        </p:blipFill>
        <p:spPr>
          <a:xfrm>
            <a:off x="9898769" y="6182710"/>
            <a:ext cx="1378634" cy="340953"/>
          </a:xfrm>
          <a:prstGeom prst="rect">
            <a:avLst/>
          </a:prstGeom>
        </p:spPr>
      </p:pic>
    </p:spTree>
    <p:extLst>
      <p:ext uri="{BB962C8B-B14F-4D97-AF65-F5344CB8AC3E}">
        <p14:creationId xmlns:p14="http://schemas.microsoft.com/office/powerpoint/2010/main" val="428947659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7D2C7A24-67E8-42C0-AB96-BA4245AAC575}"/>
              </a:ext>
            </a:extLst>
          </p:cNvPr>
          <p:cNvSpPr txBox="1"/>
          <p:nvPr/>
        </p:nvSpPr>
        <p:spPr>
          <a:xfrm>
            <a:off x="214233" y="572456"/>
            <a:ext cx="7321086" cy="1477328"/>
          </a:xfrm>
          <a:prstGeom prst="rect">
            <a:avLst/>
          </a:prstGeom>
          <a:noFill/>
        </p:spPr>
        <p:txBody>
          <a:bodyPr wrap="square">
            <a:spAutoFit/>
          </a:bodyPr>
          <a:lstStyle/>
          <a:p>
            <a:pPr algn="just"/>
            <a:r>
              <a:rPr lang="it-IT" b="1" dirty="0"/>
              <a:t>Il Programma GOL ha la finalità di accompagnare la trasformazione del mercato del lavoro con un modello di interventi flessibili, rispondenti alle esigenze di ciascun destinatario, in grado di facilitare le transizioni occupazionali e di migliorare l’occupabilità, innalzando le competenze.</a:t>
            </a:r>
          </a:p>
        </p:txBody>
      </p:sp>
      <p:sp>
        <p:nvSpPr>
          <p:cNvPr id="3" name="CasellaDiTesto 2">
            <a:extLst>
              <a:ext uri="{FF2B5EF4-FFF2-40B4-BE49-F238E27FC236}">
                <a16:creationId xmlns:a16="http://schemas.microsoft.com/office/drawing/2014/main" id="{74DCCB05-81CA-47D7-A9A0-02C894717A3E}"/>
              </a:ext>
            </a:extLst>
          </p:cNvPr>
          <p:cNvSpPr txBox="1"/>
          <p:nvPr/>
        </p:nvSpPr>
        <p:spPr>
          <a:xfrm>
            <a:off x="250441" y="2628066"/>
            <a:ext cx="6780957" cy="2831544"/>
          </a:xfrm>
          <a:prstGeom prst="rect">
            <a:avLst/>
          </a:prstGeom>
          <a:noFill/>
        </p:spPr>
        <p:txBody>
          <a:bodyPr wrap="square">
            <a:spAutoFit/>
          </a:bodyPr>
          <a:lstStyle/>
          <a:p>
            <a:pPr algn="just"/>
            <a:r>
              <a:rPr lang="it-IT" sz="1800" b="0" i="0" dirty="0">
                <a:effectLst/>
              </a:rPr>
              <a:t>Nello specifico, </a:t>
            </a:r>
            <a:r>
              <a:rPr lang="it-IT" sz="1800" b="1" i="0" dirty="0">
                <a:effectLst/>
              </a:rPr>
              <a:t>sono previsti 5 percorsi</a:t>
            </a:r>
            <a:r>
              <a:rPr lang="it-IT" dirty="0"/>
              <a:t> che hanno l’obiettivo di aumentare le competenze e l’occupabilità, con particolare riferimento ai </a:t>
            </a:r>
            <a:r>
              <a:rPr lang="it-IT" b="1" dirty="0"/>
              <a:t>target dei destinatari più fragili sul mercato del lavoro</a:t>
            </a:r>
            <a:r>
              <a:rPr lang="it-IT" dirty="0"/>
              <a:t>:</a:t>
            </a:r>
            <a:endParaRPr lang="it-IT" sz="1800" b="0" i="0" dirty="0">
              <a:effectLst/>
            </a:endParaRPr>
          </a:p>
          <a:p>
            <a:endParaRPr lang="it-IT" sz="1600" b="1" dirty="0">
              <a:solidFill>
                <a:srgbClr val="444444"/>
              </a:solidFill>
            </a:endParaRPr>
          </a:p>
          <a:p>
            <a:r>
              <a:rPr lang="it-IT" b="1" dirty="0">
                <a:solidFill>
                  <a:srgbClr val="FF0000"/>
                </a:solidFill>
              </a:rPr>
              <a:t>Percorso 1 - Reinserimento occupazionale </a:t>
            </a:r>
          </a:p>
          <a:p>
            <a:r>
              <a:rPr lang="it-IT" b="1" dirty="0">
                <a:solidFill>
                  <a:srgbClr val="FF0000"/>
                </a:solidFill>
              </a:rPr>
              <a:t>Percorso 2 - Aggiornamento </a:t>
            </a:r>
            <a:r>
              <a:rPr lang="it-IT" b="1" dirty="0"/>
              <a:t>“</a:t>
            </a:r>
            <a:r>
              <a:rPr lang="it-IT" dirty="0"/>
              <a:t>Upskilling</a:t>
            </a:r>
            <a:r>
              <a:rPr lang="it-IT" b="1" dirty="0"/>
              <a:t>”</a:t>
            </a:r>
          </a:p>
          <a:p>
            <a:r>
              <a:rPr lang="it-IT" b="1" dirty="0">
                <a:solidFill>
                  <a:srgbClr val="FF0000"/>
                </a:solidFill>
              </a:rPr>
              <a:t>Percorso 3 - Riqualificazione </a:t>
            </a:r>
            <a:r>
              <a:rPr lang="it-IT" b="1" dirty="0"/>
              <a:t>“</a:t>
            </a:r>
            <a:r>
              <a:rPr lang="it-IT" dirty="0"/>
              <a:t>Reskilling</a:t>
            </a:r>
            <a:r>
              <a:rPr lang="it-IT" b="1" dirty="0"/>
              <a:t>” </a:t>
            </a:r>
          </a:p>
          <a:p>
            <a:r>
              <a:rPr lang="it-IT" b="1" dirty="0">
                <a:solidFill>
                  <a:srgbClr val="FF0000"/>
                </a:solidFill>
              </a:rPr>
              <a:t>Percorso 4 - Lavoro e Inclusione </a:t>
            </a:r>
          </a:p>
          <a:p>
            <a:r>
              <a:rPr lang="it-IT" b="1" dirty="0">
                <a:solidFill>
                  <a:srgbClr val="FF0000"/>
                </a:solidFill>
              </a:rPr>
              <a:t>​Percorso 5 - Ricollocazione collettiva</a:t>
            </a:r>
            <a:endParaRPr lang="it-IT" sz="1600" dirty="0">
              <a:solidFill>
                <a:srgbClr val="FF0000"/>
              </a:solidFill>
            </a:endParaRPr>
          </a:p>
        </p:txBody>
      </p:sp>
      <p:grpSp>
        <p:nvGrpSpPr>
          <p:cNvPr id="4" name="Group 1">
            <a:extLst>
              <a:ext uri="{FF2B5EF4-FFF2-40B4-BE49-F238E27FC236}">
                <a16:creationId xmlns:a16="http://schemas.microsoft.com/office/drawing/2014/main" id="{D0540F96-76C2-4100-83D1-3C138978C95E}"/>
              </a:ext>
            </a:extLst>
          </p:cNvPr>
          <p:cNvGrpSpPr/>
          <p:nvPr/>
        </p:nvGrpSpPr>
        <p:grpSpPr>
          <a:xfrm>
            <a:off x="7694438" y="298526"/>
            <a:ext cx="4448608" cy="5411633"/>
            <a:chOff x="13051253" y="2529788"/>
            <a:chExt cx="9201937" cy="11610388"/>
          </a:xfrm>
          <a:solidFill>
            <a:schemeClr val="bg1">
              <a:lumMod val="85000"/>
            </a:schemeClr>
          </a:solidFill>
        </p:grpSpPr>
        <p:sp>
          <p:nvSpPr>
            <p:cNvPr id="5" name="Freeform 42">
              <a:extLst>
                <a:ext uri="{FF2B5EF4-FFF2-40B4-BE49-F238E27FC236}">
                  <a16:creationId xmlns:a16="http://schemas.microsoft.com/office/drawing/2014/main" id="{B5DB4756-BEC5-4F8A-8388-59FAF82F8015}"/>
                </a:ext>
              </a:extLst>
            </p:cNvPr>
            <p:cNvSpPr>
              <a:spLocks noChangeArrowheads="1"/>
            </p:cNvSpPr>
            <p:nvPr/>
          </p:nvSpPr>
          <p:spPr bwMode="auto">
            <a:xfrm>
              <a:off x="14221428" y="8532255"/>
              <a:ext cx="1306871" cy="2464781"/>
            </a:xfrm>
            <a:custGeom>
              <a:avLst/>
              <a:gdLst>
                <a:gd name="T0" fmla="*/ 577 w 2783"/>
                <a:gd name="T1" fmla="*/ 2595 h 5246"/>
                <a:gd name="T2" fmla="*/ 452 w 2783"/>
                <a:gd name="T3" fmla="*/ 2755 h 5246"/>
                <a:gd name="T4" fmla="*/ 542 w 2783"/>
                <a:gd name="T5" fmla="*/ 2977 h 5246"/>
                <a:gd name="T6" fmla="*/ 577 w 2783"/>
                <a:gd name="T7" fmla="*/ 2963 h 5246"/>
                <a:gd name="T8" fmla="*/ 681 w 2783"/>
                <a:gd name="T9" fmla="*/ 3179 h 5246"/>
                <a:gd name="T10" fmla="*/ 688 w 2783"/>
                <a:gd name="T11" fmla="*/ 3395 h 5246"/>
                <a:gd name="T12" fmla="*/ 591 w 2783"/>
                <a:gd name="T13" fmla="*/ 3374 h 5246"/>
                <a:gd name="T14" fmla="*/ 528 w 2783"/>
                <a:gd name="T15" fmla="*/ 3583 h 5246"/>
                <a:gd name="T16" fmla="*/ 431 w 2783"/>
                <a:gd name="T17" fmla="*/ 4069 h 5246"/>
                <a:gd name="T18" fmla="*/ 473 w 2783"/>
                <a:gd name="T19" fmla="*/ 4229 h 5246"/>
                <a:gd name="T20" fmla="*/ 452 w 2783"/>
                <a:gd name="T21" fmla="*/ 4598 h 5246"/>
                <a:gd name="T22" fmla="*/ 528 w 2783"/>
                <a:gd name="T23" fmla="*/ 4807 h 5246"/>
                <a:gd name="T24" fmla="*/ 389 w 2783"/>
                <a:gd name="T25" fmla="*/ 4897 h 5246"/>
                <a:gd name="T26" fmla="*/ 584 w 2783"/>
                <a:gd name="T27" fmla="*/ 4807 h 5246"/>
                <a:gd name="T28" fmla="*/ 619 w 2783"/>
                <a:gd name="T29" fmla="*/ 4800 h 5246"/>
                <a:gd name="T30" fmla="*/ 709 w 2783"/>
                <a:gd name="T31" fmla="*/ 4932 h 5246"/>
                <a:gd name="T32" fmla="*/ 779 w 2783"/>
                <a:gd name="T33" fmla="*/ 5182 h 5246"/>
                <a:gd name="T34" fmla="*/ 869 w 2783"/>
                <a:gd name="T35" fmla="*/ 5155 h 5246"/>
                <a:gd name="T36" fmla="*/ 1099 w 2783"/>
                <a:gd name="T37" fmla="*/ 5196 h 5246"/>
                <a:gd name="T38" fmla="*/ 1412 w 2783"/>
                <a:gd name="T39" fmla="*/ 4995 h 5246"/>
                <a:gd name="T40" fmla="*/ 1440 w 2783"/>
                <a:gd name="T41" fmla="*/ 4688 h 5246"/>
                <a:gd name="T42" fmla="*/ 1718 w 2783"/>
                <a:gd name="T43" fmla="*/ 4473 h 5246"/>
                <a:gd name="T44" fmla="*/ 2087 w 2783"/>
                <a:gd name="T45" fmla="*/ 4633 h 5246"/>
                <a:gd name="T46" fmla="*/ 2281 w 2783"/>
                <a:gd name="T47" fmla="*/ 4730 h 5246"/>
                <a:gd name="T48" fmla="*/ 2358 w 2783"/>
                <a:gd name="T49" fmla="*/ 4424 h 5246"/>
                <a:gd name="T50" fmla="*/ 2462 w 2783"/>
                <a:gd name="T51" fmla="*/ 3805 h 5246"/>
                <a:gd name="T52" fmla="*/ 2525 w 2783"/>
                <a:gd name="T53" fmla="*/ 3408 h 5246"/>
                <a:gd name="T54" fmla="*/ 2587 w 2783"/>
                <a:gd name="T55" fmla="*/ 2929 h 5246"/>
                <a:gd name="T56" fmla="*/ 2615 w 2783"/>
                <a:gd name="T57" fmla="*/ 2650 h 5246"/>
                <a:gd name="T58" fmla="*/ 2539 w 2783"/>
                <a:gd name="T59" fmla="*/ 2038 h 5246"/>
                <a:gd name="T60" fmla="*/ 2720 w 2783"/>
                <a:gd name="T61" fmla="*/ 1509 h 5246"/>
                <a:gd name="T62" fmla="*/ 2601 w 2783"/>
                <a:gd name="T63" fmla="*/ 1162 h 5246"/>
                <a:gd name="T64" fmla="*/ 2601 w 2783"/>
                <a:gd name="T65" fmla="*/ 925 h 5246"/>
                <a:gd name="T66" fmla="*/ 2490 w 2783"/>
                <a:gd name="T67" fmla="*/ 835 h 5246"/>
                <a:gd name="T68" fmla="*/ 2351 w 2783"/>
                <a:gd name="T69" fmla="*/ 737 h 5246"/>
                <a:gd name="T70" fmla="*/ 2323 w 2783"/>
                <a:gd name="T71" fmla="*/ 723 h 5246"/>
                <a:gd name="T72" fmla="*/ 2414 w 2783"/>
                <a:gd name="T73" fmla="*/ 584 h 5246"/>
                <a:gd name="T74" fmla="*/ 2406 w 2783"/>
                <a:gd name="T75" fmla="*/ 522 h 5246"/>
                <a:gd name="T76" fmla="*/ 2316 w 2783"/>
                <a:gd name="T77" fmla="*/ 501 h 5246"/>
                <a:gd name="T78" fmla="*/ 2309 w 2783"/>
                <a:gd name="T79" fmla="*/ 424 h 5246"/>
                <a:gd name="T80" fmla="*/ 2316 w 2783"/>
                <a:gd name="T81" fmla="*/ 271 h 5246"/>
                <a:gd name="T82" fmla="*/ 2219 w 2783"/>
                <a:gd name="T83" fmla="*/ 257 h 5246"/>
                <a:gd name="T84" fmla="*/ 2135 w 2783"/>
                <a:gd name="T85" fmla="*/ 243 h 5246"/>
                <a:gd name="T86" fmla="*/ 2045 w 2783"/>
                <a:gd name="T87" fmla="*/ 167 h 5246"/>
                <a:gd name="T88" fmla="*/ 1899 w 2783"/>
                <a:gd name="T89" fmla="*/ 139 h 5246"/>
                <a:gd name="T90" fmla="*/ 1822 w 2783"/>
                <a:gd name="T91" fmla="*/ 28 h 5246"/>
                <a:gd name="T92" fmla="*/ 1662 w 2783"/>
                <a:gd name="T93" fmla="*/ 35 h 5246"/>
                <a:gd name="T94" fmla="*/ 1634 w 2783"/>
                <a:gd name="T95" fmla="*/ 229 h 5246"/>
                <a:gd name="T96" fmla="*/ 1328 w 2783"/>
                <a:gd name="T97" fmla="*/ 452 h 5246"/>
                <a:gd name="T98" fmla="*/ 1050 w 2783"/>
                <a:gd name="T99" fmla="*/ 751 h 5246"/>
                <a:gd name="T100" fmla="*/ 473 w 2783"/>
                <a:gd name="T101" fmla="*/ 918 h 5246"/>
                <a:gd name="T102" fmla="*/ 69 w 2783"/>
                <a:gd name="T103" fmla="*/ 716 h 5246"/>
                <a:gd name="T104" fmla="*/ 34 w 2783"/>
                <a:gd name="T105" fmla="*/ 1092 h 5246"/>
                <a:gd name="T106" fmla="*/ 13 w 2783"/>
                <a:gd name="T107" fmla="*/ 1391 h 5246"/>
                <a:gd name="T108" fmla="*/ 125 w 2783"/>
                <a:gd name="T109" fmla="*/ 1454 h 5246"/>
                <a:gd name="T110" fmla="*/ 285 w 2783"/>
                <a:gd name="T111" fmla="*/ 1523 h 5246"/>
                <a:gd name="T112" fmla="*/ 410 w 2783"/>
                <a:gd name="T113" fmla="*/ 2003 h 5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783" h="5246">
                  <a:moveTo>
                    <a:pt x="556" y="2198"/>
                  </a:moveTo>
                  <a:lnTo>
                    <a:pt x="542" y="2240"/>
                  </a:lnTo>
                  <a:lnTo>
                    <a:pt x="542" y="2303"/>
                  </a:lnTo>
                  <a:lnTo>
                    <a:pt x="528" y="2372"/>
                  </a:lnTo>
                  <a:lnTo>
                    <a:pt x="528" y="2400"/>
                  </a:lnTo>
                  <a:lnTo>
                    <a:pt x="556" y="2476"/>
                  </a:lnTo>
                  <a:lnTo>
                    <a:pt x="584" y="2553"/>
                  </a:lnTo>
                  <a:lnTo>
                    <a:pt x="577" y="2595"/>
                  </a:lnTo>
                  <a:lnTo>
                    <a:pt x="549" y="2622"/>
                  </a:lnTo>
                  <a:lnTo>
                    <a:pt x="507" y="2650"/>
                  </a:lnTo>
                  <a:lnTo>
                    <a:pt x="445" y="2657"/>
                  </a:lnTo>
                  <a:lnTo>
                    <a:pt x="431" y="2650"/>
                  </a:lnTo>
                  <a:lnTo>
                    <a:pt x="396" y="2685"/>
                  </a:lnTo>
                  <a:lnTo>
                    <a:pt x="445" y="2692"/>
                  </a:lnTo>
                  <a:lnTo>
                    <a:pt x="452" y="2734"/>
                  </a:lnTo>
                  <a:lnTo>
                    <a:pt x="452" y="2755"/>
                  </a:lnTo>
                  <a:lnTo>
                    <a:pt x="424" y="2817"/>
                  </a:lnTo>
                  <a:lnTo>
                    <a:pt x="431" y="2935"/>
                  </a:lnTo>
                  <a:lnTo>
                    <a:pt x="445" y="2984"/>
                  </a:lnTo>
                  <a:lnTo>
                    <a:pt x="486" y="3012"/>
                  </a:lnTo>
                  <a:lnTo>
                    <a:pt x="486" y="3054"/>
                  </a:lnTo>
                  <a:lnTo>
                    <a:pt x="494" y="3061"/>
                  </a:lnTo>
                  <a:lnTo>
                    <a:pt x="521" y="2998"/>
                  </a:lnTo>
                  <a:lnTo>
                    <a:pt x="542" y="2977"/>
                  </a:lnTo>
                  <a:lnTo>
                    <a:pt x="514" y="2991"/>
                  </a:lnTo>
                  <a:lnTo>
                    <a:pt x="514" y="2984"/>
                  </a:lnTo>
                  <a:lnTo>
                    <a:pt x="494" y="2991"/>
                  </a:lnTo>
                  <a:lnTo>
                    <a:pt x="514" y="2963"/>
                  </a:lnTo>
                  <a:lnTo>
                    <a:pt x="556" y="2949"/>
                  </a:lnTo>
                  <a:lnTo>
                    <a:pt x="605" y="2949"/>
                  </a:lnTo>
                  <a:lnTo>
                    <a:pt x="612" y="2949"/>
                  </a:lnTo>
                  <a:lnTo>
                    <a:pt x="577" y="2963"/>
                  </a:lnTo>
                  <a:lnTo>
                    <a:pt x="640" y="2963"/>
                  </a:lnTo>
                  <a:lnTo>
                    <a:pt x="661" y="3012"/>
                  </a:lnTo>
                  <a:lnTo>
                    <a:pt x="674" y="3026"/>
                  </a:lnTo>
                  <a:lnTo>
                    <a:pt x="688" y="3130"/>
                  </a:lnTo>
                  <a:lnTo>
                    <a:pt x="723" y="3144"/>
                  </a:lnTo>
                  <a:lnTo>
                    <a:pt x="702" y="3158"/>
                  </a:lnTo>
                  <a:lnTo>
                    <a:pt x="688" y="3130"/>
                  </a:lnTo>
                  <a:lnTo>
                    <a:pt x="681" y="3179"/>
                  </a:lnTo>
                  <a:lnTo>
                    <a:pt x="619" y="3297"/>
                  </a:lnTo>
                  <a:lnTo>
                    <a:pt x="681" y="3221"/>
                  </a:lnTo>
                  <a:lnTo>
                    <a:pt x="605" y="3353"/>
                  </a:lnTo>
                  <a:lnTo>
                    <a:pt x="619" y="3374"/>
                  </a:lnTo>
                  <a:lnTo>
                    <a:pt x="626" y="3374"/>
                  </a:lnTo>
                  <a:lnTo>
                    <a:pt x="646" y="3388"/>
                  </a:lnTo>
                  <a:lnTo>
                    <a:pt x="653" y="3408"/>
                  </a:lnTo>
                  <a:lnTo>
                    <a:pt x="688" y="3395"/>
                  </a:lnTo>
                  <a:lnTo>
                    <a:pt x="702" y="3416"/>
                  </a:lnTo>
                  <a:lnTo>
                    <a:pt x="709" y="3443"/>
                  </a:lnTo>
                  <a:lnTo>
                    <a:pt x="674" y="3422"/>
                  </a:lnTo>
                  <a:lnTo>
                    <a:pt x="626" y="3429"/>
                  </a:lnTo>
                  <a:lnTo>
                    <a:pt x="626" y="3416"/>
                  </a:lnTo>
                  <a:lnTo>
                    <a:pt x="605" y="3388"/>
                  </a:lnTo>
                  <a:lnTo>
                    <a:pt x="577" y="3381"/>
                  </a:lnTo>
                  <a:lnTo>
                    <a:pt x="591" y="3374"/>
                  </a:lnTo>
                  <a:lnTo>
                    <a:pt x="521" y="3256"/>
                  </a:lnTo>
                  <a:lnTo>
                    <a:pt x="514" y="3283"/>
                  </a:lnTo>
                  <a:lnTo>
                    <a:pt x="514" y="3381"/>
                  </a:lnTo>
                  <a:lnTo>
                    <a:pt x="514" y="3443"/>
                  </a:lnTo>
                  <a:lnTo>
                    <a:pt x="514" y="3471"/>
                  </a:lnTo>
                  <a:lnTo>
                    <a:pt x="521" y="3492"/>
                  </a:lnTo>
                  <a:lnTo>
                    <a:pt x="521" y="3548"/>
                  </a:lnTo>
                  <a:lnTo>
                    <a:pt x="528" y="3583"/>
                  </a:lnTo>
                  <a:lnTo>
                    <a:pt x="542" y="3617"/>
                  </a:lnTo>
                  <a:lnTo>
                    <a:pt x="521" y="3742"/>
                  </a:lnTo>
                  <a:lnTo>
                    <a:pt x="424" y="3889"/>
                  </a:lnTo>
                  <a:lnTo>
                    <a:pt x="410" y="3937"/>
                  </a:lnTo>
                  <a:lnTo>
                    <a:pt x="417" y="3951"/>
                  </a:lnTo>
                  <a:lnTo>
                    <a:pt x="431" y="3972"/>
                  </a:lnTo>
                  <a:lnTo>
                    <a:pt x="452" y="3979"/>
                  </a:lnTo>
                  <a:lnTo>
                    <a:pt x="431" y="4069"/>
                  </a:lnTo>
                  <a:lnTo>
                    <a:pt x="396" y="4104"/>
                  </a:lnTo>
                  <a:lnTo>
                    <a:pt x="396" y="4132"/>
                  </a:lnTo>
                  <a:lnTo>
                    <a:pt x="396" y="4118"/>
                  </a:lnTo>
                  <a:lnTo>
                    <a:pt x="410" y="4139"/>
                  </a:lnTo>
                  <a:lnTo>
                    <a:pt x="417" y="4174"/>
                  </a:lnTo>
                  <a:lnTo>
                    <a:pt x="417" y="4195"/>
                  </a:lnTo>
                  <a:lnTo>
                    <a:pt x="431" y="4202"/>
                  </a:lnTo>
                  <a:lnTo>
                    <a:pt x="473" y="4229"/>
                  </a:lnTo>
                  <a:lnTo>
                    <a:pt x="486" y="4271"/>
                  </a:lnTo>
                  <a:lnTo>
                    <a:pt x="486" y="4327"/>
                  </a:lnTo>
                  <a:lnTo>
                    <a:pt x="424" y="4403"/>
                  </a:lnTo>
                  <a:lnTo>
                    <a:pt x="389" y="4438"/>
                  </a:lnTo>
                  <a:lnTo>
                    <a:pt x="389" y="4494"/>
                  </a:lnTo>
                  <a:lnTo>
                    <a:pt x="396" y="4501"/>
                  </a:lnTo>
                  <a:lnTo>
                    <a:pt x="424" y="4508"/>
                  </a:lnTo>
                  <a:lnTo>
                    <a:pt x="452" y="4598"/>
                  </a:lnTo>
                  <a:lnTo>
                    <a:pt x="445" y="4556"/>
                  </a:lnTo>
                  <a:lnTo>
                    <a:pt x="486" y="4598"/>
                  </a:lnTo>
                  <a:lnTo>
                    <a:pt x="486" y="4661"/>
                  </a:lnTo>
                  <a:lnTo>
                    <a:pt x="494" y="4696"/>
                  </a:lnTo>
                  <a:lnTo>
                    <a:pt x="542" y="4688"/>
                  </a:lnTo>
                  <a:lnTo>
                    <a:pt x="577" y="4758"/>
                  </a:lnTo>
                  <a:lnTo>
                    <a:pt x="549" y="4821"/>
                  </a:lnTo>
                  <a:lnTo>
                    <a:pt x="528" y="4807"/>
                  </a:lnTo>
                  <a:lnTo>
                    <a:pt x="507" y="4751"/>
                  </a:lnTo>
                  <a:lnTo>
                    <a:pt x="480" y="4716"/>
                  </a:lnTo>
                  <a:lnTo>
                    <a:pt x="410" y="4730"/>
                  </a:lnTo>
                  <a:lnTo>
                    <a:pt x="382" y="4702"/>
                  </a:lnTo>
                  <a:lnTo>
                    <a:pt x="361" y="4737"/>
                  </a:lnTo>
                  <a:lnTo>
                    <a:pt x="361" y="4758"/>
                  </a:lnTo>
                  <a:lnTo>
                    <a:pt x="354" y="4765"/>
                  </a:lnTo>
                  <a:lnTo>
                    <a:pt x="389" y="4897"/>
                  </a:lnTo>
                  <a:lnTo>
                    <a:pt x="410" y="4925"/>
                  </a:lnTo>
                  <a:lnTo>
                    <a:pt x="452" y="5036"/>
                  </a:lnTo>
                  <a:lnTo>
                    <a:pt x="480" y="5036"/>
                  </a:lnTo>
                  <a:lnTo>
                    <a:pt x="507" y="5015"/>
                  </a:lnTo>
                  <a:lnTo>
                    <a:pt x="521" y="4960"/>
                  </a:lnTo>
                  <a:lnTo>
                    <a:pt x="528" y="4855"/>
                  </a:lnTo>
                  <a:lnTo>
                    <a:pt x="528" y="4848"/>
                  </a:lnTo>
                  <a:lnTo>
                    <a:pt x="584" y="4807"/>
                  </a:lnTo>
                  <a:lnTo>
                    <a:pt x="563" y="4807"/>
                  </a:lnTo>
                  <a:lnTo>
                    <a:pt x="563" y="4793"/>
                  </a:lnTo>
                  <a:lnTo>
                    <a:pt x="584" y="4758"/>
                  </a:lnTo>
                  <a:lnTo>
                    <a:pt x="591" y="4765"/>
                  </a:lnTo>
                  <a:lnTo>
                    <a:pt x="612" y="4758"/>
                  </a:lnTo>
                  <a:lnTo>
                    <a:pt x="619" y="4765"/>
                  </a:lnTo>
                  <a:lnTo>
                    <a:pt x="626" y="4786"/>
                  </a:lnTo>
                  <a:lnTo>
                    <a:pt x="619" y="4800"/>
                  </a:lnTo>
                  <a:lnTo>
                    <a:pt x="619" y="4807"/>
                  </a:lnTo>
                  <a:lnTo>
                    <a:pt x="640" y="4807"/>
                  </a:lnTo>
                  <a:lnTo>
                    <a:pt x="640" y="4793"/>
                  </a:lnTo>
                  <a:lnTo>
                    <a:pt x="681" y="4848"/>
                  </a:lnTo>
                  <a:lnTo>
                    <a:pt x="681" y="4835"/>
                  </a:lnTo>
                  <a:lnTo>
                    <a:pt x="688" y="4848"/>
                  </a:lnTo>
                  <a:lnTo>
                    <a:pt x="723" y="4890"/>
                  </a:lnTo>
                  <a:lnTo>
                    <a:pt x="709" y="4932"/>
                  </a:lnTo>
                  <a:lnTo>
                    <a:pt x="723" y="5002"/>
                  </a:lnTo>
                  <a:lnTo>
                    <a:pt x="751" y="5036"/>
                  </a:lnTo>
                  <a:lnTo>
                    <a:pt x="779" y="5029"/>
                  </a:lnTo>
                  <a:lnTo>
                    <a:pt x="779" y="5036"/>
                  </a:lnTo>
                  <a:lnTo>
                    <a:pt x="786" y="5050"/>
                  </a:lnTo>
                  <a:lnTo>
                    <a:pt x="793" y="5113"/>
                  </a:lnTo>
                  <a:lnTo>
                    <a:pt x="786" y="5134"/>
                  </a:lnTo>
                  <a:lnTo>
                    <a:pt x="779" y="5182"/>
                  </a:lnTo>
                  <a:lnTo>
                    <a:pt x="834" y="5182"/>
                  </a:lnTo>
                  <a:lnTo>
                    <a:pt x="834" y="5217"/>
                  </a:lnTo>
                  <a:lnTo>
                    <a:pt x="820" y="5231"/>
                  </a:lnTo>
                  <a:lnTo>
                    <a:pt x="848" y="5245"/>
                  </a:lnTo>
                  <a:lnTo>
                    <a:pt x="855" y="5210"/>
                  </a:lnTo>
                  <a:lnTo>
                    <a:pt x="848" y="5182"/>
                  </a:lnTo>
                  <a:lnTo>
                    <a:pt x="876" y="5182"/>
                  </a:lnTo>
                  <a:lnTo>
                    <a:pt x="869" y="5155"/>
                  </a:lnTo>
                  <a:lnTo>
                    <a:pt x="876" y="5148"/>
                  </a:lnTo>
                  <a:lnTo>
                    <a:pt x="918" y="5127"/>
                  </a:lnTo>
                  <a:lnTo>
                    <a:pt x="953" y="5113"/>
                  </a:lnTo>
                  <a:lnTo>
                    <a:pt x="967" y="5092"/>
                  </a:lnTo>
                  <a:lnTo>
                    <a:pt x="973" y="5085"/>
                  </a:lnTo>
                  <a:lnTo>
                    <a:pt x="1050" y="5134"/>
                  </a:lnTo>
                  <a:lnTo>
                    <a:pt x="1071" y="5175"/>
                  </a:lnTo>
                  <a:lnTo>
                    <a:pt x="1099" y="5196"/>
                  </a:lnTo>
                  <a:lnTo>
                    <a:pt x="1106" y="5161"/>
                  </a:lnTo>
                  <a:lnTo>
                    <a:pt x="1113" y="5182"/>
                  </a:lnTo>
                  <a:lnTo>
                    <a:pt x="1140" y="5196"/>
                  </a:lnTo>
                  <a:lnTo>
                    <a:pt x="1147" y="5217"/>
                  </a:lnTo>
                  <a:lnTo>
                    <a:pt x="1196" y="5217"/>
                  </a:lnTo>
                  <a:lnTo>
                    <a:pt x="1273" y="5134"/>
                  </a:lnTo>
                  <a:lnTo>
                    <a:pt x="1280" y="5120"/>
                  </a:lnTo>
                  <a:lnTo>
                    <a:pt x="1412" y="4995"/>
                  </a:lnTo>
                  <a:lnTo>
                    <a:pt x="1433" y="4981"/>
                  </a:lnTo>
                  <a:lnTo>
                    <a:pt x="1440" y="4967"/>
                  </a:lnTo>
                  <a:lnTo>
                    <a:pt x="1447" y="4981"/>
                  </a:lnTo>
                  <a:lnTo>
                    <a:pt x="1467" y="4953"/>
                  </a:lnTo>
                  <a:lnTo>
                    <a:pt x="1467" y="4897"/>
                  </a:lnTo>
                  <a:lnTo>
                    <a:pt x="1495" y="4821"/>
                  </a:lnTo>
                  <a:lnTo>
                    <a:pt x="1447" y="4737"/>
                  </a:lnTo>
                  <a:lnTo>
                    <a:pt x="1440" y="4688"/>
                  </a:lnTo>
                  <a:lnTo>
                    <a:pt x="1467" y="4598"/>
                  </a:lnTo>
                  <a:lnTo>
                    <a:pt x="1530" y="4521"/>
                  </a:lnTo>
                  <a:lnTo>
                    <a:pt x="1599" y="4487"/>
                  </a:lnTo>
                  <a:lnTo>
                    <a:pt x="1669" y="4542"/>
                  </a:lnTo>
                  <a:lnTo>
                    <a:pt x="1697" y="4542"/>
                  </a:lnTo>
                  <a:lnTo>
                    <a:pt x="1697" y="4529"/>
                  </a:lnTo>
                  <a:lnTo>
                    <a:pt x="1697" y="4501"/>
                  </a:lnTo>
                  <a:lnTo>
                    <a:pt x="1718" y="4473"/>
                  </a:lnTo>
                  <a:lnTo>
                    <a:pt x="1801" y="4445"/>
                  </a:lnTo>
                  <a:lnTo>
                    <a:pt x="1850" y="4473"/>
                  </a:lnTo>
                  <a:lnTo>
                    <a:pt x="1920" y="4494"/>
                  </a:lnTo>
                  <a:lnTo>
                    <a:pt x="1954" y="4508"/>
                  </a:lnTo>
                  <a:lnTo>
                    <a:pt x="1989" y="4542"/>
                  </a:lnTo>
                  <a:lnTo>
                    <a:pt x="2059" y="4591"/>
                  </a:lnTo>
                  <a:lnTo>
                    <a:pt x="2066" y="4619"/>
                  </a:lnTo>
                  <a:lnTo>
                    <a:pt x="2087" y="4633"/>
                  </a:lnTo>
                  <a:lnTo>
                    <a:pt x="2087" y="4626"/>
                  </a:lnTo>
                  <a:lnTo>
                    <a:pt x="2121" y="4654"/>
                  </a:lnTo>
                  <a:lnTo>
                    <a:pt x="2149" y="4668"/>
                  </a:lnTo>
                  <a:lnTo>
                    <a:pt x="2198" y="4661"/>
                  </a:lnTo>
                  <a:lnTo>
                    <a:pt x="2247" y="4661"/>
                  </a:lnTo>
                  <a:lnTo>
                    <a:pt x="2260" y="4688"/>
                  </a:lnTo>
                  <a:lnTo>
                    <a:pt x="2260" y="4716"/>
                  </a:lnTo>
                  <a:lnTo>
                    <a:pt x="2281" y="4730"/>
                  </a:lnTo>
                  <a:lnTo>
                    <a:pt x="2288" y="4675"/>
                  </a:lnTo>
                  <a:lnTo>
                    <a:pt x="2323" y="4661"/>
                  </a:lnTo>
                  <a:lnTo>
                    <a:pt x="2344" y="4654"/>
                  </a:lnTo>
                  <a:lnTo>
                    <a:pt x="2358" y="4619"/>
                  </a:lnTo>
                  <a:lnTo>
                    <a:pt x="2358" y="4598"/>
                  </a:lnTo>
                  <a:lnTo>
                    <a:pt x="2379" y="4563"/>
                  </a:lnTo>
                  <a:lnTo>
                    <a:pt x="2358" y="4535"/>
                  </a:lnTo>
                  <a:lnTo>
                    <a:pt x="2358" y="4424"/>
                  </a:lnTo>
                  <a:lnTo>
                    <a:pt x="2420" y="4299"/>
                  </a:lnTo>
                  <a:lnTo>
                    <a:pt x="2462" y="4292"/>
                  </a:lnTo>
                  <a:lnTo>
                    <a:pt x="2414" y="4236"/>
                  </a:lnTo>
                  <a:lnTo>
                    <a:pt x="2427" y="4083"/>
                  </a:lnTo>
                  <a:lnTo>
                    <a:pt x="2448" y="4035"/>
                  </a:lnTo>
                  <a:lnTo>
                    <a:pt x="2483" y="3937"/>
                  </a:lnTo>
                  <a:lnTo>
                    <a:pt x="2476" y="3868"/>
                  </a:lnTo>
                  <a:lnTo>
                    <a:pt x="2462" y="3805"/>
                  </a:lnTo>
                  <a:lnTo>
                    <a:pt x="2483" y="3749"/>
                  </a:lnTo>
                  <a:lnTo>
                    <a:pt x="2490" y="3742"/>
                  </a:lnTo>
                  <a:lnTo>
                    <a:pt x="2504" y="3603"/>
                  </a:lnTo>
                  <a:lnTo>
                    <a:pt x="2490" y="3568"/>
                  </a:lnTo>
                  <a:lnTo>
                    <a:pt x="2490" y="3520"/>
                  </a:lnTo>
                  <a:lnTo>
                    <a:pt x="2504" y="3485"/>
                  </a:lnTo>
                  <a:lnTo>
                    <a:pt x="2511" y="3429"/>
                  </a:lnTo>
                  <a:lnTo>
                    <a:pt x="2525" y="3408"/>
                  </a:lnTo>
                  <a:lnTo>
                    <a:pt x="2539" y="3374"/>
                  </a:lnTo>
                  <a:lnTo>
                    <a:pt x="2539" y="3353"/>
                  </a:lnTo>
                  <a:lnTo>
                    <a:pt x="2525" y="3214"/>
                  </a:lnTo>
                  <a:lnTo>
                    <a:pt x="2539" y="3186"/>
                  </a:lnTo>
                  <a:lnTo>
                    <a:pt x="2560" y="3082"/>
                  </a:lnTo>
                  <a:lnTo>
                    <a:pt x="2546" y="3047"/>
                  </a:lnTo>
                  <a:lnTo>
                    <a:pt x="2553" y="2935"/>
                  </a:lnTo>
                  <a:lnTo>
                    <a:pt x="2587" y="2929"/>
                  </a:lnTo>
                  <a:lnTo>
                    <a:pt x="2608" y="2915"/>
                  </a:lnTo>
                  <a:lnTo>
                    <a:pt x="2587" y="2894"/>
                  </a:lnTo>
                  <a:lnTo>
                    <a:pt x="2573" y="2894"/>
                  </a:lnTo>
                  <a:lnTo>
                    <a:pt x="2553" y="2866"/>
                  </a:lnTo>
                  <a:lnTo>
                    <a:pt x="2553" y="2789"/>
                  </a:lnTo>
                  <a:lnTo>
                    <a:pt x="2560" y="2768"/>
                  </a:lnTo>
                  <a:lnTo>
                    <a:pt x="2587" y="2692"/>
                  </a:lnTo>
                  <a:lnTo>
                    <a:pt x="2615" y="2650"/>
                  </a:lnTo>
                  <a:lnTo>
                    <a:pt x="2622" y="2567"/>
                  </a:lnTo>
                  <a:lnTo>
                    <a:pt x="2580" y="2532"/>
                  </a:lnTo>
                  <a:lnTo>
                    <a:pt x="2539" y="2490"/>
                  </a:lnTo>
                  <a:lnTo>
                    <a:pt x="2504" y="2428"/>
                  </a:lnTo>
                  <a:lnTo>
                    <a:pt x="2476" y="2365"/>
                  </a:lnTo>
                  <a:lnTo>
                    <a:pt x="2455" y="2268"/>
                  </a:lnTo>
                  <a:lnTo>
                    <a:pt x="2462" y="2149"/>
                  </a:lnTo>
                  <a:lnTo>
                    <a:pt x="2539" y="2038"/>
                  </a:lnTo>
                  <a:lnTo>
                    <a:pt x="2643" y="1920"/>
                  </a:lnTo>
                  <a:lnTo>
                    <a:pt x="2678" y="1906"/>
                  </a:lnTo>
                  <a:lnTo>
                    <a:pt x="2713" y="1788"/>
                  </a:lnTo>
                  <a:lnTo>
                    <a:pt x="2733" y="1781"/>
                  </a:lnTo>
                  <a:lnTo>
                    <a:pt x="2754" y="1718"/>
                  </a:lnTo>
                  <a:lnTo>
                    <a:pt x="2782" y="1607"/>
                  </a:lnTo>
                  <a:lnTo>
                    <a:pt x="2740" y="1572"/>
                  </a:lnTo>
                  <a:lnTo>
                    <a:pt x="2720" y="1509"/>
                  </a:lnTo>
                  <a:lnTo>
                    <a:pt x="2685" y="1475"/>
                  </a:lnTo>
                  <a:lnTo>
                    <a:pt x="2657" y="1419"/>
                  </a:lnTo>
                  <a:lnTo>
                    <a:pt x="2643" y="1329"/>
                  </a:lnTo>
                  <a:lnTo>
                    <a:pt x="2650" y="1315"/>
                  </a:lnTo>
                  <a:lnTo>
                    <a:pt x="2650" y="1308"/>
                  </a:lnTo>
                  <a:lnTo>
                    <a:pt x="2650" y="1252"/>
                  </a:lnTo>
                  <a:lnTo>
                    <a:pt x="2615" y="1224"/>
                  </a:lnTo>
                  <a:lnTo>
                    <a:pt x="2601" y="1162"/>
                  </a:lnTo>
                  <a:lnTo>
                    <a:pt x="2601" y="1099"/>
                  </a:lnTo>
                  <a:lnTo>
                    <a:pt x="2560" y="1085"/>
                  </a:lnTo>
                  <a:lnTo>
                    <a:pt x="2525" y="1023"/>
                  </a:lnTo>
                  <a:lnTo>
                    <a:pt x="2546" y="988"/>
                  </a:lnTo>
                  <a:lnTo>
                    <a:pt x="2560" y="981"/>
                  </a:lnTo>
                  <a:lnTo>
                    <a:pt x="2546" y="946"/>
                  </a:lnTo>
                  <a:lnTo>
                    <a:pt x="2573" y="918"/>
                  </a:lnTo>
                  <a:lnTo>
                    <a:pt x="2601" y="925"/>
                  </a:lnTo>
                  <a:lnTo>
                    <a:pt x="2615" y="911"/>
                  </a:lnTo>
                  <a:lnTo>
                    <a:pt x="2573" y="897"/>
                  </a:lnTo>
                  <a:lnTo>
                    <a:pt x="2553" y="883"/>
                  </a:lnTo>
                  <a:lnTo>
                    <a:pt x="2525" y="869"/>
                  </a:lnTo>
                  <a:lnTo>
                    <a:pt x="2511" y="883"/>
                  </a:lnTo>
                  <a:lnTo>
                    <a:pt x="2504" y="856"/>
                  </a:lnTo>
                  <a:lnTo>
                    <a:pt x="2504" y="835"/>
                  </a:lnTo>
                  <a:lnTo>
                    <a:pt x="2490" y="835"/>
                  </a:lnTo>
                  <a:lnTo>
                    <a:pt x="2476" y="828"/>
                  </a:lnTo>
                  <a:lnTo>
                    <a:pt x="2462" y="821"/>
                  </a:lnTo>
                  <a:lnTo>
                    <a:pt x="2441" y="793"/>
                  </a:lnTo>
                  <a:lnTo>
                    <a:pt x="2483" y="751"/>
                  </a:lnTo>
                  <a:lnTo>
                    <a:pt x="2441" y="737"/>
                  </a:lnTo>
                  <a:lnTo>
                    <a:pt x="2386" y="786"/>
                  </a:lnTo>
                  <a:lnTo>
                    <a:pt x="2365" y="758"/>
                  </a:lnTo>
                  <a:lnTo>
                    <a:pt x="2351" y="737"/>
                  </a:lnTo>
                  <a:lnTo>
                    <a:pt x="2330" y="751"/>
                  </a:lnTo>
                  <a:lnTo>
                    <a:pt x="2323" y="737"/>
                  </a:lnTo>
                  <a:lnTo>
                    <a:pt x="2254" y="751"/>
                  </a:lnTo>
                  <a:lnTo>
                    <a:pt x="2247" y="737"/>
                  </a:lnTo>
                  <a:lnTo>
                    <a:pt x="2281" y="730"/>
                  </a:lnTo>
                  <a:lnTo>
                    <a:pt x="2254" y="723"/>
                  </a:lnTo>
                  <a:lnTo>
                    <a:pt x="2309" y="716"/>
                  </a:lnTo>
                  <a:lnTo>
                    <a:pt x="2323" y="723"/>
                  </a:lnTo>
                  <a:lnTo>
                    <a:pt x="2365" y="723"/>
                  </a:lnTo>
                  <a:lnTo>
                    <a:pt x="2365" y="689"/>
                  </a:lnTo>
                  <a:lnTo>
                    <a:pt x="2365" y="682"/>
                  </a:lnTo>
                  <a:lnTo>
                    <a:pt x="2379" y="661"/>
                  </a:lnTo>
                  <a:lnTo>
                    <a:pt x="2393" y="640"/>
                  </a:lnTo>
                  <a:lnTo>
                    <a:pt x="2386" y="626"/>
                  </a:lnTo>
                  <a:lnTo>
                    <a:pt x="2393" y="591"/>
                  </a:lnTo>
                  <a:lnTo>
                    <a:pt x="2414" y="584"/>
                  </a:lnTo>
                  <a:lnTo>
                    <a:pt x="2441" y="563"/>
                  </a:lnTo>
                  <a:lnTo>
                    <a:pt x="2455" y="570"/>
                  </a:lnTo>
                  <a:lnTo>
                    <a:pt x="2483" y="591"/>
                  </a:lnTo>
                  <a:lnTo>
                    <a:pt x="2504" y="591"/>
                  </a:lnTo>
                  <a:lnTo>
                    <a:pt x="2518" y="570"/>
                  </a:lnTo>
                  <a:lnTo>
                    <a:pt x="2483" y="563"/>
                  </a:lnTo>
                  <a:lnTo>
                    <a:pt x="2448" y="550"/>
                  </a:lnTo>
                  <a:lnTo>
                    <a:pt x="2406" y="522"/>
                  </a:lnTo>
                  <a:lnTo>
                    <a:pt x="2379" y="535"/>
                  </a:lnTo>
                  <a:lnTo>
                    <a:pt x="2365" y="556"/>
                  </a:lnTo>
                  <a:lnTo>
                    <a:pt x="2351" y="550"/>
                  </a:lnTo>
                  <a:lnTo>
                    <a:pt x="2344" y="556"/>
                  </a:lnTo>
                  <a:lnTo>
                    <a:pt x="2351" y="522"/>
                  </a:lnTo>
                  <a:lnTo>
                    <a:pt x="2351" y="501"/>
                  </a:lnTo>
                  <a:lnTo>
                    <a:pt x="2344" y="487"/>
                  </a:lnTo>
                  <a:lnTo>
                    <a:pt x="2316" y="501"/>
                  </a:lnTo>
                  <a:lnTo>
                    <a:pt x="2288" y="508"/>
                  </a:lnTo>
                  <a:lnTo>
                    <a:pt x="2288" y="522"/>
                  </a:lnTo>
                  <a:lnTo>
                    <a:pt x="2281" y="550"/>
                  </a:lnTo>
                  <a:lnTo>
                    <a:pt x="2260" y="535"/>
                  </a:lnTo>
                  <a:lnTo>
                    <a:pt x="2274" y="508"/>
                  </a:lnTo>
                  <a:lnTo>
                    <a:pt x="2288" y="452"/>
                  </a:lnTo>
                  <a:lnTo>
                    <a:pt x="2295" y="438"/>
                  </a:lnTo>
                  <a:lnTo>
                    <a:pt x="2309" y="424"/>
                  </a:lnTo>
                  <a:lnTo>
                    <a:pt x="2295" y="403"/>
                  </a:lnTo>
                  <a:lnTo>
                    <a:pt x="2323" y="375"/>
                  </a:lnTo>
                  <a:lnTo>
                    <a:pt x="2330" y="389"/>
                  </a:lnTo>
                  <a:lnTo>
                    <a:pt x="2358" y="355"/>
                  </a:lnTo>
                  <a:lnTo>
                    <a:pt x="2358" y="341"/>
                  </a:lnTo>
                  <a:lnTo>
                    <a:pt x="2351" y="306"/>
                  </a:lnTo>
                  <a:lnTo>
                    <a:pt x="2316" y="306"/>
                  </a:lnTo>
                  <a:lnTo>
                    <a:pt x="2316" y="271"/>
                  </a:lnTo>
                  <a:lnTo>
                    <a:pt x="2295" y="264"/>
                  </a:lnTo>
                  <a:lnTo>
                    <a:pt x="2309" y="257"/>
                  </a:lnTo>
                  <a:lnTo>
                    <a:pt x="2295" y="236"/>
                  </a:lnTo>
                  <a:lnTo>
                    <a:pt x="2281" y="223"/>
                  </a:lnTo>
                  <a:lnTo>
                    <a:pt x="2274" y="236"/>
                  </a:lnTo>
                  <a:lnTo>
                    <a:pt x="2274" y="257"/>
                  </a:lnTo>
                  <a:lnTo>
                    <a:pt x="2233" y="257"/>
                  </a:lnTo>
                  <a:lnTo>
                    <a:pt x="2219" y="257"/>
                  </a:lnTo>
                  <a:lnTo>
                    <a:pt x="2191" y="264"/>
                  </a:lnTo>
                  <a:lnTo>
                    <a:pt x="2198" y="278"/>
                  </a:lnTo>
                  <a:lnTo>
                    <a:pt x="2191" y="292"/>
                  </a:lnTo>
                  <a:lnTo>
                    <a:pt x="2163" y="341"/>
                  </a:lnTo>
                  <a:lnTo>
                    <a:pt x="2149" y="355"/>
                  </a:lnTo>
                  <a:lnTo>
                    <a:pt x="2135" y="271"/>
                  </a:lnTo>
                  <a:lnTo>
                    <a:pt x="2149" y="271"/>
                  </a:lnTo>
                  <a:lnTo>
                    <a:pt x="2135" y="243"/>
                  </a:lnTo>
                  <a:lnTo>
                    <a:pt x="2121" y="229"/>
                  </a:lnTo>
                  <a:lnTo>
                    <a:pt x="2087" y="223"/>
                  </a:lnTo>
                  <a:lnTo>
                    <a:pt x="2100" y="208"/>
                  </a:lnTo>
                  <a:lnTo>
                    <a:pt x="2121" y="181"/>
                  </a:lnTo>
                  <a:lnTo>
                    <a:pt x="2093" y="174"/>
                  </a:lnTo>
                  <a:lnTo>
                    <a:pt x="2066" y="174"/>
                  </a:lnTo>
                  <a:lnTo>
                    <a:pt x="2059" y="160"/>
                  </a:lnTo>
                  <a:lnTo>
                    <a:pt x="2045" y="167"/>
                  </a:lnTo>
                  <a:lnTo>
                    <a:pt x="2024" y="125"/>
                  </a:lnTo>
                  <a:lnTo>
                    <a:pt x="1996" y="111"/>
                  </a:lnTo>
                  <a:lnTo>
                    <a:pt x="1968" y="132"/>
                  </a:lnTo>
                  <a:lnTo>
                    <a:pt x="1982" y="146"/>
                  </a:lnTo>
                  <a:lnTo>
                    <a:pt x="1968" y="160"/>
                  </a:lnTo>
                  <a:lnTo>
                    <a:pt x="1947" y="132"/>
                  </a:lnTo>
                  <a:lnTo>
                    <a:pt x="1926" y="146"/>
                  </a:lnTo>
                  <a:lnTo>
                    <a:pt x="1899" y="139"/>
                  </a:lnTo>
                  <a:lnTo>
                    <a:pt x="1906" y="125"/>
                  </a:lnTo>
                  <a:lnTo>
                    <a:pt x="1899" y="97"/>
                  </a:lnTo>
                  <a:lnTo>
                    <a:pt x="1885" y="125"/>
                  </a:lnTo>
                  <a:lnTo>
                    <a:pt x="1899" y="160"/>
                  </a:lnTo>
                  <a:lnTo>
                    <a:pt x="1864" y="139"/>
                  </a:lnTo>
                  <a:lnTo>
                    <a:pt x="1885" y="97"/>
                  </a:lnTo>
                  <a:lnTo>
                    <a:pt x="1871" y="49"/>
                  </a:lnTo>
                  <a:lnTo>
                    <a:pt x="1822" y="28"/>
                  </a:lnTo>
                  <a:lnTo>
                    <a:pt x="1815" y="0"/>
                  </a:lnTo>
                  <a:lnTo>
                    <a:pt x="1766" y="14"/>
                  </a:lnTo>
                  <a:lnTo>
                    <a:pt x="1739" y="42"/>
                  </a:lnTo>
                  <a:lnTo>
                    <a:pt x="1739" y="35"/>
                  </a:lnTo>
                  <a:lnTo>
                    <a:pt x="1725" y="28"/>
                  </a:lnTo>
                  <a:lnTo>
                    <a:pt x="1697" y="42"/>
                  </a:lnTo>
                  <a:lnTo>
                    <a:pt x="1676" y="42"/>
                  </a:lnTo>
                  <a:lnTo>
                    <a:pt x="1662" y="35"/>
                  </a:lnTo>
                  <a:lnTo>
                    <a:pt x="1655" y="42"/>
                  </a:lnTo>
                  <a:lnTo>
                    <a:pt x="1669" y="49"/>
                  </a:lnTo>
                  <a:lnTo>
                    <a:pt x="1697" y="62"/>
                  </a:lnTo>
                  <a:lnTo>
                    <a:pt x="1676" y="125"/>
                  </a:lnTo>
                  <a:lnTo>
                    <a:pt x="1690" y="160"/>
                  </a:lnTo>
                  <a:lnTo>
                    <a:pt x="1704" y="174"/>
                  </a:lnTo>
                  <a:lnTo>
                    <a:pt x="1690" y="208"/>
                  </a:lnTo>
                  <a:lnTo>
                    <a:pt x="1634" y="229"/>
                  </a:lnTo>
                  <a:lnTo>
                    <a:pt x="1620" y="236"/>
                  </a:lnTo>
                  <a:lnTo>
                    <a:pt x="1607" y="264"/>
                  </a:lnTo>
                  <a:lnTo>
                    <a:pt x="1530" y="292"/>
                  </a:lnTo>
                  <a:lnTo>
                    <a:pt x="1509" y="264"/>
                  </a:lnTo>
                  <a:lnTo>
                    <a:pt x="1460" y="292"/>
                  </a:lnTo>
                  <a:lnTo>
                    <a:pt x="1426" y="334"/>
                  </a:lnTo>
                  <a:lnTo>
                    <a:pt x="1391" y="369"/>
                  </a:lnTo>
                  <a:lnTo>
                    <a:pt x="1328" y="452"/>
                  </a:lnTo>
                  <a:lnTo>
                    <a:pt x="1293" y="487"/>
                  </a:lnTo>
                  <a:lnTo>
                    <a:pt x="1238" y="501"/>
                  </a:lnTo>
                  <a:lnTo>
                    <a:pt x="1238" y="508"/>
                  </a:lnTo>
                  <a:lnTo>
                    <a:pt x="1231" y="529"/>
                  </a:lnTo>
                  <a:lnTo>
                    <a:pt x="1217" y="535"/>
                  </a:lnTo>
                  <a:lnTo>
                    <a:pt x="1203" y="591"/>
                  </a:lnTo>
                  <a:lnTo>
                    <a:pt x="1099" y="716"/>
                  </a:lnTo>
                  <a:lnTo>
                    <a:pt x="1050" y="751"/>
                  </a:lnTo>
                  <a:lnTo>
                    <a:pt x="946" y="751"/>
                  </a:lnTo>
                  <a:lnTo>
                    <a:pt x="939" y="751"/>
                  </a:lnTo>
                  <a:lnTo>
                    <a:pt x="813" y="828"/>
                  </a:lnTo>
                  <a:lnTo>
                    <a:pt x="807" y="856"/>
                  </a:lnTo>
                  <a:lnTo>
                    <a:pt x="716" y="925"/>
                  </a:lnTo>
                  <a:lnTo>
                    <a:pt x="549" y="960"/>
                  </a:lnTo>
                  <a:lnTo>
                    <a:pt x="528" y="960"/>
                  </a:lnTo>
                  <a:lnTo>
                    <a:pt x="473" y="918"/>
                  </a:lnTo>
                  <a:lnTo>
                    <a:pt x="424" y="918"/>
                  </a:lnTo>
                  <a:lnTo>
                    <a:pt x="292" y="911"/>
                  </a:lnTo>
                  <a:lnTo>
                    <a:pt x="167" y="779"/>
                  </a:lnTo>
                  <a:lnTo>
                    <a:pt x="153" y="702"/>
                  </a:lnTo>
                  <a:lnTo>
                    <a:pt x="167" y="668"/>
                  </a:lnTo>
                  <a:lnTo>
                    <a:pt x="118" y="633"/>
                  </a:lnTo>
                  <a:lnTo>
                    <a:pt x="104" y="633"/>
                  </a:lnTo>
                  <a:lnTo>
                    <a:pt x="69" y="716"/>
                  </a:lnTo>
                  <a:lnTo>
                    <a:pt x="90" y="737"/>
                  </a:lnTo>
                  <a:lnTo>
                    <a:pt x="132" y="793"/>
                  </a:lnTo>
                  <a:lnTo>
                    <a:pt x="132" y="828"/>
                  </a:lnTo>
                  <a:lnTo>
                    <a:pt x="97" y="925"/>
                  </a:lnTo>
                  <a:lnTo>
                    <a:pt x="69" y="981"/>
                  </a:lnTo>
                  <a:lnTo>
                    <a:pt x="69" y="988"/>
                  </a:lnTo>
                  <a:lnTo>
                    <a:pt x="48" y="1023"/>
                  </a:lnTo>
                  <a:lnTo>
                    <a:pt x="34" y="1092"/>
                  </a:lnTo>
                  <a:lnTo>
                    <a:pt x="20" y="1120"/>
                  </a:lnTo>
                  <a:lnTo>
                    <a:pt x="0" y="1155"/>
                  </a:lnTo>
                  <a:lnTo>
                    <a:pt x="62" y="1224"/>
                  </a:lnTo>
                  <a:lnTo>
                    <a:pt x="118" y="1259"/>
                  </a:lnTo>
                  <a:lnTo>
                    <a:pt x="104" y="1280"/>
                  </a:lnTo>
                  <a:lnTo>
                    <a:pt x="69" y="1356"/>
                  </a:lnTo>
                  <a:lnTo>
                    <a:pt x="48" y="1377"/>
                  </a:lnTo>
                  <a:lnTo>
                    <a:pt x="13" y="1391"/>
                  </a:lnTo>
                  <a:lnTo>
                    <a:pt x="34" y="1488"/>
                  </a:lnTo>
                  <a:lnTo>
                    <a:pt x="48" y="1516"/>
                  </a:lnTo>
                  <a:lnTo>
                    <a:pt x="55" y="1475"/>
                  </a:lnTo>
                  <a:lnTo>
                    <a:pt x="62" y="1454"/>
                  </a:lnTo>
                  <a:lnTo>
                    <a:pt x="90" y="1419"/>
                  </a:lnTo>
                  <a:lnTo>
                    <a:pt x="97" y="1405"/>
                  </a:lnTo>
                  <a:lnTo>
                    <a:pt x="132" y="1440"/>
                  </a:lnTo>
                  <a:lnTo>
                    <a:pt x="125" y="1454"/>
                  </a:lnTo>
                  <a:lnTo>
                    <a:pt x="118" y="1461"/>
                  </a:lnTo>
                  <a:lnTo>
                    <a:pt x="104" y="1509"/>
                  </a:lnTo>
                  <a:lnTo>
                    <a:pt x="180" y="1502"/>
                  </a:lnTo>
                  <a:lnTo>
                    <a:pt x="194" y="1475"/>
                  </a:lnTo>
                  <a:lnTo>
                    <a:pt x="215" y="1475"/>
                  </a:lnTo>
                  <a:lnTo>
                    <a:pt x="243" y="1454"/>
                  </a:lnTo>
                  <a:lnTo>
                    <a:pt x="278" y="1461"/>
                  </a:lnTo>
                  <a:lnTo>
                    <a:pt x="285" y="1523"/>
                  </a:lnTo>
                  <a:lnTo>
                    <a:pt x="299" y="1544"/>
                  </a:lnTo>
                  <a:lnTo>
                    <a:pt x="333" y="1655"/>
                  </a:lnTo>
                  <a:lnTo>
                    <a:pt x="361" y="1655"/>
                  </a:lnTo>
                  <a:lnTo>
                    <a:pt x="382" y="1676"/>
                  </a:lnTo>
                  <a:lnTo>
                    <a:pt x="410" y="1732"/>
                  </a:lnTo>
                  <a:lnTo>
                    <a:pt x="431" y="1864"/>
                  </a:lnTo>
                  <a:lnTo>
                    <a:pt x="396" y="1969"/>
                  </a:lnTo>
                  <a:lnTo>
                    <a:pt x="410" y="2003"/>
                  </a:lnTo>
                  <a:lnTo>
                    <a:pt x="473" y="2010"/>
                  </a:lnTo>
                  <a:lnTo>
                    <a:pt x="494" y="2045"/>
                  </a:lnTo>
                  <a:lnTo>
                    <a:pt x="521" y="2059"/>
                  </a:lnTo>
                  <a:lnTo>
                    <a:pt x="556" y="2128"/>
                  </a:lnTo>
                  <a:lnTo>
                    <a:pt x="563" y="2163"/>
                  </a:lnTo>
                  <a:lnTo>
                    <a:pt x="556" y="2198"/>
                  </a:lnTo>
                </a:path>
              </a:pathLst>
            </a:custGeom>
            <a:grpFill/>
            <a:ln w="9525" cap="flat" cmpd="sng">
              <a:solidFill>
                <a:schemeClr val="bg1"/>
              </a:solidFill>
              <a:bevel/>
              <a:headEnd/>
              <a:tailEnd/>
            </a:ln>
            <a:effectLst/>
          </p:spPr>
          <p:txBody>
            <a:bodyPr wrap="none" anchor="ctr"/>
            <a:lstStyle/>
            <a:p>
              <a:endParaRPr lang="en-US" dirty="0">
                <a:latin typeface="Open Sans Regular" charset="0"/>
              </a:endParaRPr>
            </a:p>
          </p:txBody>
        </p:sp>
        <p:sp>
          <p:nvSpPr>
            <p:cNvPr id="6" name="Freeform 43">
              <a:extLst>
                <a:ext uri="{FF2B5EF4-FFF2-40B4-BE49-F238E27FC236}">
                  <a16:creationId xmlns:a16="http://schemas.microsoft.com/office/drawing/2014/main" id="{418F28E5-DD2F-47A3-BC51-4CBB46E0EF30}"/>
                </a:ext>
              </a:extLst>
            </p:cNvPr>
            <p:cNvSpPr>
              <a:spLocks noChangeArrowheads="1"/>
            </p:cNvSpPr>
            <p:nvPr/>
          </p:nvSpPr>
          <p:spPr bwMode="auto">
            <a:xfrm>
              <a:off x="14279419" y="8675169"/>
              <a:ext cx="107698" cy="134632"/>
            </a:xfrm>
            <a:custGeom>
              <a:avLst/>
              <a:gdLst>
                <a:gd name="T0" fmla="*/ 160 w 230"/>
                <a:gd name="T1" fmla="*/ 21 h 286"/>
                <a:gd name="T2" fmla="*/ 174 w 230"/>
                <a:gd name="T3" fmla="*/ 0 h 286"/>
                <a:gd name="T4" fmla="*/ 188 w 230"/>
                <a:gd name="T5" fmla="*/ 21 h 286"/>
                <a:gd name="T6" fmla="*/ 202 w 230"/>
                <a:gd name="T7" fmla="*/ 35 h 286"/>
                <a:gd name="T8" fmla="*/ 222 w 230"/>
                <a:gd name="T9" fmla="*/ 63 h 286"/>
                <a:gd name="T10" fmla="*/ 229 w 230"/>
                <a:gd name="T11" fmla="*/ 63 h 286"/>
                <a:gd name="T12" fmla="*/ 202 w 230"/>
                <a:gd name="T13" fmla="*/ 90 h 286"/>
                <a:gd name="T14" fmla="*/ 202 w 230"/>
                <a:gd name="T15" fmla="*/ 125 h 286"/>
                <a:gd name="T16" fmla="*/ 194 w 230"/>
                <a:gd name="T17" fmla="*/ 146 h 286"/>
                <a:gd name="T18" fmla="*/ 118 w 230"/>
                <a:gd name="T19" fmla="*/ 118 h 286"/>
                <a:gd name="T20" fmla="*/ 90 w 230"/>
                <a:gd name="T21" fmla="*/ 132 h 286"/>
                <a:gd name="T22" fmla="*/ 76 w 230"/>
                <a:gd name="T23" fmla="*/ 146 h 286"/>
                <a:gd name="T24" fmla="*/ 90 w 230"/>
                <a:gd name="T25" fmla="*/ 160 h 286"/>
                <a:gd name="T26" fmla="*/ 42 w 230"/>
                <a:gd name="T27" fmla="*/ 202 h 286"/>
                <a:gd name="T28" fmla="*/ 62 w 230"/>
                <a:gd name="T29" fmla="*/ 202 h 286"/>
                <a:gd name="T30" fmla="*/ 69 w 230"/>
                <a:gd name="T31" fmla="*/ 244 h 286"/>
                <a:gd name="T32" fmla="*/ 76 w 230"/>
                <a:gd name="T33" fmla="*/ 278 h 286"/>
                <a:gd name="T34" fmla="*/ 55 w 230"/>
                <a:gd name="T35" fmla="*/ 285 h 286"/>
                <a:gd name="T36" fmla="*/ 0 w 230"/>
                <a:gd name="T37" fmla="*/ 278 h 286"/>
                <a:gd name="T38" fmla="*/ 0 w 230"/>
                <a:gd name="T39" fmla="*/ 257 h 286"/>
                <a:gd name="T40" fmla="*/ 7 w 230"/>
                <a:gd name="T41" fmla="*/ 229 h 286"/>
                <a:gd name="T42" fmla="*/ 21 w 230"/>
                <a:gd name="T43" fmla="*/ 202 h 286"/>
                <a:gd name="T44" fmla="*/ 7 w 230"/>
                <a:gd name="T45" fmla="*/ 195 h 286"/>
                <a:gd name="T46" fmla="*/ 21 w 230"/>
                <a:gd name="T47" fmla="*/ 160 h 286"/>
                <a:gd name="T48" fmla="*/ 62 w 230"/>
                <a:gd name="T49" fmla="*/ 146 h 286"/>
                <a:gd name="T50" fmla="*/ 97 w 230"/>
                <a:gd name="T51" fmla="*/ 97 h 286"/>
                <a:gd name="T52" fmla="*/ 118 w 230"/>
                <a:gd name="T53" fmla="*/ 83 h 286"/>
                <a:gd name="T54" fmla="*/ 104 w 230"/>
                <a:gd name="T55" fmla="*/ 28 h 286"/>
                <a:gd name="T56" fmla="*/ 160 w 230"/>
                <a:gd name="T57" fmla="*/ 21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30" h="286">
                  <a:moveTo>
                    <a:pt x="160" y="21"/>
                  </a:moveTo>
                  <a:lnTo>
                    <a:pt x="174" y="0"/>
                  </a:lnTo>
                  <a:lnTo>
                    <a:pt x="188" y="21"/>
                  </a:lnTo>
                  <a:lnTo>
                    <a:pt x="202" y="35"/>
                  </a:lnTo>
                  <a:lnTo>
                    <a:pt x="222" y="63"/>
                  </a:lnTo>
                  <a:lnTo>
                    <a:pt x="229" y="63"/>
                  </a:lnTo>
                  <a:lnTo>
                    <a:pt x="202" y="90"/>
                  </a:lnTo>
                  <a:lnTo>
                    <a:pt x="202" y="125"/>
                  </a:lnTo>
                  <a:lnTo>
                    <a:pt x="194" y="146"/>
                  </a:lnTo>
                  <a:lnTo>
                    <a:pt x="118" y="118"/>
                  </a:lnTo>
                  <a:lnTo>
                    <a:pt x="90" y="132"/>
                  </a:lnTo>
                  <a:lnTo>
                    <a:pt x="76" y="146"/>
                  </a:lnTo>
                  <a:lnTo>
                    <a:pt x="90" y="160"/>
                  </a:lnTo>
                  <a:lnTo>
                    <a:pt x="42" y="202"/>
                  </a:lnTo>
                  <a:lnTo>
                    <a:pt x="62" y="202"/>
                  </a:lnTo>
                  <a:lnTo>
                    <a:pt x="69" y="244"/>
                  </a:lnTo>
                  <a:lnTo>
                    <a:pt x="76" y="278"/>
                  </a:lnTo>
                  <a:lnTo>
                    <a:pt x="55" y="285"/>
                  </a:lnTo>
                  <a:lnTo>
                    <a:pt x="0" y="278"/>
                  </a:lnTo>
                  <a:lnTo>
                    <a:pt x="0" y="257"/>
                  </a:lnTo>
                  <a:lnTo>
                    <a:pt x="7" y="229"/>
                  </a:lnTo>
                  <a:lnTo>
                    <a:pt x="21" y="202"/>
                  </a:lnTo>
                  <a:lnTo>
                    <a:pt x="7" y="195"/>
                  </a:lnTo>
                  <a:lnTo>
                    <a:pt x="21" y="160"/>
                  </a:lnTo>
                  <a:lnTo>
                    <a:pt x="62" y="146"/>
                  </a:lnTo>
                  <a:lnTo>
                    <a:pt x="97" y="97"/>
                  </a:lnTo>
                  <a:lnTo>
                    <a:pt x="118" y="83"/>
                  </a:lnTo>
                  <a:lnTo>
                    <a:pt x="104" y="28"/>
                  </a:lnTo>
                  <a:lnTo>
                    <a:pt x="160" y="21"/>
                  </a:lnTo>
                </a:path>
              </a:pathLst>
            </a:custGeom>
            <a:grpFill/>
            <a:ln w="9525" cap="flat" cmpd="sng">
              <a:solidFill>
                <a:schemeClr val="bg1"/>
              </a:solid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7" name="Freeform 44">
              <a:extLst>
                <a:ext uri="{FF2B5EF4-FFF2-40B4-BE49-F238E27FC236}">
                  <a16:creationId xmlns:a16="http://schemas.microsoft.com/office/drawing/2014/main" id="{72EEF95B-366B-4B2E-A6FE-5F2BA50A5C11}"/>
                </a:ext>
              </a:extLst>
            </p:cNvPr>
            <p:cNvSpPr>
              <a:spLocks noChangeArrowheads="1"/>
            </p:cNvSpPr>
            <p:nvPr/>
          </p:nvSpPr>
          <p:spPr bwMode="auto">
            <a:xfrm>
              <a:off x="14289776" y="10661494"/>
              <a:ext cx="68346" cy="95277"/>
            </a:xfrm>
            <a:custGeom>
              <a:avLst/>
              <a:gdLst>
                <a:gd name="T0" fmla="*/ 14 w 147"/>
                <a:gd name="T1" fmla="*/ 56 h 203"/>
                <a:gd name="T2" fmla="*/ 34 w 147"/>
                <a:gd name="T3" fmla="*/ 42 h 203"/>
                <a:gd name="T4" fmla="*/ 69 w 147"/>
                <a:gd name="T5" fmla="*/ 21 h 203"/>
                <a:gd name="T6" fmla="*/ 132 w 147"/>
                <a:gd name="T7" fmla="*/ 7 h 203"/>
                <a:gd name="T8" fmla="*/ 139 w 147"/>
                <a:gd name="T9" fmla="*/ 0 h 203"/>
                <a:gd name="T10" fmla="*/ 146 w 147"/>
                <a:gd name="T11" fmla="*/ 105 h 203"/>
                <a:gd name="T12" fmla="*/ 132 w 147"/>
                <a:gd name="T13" fmla="*/ 195 h 203"/>
                <a:gd name="T14" fmla="*/ 104 w 147"/>
                <a:gd name="T15" fmla="*/ 202 h 203"/>
                <a:gd name="T16" fmla="*/ 83 w 147"/>
                <a:gd name="T17" fmla="*/ 195 h 203"/>
                <a:gd name="T18" fmla="*/ 41 w 147"/>
                <a:gd name="T19" fmla="*/ 167 h 203"/>
                <a:gd name="T20" fmla="*/ 48 w 147"/>
                <a:gd name="T21" fmla="*/ 153 h 203"/>
                <a:gd name="T22" fmla="*/ 41 w 147"/>
                <a:gd name="T23" fmla="*/ 140 h 203"/>
                <a:gd name="T24" fmla="*/ 41 w 147"/>
                <a:gd name="T25" fmla="*/ 119 h 203"/>
                <a:gd name="T26" fmla="*/ 7 w 147"/>
                <a:gd name="T27" fmla="*/ 105 h 203"/>
                <a:gd name="T28" fmla="*/ 0 w 147"/>
                <a:gd name="T29" fmla="*/ 84 h 203"/>
                <a:gd name="T30" fmla="*/ 14 w 147"/>
                <a:gd name="T31" fmla="*/ 56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7" h="203">
                  <a:moveTo>
                    <a:pt x="14" y="56"/>
                  </a:moveTo>
                  <a:lnTo>
                    <a:pt x="34" y="42"/>
                  </a:lnTo>
                  <a:lnTo>
                    <a:pt x="69" y="21"/>
                  </a:lnTo>
                  <a:lnTo>
                    <a:pt x="132" y="7"/>
                  </a:lnTo>
                  <a:lnTo>
                    <a:pt x="139" y="0"/>
                  </a:lnTo>
                  <a:lnTo>
                    <a:pt x="146" y="105"/>
                  </a:lnTo>
                  <a:lnTo>
                    <a:pt x="132" y="195"/>
                  </a:lnTo>
                  <a:lnTo>
                    <a:pt x="104" y="202"/>
                  </a:lnTo>
                  <a:lnTo>
                    <a:pt x="83" y="195"/>
                  </a:lnTo>
                  <a:lnTo>
                    <a:pt x="41" y="167"/>
                  </a:lnTo>
                  <a:lnTo>
                    <a:pt x="48" y="153"/>
                  </a:lnTo>
                  <a:lnTo>
                    <a:pt x="41" y="140"/>
                  </a:lnTo>
                  <a:lnTo>
                    <a:pt x="41" y="119"/>
                  </a:lnTo>
                  <a:lnTo>
                    <a:pt x="7" y="105"/>
                  </a:lnTo>
                  <a:lnTo>
                    <a:pt x="0" y="84"/>
                  </a:lnTo>
                  <a:lnTo>
                    <a:pt x="14" y="56"/>
                  </a:lnTo>
                </a:path>
              </a:pathLst>
            </a:custGeom>
            <a:grpFill/>
            <a:ln w="9525" cap="flat" cmpd="sng">
              <a:solidFill>
                <a:schemeClr val="bg1"/>
              </a:solid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8" name="Freeform 45">
              <a:extLst>
                <a:ext uri="{FF2B5EF4-FFF2-40B4-BE49-F238E27FC236}">
                  <a16:creationId xmlns:a16="http://schemas.microsoft.com/office/drawing/2014/main" id="{CC0FCE2E-9428-4505-9F99-94990F592CF0}"/>
                </a:ext>
              </a:extLst>
            </p:cNvPr>
            <p:cNvSpPr>
              <a:spLocks noChangeArrowheads="1"/>
            </p:cNvSpPr>
            <p:nvPr/>
          </p:nvSpPr>
          <p:spPr bwMode="auto">
            <a:xfrm>
              <a:off x="15182423" y="8521897"/>
              <a:ext cx="84916" cy="101492"/>
            </a:xfrm>
            <a:custGeom>
              <a:avLst/>
              <a:gdLst>
                <a:gd name="T0" fmla="*/ 90 w 182"/>
                <a:gd name="T1" fmla="*/ 188 h 217"/>
                <a:gd name="T2" fmla="*/ 104 w 182"/>
                <a:gd name="T3" fmla="*/ 167 h 217"/>
                <a:gd name="T4" fmla="*/ 118 w 182"/>
                <a:gd name="T5" fmla="*/ 146 h 217"/>
                <a:gd name="T6" fmla="*/ 132 w 182"/>
                <a:gd name="T7" fmla="*/ 146 h 217"/>
                <a:gd name="T8" fmla="*/ 104 w 182"/>
                <a:gd name="T9" fmla="*/ 118 h 217"/>
                <a:gd name="T10" fmla="*/ 14 w 182"/>
                <a:gd name="T11" fmla="*/ 118 h 217"/>
                <a:gd name="T12" fmla="*/ 0 w 182"/>
                <a:gd name="T13" fmla="*/ 90 h 217"/>
                <a:gd name="T14" fmla="*/ 7 w 182"/>
                <a:gd name="T15" fmla="*/ 70 h 217"/>
                <a:gd name="T16" fmla="*/ 21 w 182"/>
                <a:gd name="T17" fmla="*/ 63 h 217"/>
                <a:gd name="T18" fmla="*/ 42 w 182"/>
                <a:gd name="T19" fmla="*/ 28 h 217"/>
                <a:gd name="T20" fmla="*/ 42 w 182"/>
                <a:gd name="T21" fmla="*/ 14 h 217"/>
                <a:gd name="T22" fmla="*/ 55 w 182"/>
                <a:gd name="T23" fmla="*/ 28 h 217"/>
                <a:gd name="T24" fmla="*/ 69 w 182"/>
                <a:gd name="T25" fmla="*/ 0 h 217"/>
                <a:gd name="T26" fmla="*/ 83 w 182"/>
                <a:gd name="T27" fmla="*/ 21 h 217"/>
                <a:gd name="T28" fmla="*/ 90 w 182"/>
                <a:gd name="T29" fmla="*/ 35 h 217"/>
                <a:gd name="T30" fmla="*/ 90 w 182"/>
                <a:gd name="T31" fmla="*/ 90 h 217"/>
                <a:gd name="T32" fmla="*/ 111 w 182"/>
                <a:gd name="T33" fmla="*/ 70 h 217"/>
                <a:gd name="T34" fmla="*/ 104 w 182"/>
                <a:gd name="T35" fmla="*/ 111 h 217"/>
                <a:gd name="T36" fmla="*/ 118 w 182"/>
                <a:gd name="T37" fmla="*/ 97 h 217"/>
                <a:gd name="T38" fmla="*/ 132 w 182"/>
                <a:gd name="T39" fmla="*/ 97 h 217"/>
                <a:gd name="T40" fmla="*/ 146 w 182"/>
                <a:gd name="T41" fmla="*/ 56 h 217"/>
                <a:gd name="T42" fmla="*/ 174 w 182"/>
                <a:gd name="T43" fmla="*/ 70 h 217"/>
                <a:gd name="T44" fmla="*/ 181 w 182"/>
                <a:gd name="T45" fmla="*/ 97 h 217"/>
                <a:gd name="T46" fmla="*/ 167 w 182"/>
                <a:gd name="T47" fmla="*/ 132 h 217"/>
                <a:gd name="T48" fmla="*/ 153 w 182"/>
                <a:gd name="T49" fmla="*/ 181 h 217"/>
                <a:gd name="T50" fmla="*/ 174 w 182"/>
                <a:gd name="T51" fmla="*/ 188 h 217"/>
                <a:gd name="T52" fmla="*/ 153 w 182"/>
                <a:gd name="T53" fmla="*/ 216 h 217"/>
                <a:gd name="T54" fmla="*/ 139 w 182"/>
                <a:gd name="T55" fmla="*/ 188 h 217"/>
                <a:gd name="T56" fmla="*/ 132 w 182"/>
                <a:gd name="T57" fmla="*/ 181 h 217"/>
                <a:gd name="T58" fmla="*/ 118 w 182"/>
                <a:gd name="T59" fmla="*/ 167 h 217"/>
                <a:gd name="T60" fmla="*/ 90 w 182"/>
                <a:gd name="T61" fmla="*/ 188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82" h="217">
                  <a:moveTo>
                    <a:pt x="90" y="188"/>
                  </a:moveTo>
                  <a:lnTo>
                    <a:pt x="104" y="167"/>
                  </a:lnTo>
                  <a:lnTo>
                    <a:pt x="118" y="146"/>
                  </a:lnTo>
                  <a:lnTo>
                    <a:pt x="132" y="146"/>
                  </a:lnTo>
                  <a:lnTo>
                    <a:pt x="104" y="118"/>
                  </a:lnTo>
                  <a:lnTo>
                    <a:pt x="14" y="118"/>
                  </a:lnTo>
                  <a:lnTo>
                    <a:pt x="0" y="90"/>
                  </a:lnTo>
                  <a:lnTo>
                    <a:pt x="7" y="70"/>
                  </a:lnTo>
                  <a:lnTo>
                    <a:pt x="21" y="63"/>
                  </a:lnTo>
                  <a:lnTo>
                    <a:pt x="42" y="28"/>
                  </a:lnTo>
                  <a:lnTo>
                    <a:pt x="42" y="14"/>
                  </a:lnTo>
                  <a:lnTo>
                    <a:pt x="55" y="28"/>
                  </a:lnTo>
                  <a:lnTo>
                    <a:pt x="69" y="0"/>
                  </a:lnTo>
                  <a:lnTo>
                    <a:pt x="83" y="21"/>
                  </a:lnTo>
                  <a:lnTo>
                    <a:pt x="90" y="35"/>
                  </a:lnTo>
                  <a:lnTo>
                    <a:pt x="90" y="90"/>
                  </a:lnTo>
                  <a:lnTo>
                    <a:pt x="111" y="70"/>
                  </a:lnTo>
                  <a:lnTo>
                    <a:pt x="104" y="111"/>
                  </a:lnTo>
                  <a:lnTo>
                    <a:pt x="118" y="97"/>
                  </a:lnTo>
                  <a:lnTo>
                    <a:pt x="132" y="97"/>
                  </a:lnTo>
                  <a:lnTo>
                    <a:pt x="146" y="56"/>
                  </a:lnTo>
                  <a:lnTo>
                    <a:pt x="174" y="70"/>
                  </a:lnTo>
                  <a:lnTo>
                    <a:pt x="181" y="97"/>
                  </a:lnTo>
                  <a:lnTo>
                    <a:pt x="167" y="132"/>
                  </a:lnTo>
                  <a:lnTo>
                    <a:pt x="153" y="181"/>
                  </a:lnTo>
                  <a:lnTo>
                    <a:pt x="174" y="188"/>
                  </a:lnTo>
                  <a:lnTo>
                    <a:pt x="153" y="216"/>
                  </a:lnTo>
                  <a:lnTo>
                    <a:pt x="139" y="188"/>
                  </a:lnTo>
                  <a:lnTo>
                    <a:pt x="132" y="181"/>
                  </a:lnTo>
                  <a:lnTo>
                    <a:pt x="118" y="167"/>
                  </a:lnTo>
                  <a:lnTo>
                    <a:pt x="90" y="188"/>
                  </a:lnTo>
                </a:path>
              </a:pathLst>
            </a:custGeom>
            <a:grpFill/>
            <a:ln w="9525" cap="flat" cmpd="sng">
              <a:solidFill>
                <a:schemeClr val="bg1"/>
              </a:solid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9" name="Freeform 46">
              <a:extLst>
                <a:ext uri="{FF2B5EF4-FFF2-40B4-BE49-F238E27FC236}">
                  <a16:creationId xmlns:a16="http://schemas.microsoft.com/office/drawing/2014/main" id="{4F66A0F2-510B-44CA-BDB1-504D44A1AB14}"/>
                </a:ext>
              </a:extLst>
            </p:cNvPr>
            <p:cNvSpPr>
              <a:spLocks noChangeArrowheads="1"/>
            </p:cNvSpPr>
            <p:nvPr/>
          </p:nvSpPr>
          <p:spPr bwMode="auto">
            <a:xfrm>
              <a:off x="15414387" y="8874010"/>
              <a:ext cx="49707" cy="39354"/>
            </a:xfrm>
            <a:custGeom>
              <a:avLst/>
              <a:gdLst>
                <a:gd name="T0" fmla="*/ 21 w 105"/>
                <a:gd name="T1" fmla="*/ 84 h 85"/>
                <a:gd name="T2" fmla="*/ 104 w 105"/>
                <a:gd name="T3" fmla="*/ 28 h 85"/>
                <a:gd name="T4" fmla="*/ 97 w 105"/>
                <a:gd name="T5" fmla="*/ 21 h 85"/>
                <a:gd name="T6" fmla="*/ 97 w 105"/>
                <a:gd name="T7" fmla="*/ 0 h 85"/>
                <a:gd name="T8" fmla="*/ 0 w 105"/>
                <a:gd name="T9" fmla="*/ 70 h 85"/>
                <a:gd name="T10" fmla="*/ 21 w 105"/>
                <a:gd name="T11" fmla="*/ 84 h 85"/>
              </a:gdLst>
              <a:ahLst/>
              <a:cxnLst>
                <a:cxn ang="0">
                  <a:pos x="T0" y="T1"/>
                </a:cxn>
                <a:cxn ang="0">
                  <a:pos x="T2" y="T3"/>
                </a:cxn>
                <a:cxn ang="0">
                  <a:pos x="T4" y="T5"/>
                </a:cxn>
                <a:cxn ang="0">
                  <a:pos x="T6" y="T7"/>
                </a:cxn>
                <a:cxn ang="0">
                  <a:pos x="T8" y="T9"/>
                </a:cxn>
                <a:cxn ang="0">
                  <a:pos x="T10" y="T11"/>
                </a:cxn>
              </a:cxnLst>
              <a:rect l="0" t="0" r="r" b="b"/>
              <a:pathLst>
                <a:path w="105" h="85">
                  <a:moveTo>
                    <a:pt x="21" y="84"/>
                  </a:moveTo>
                  <a:lnTo>
                    <a:pt x="104" y="28"/>
                  </a:lnTo>
                  <a:lnTo>
                    <a:pt x="97" y="21"/>
                  </a:lnTo>
                  <a:lnTo>
                    <a:pt x="97" y="0"/>
                  </a:lnTo>
                  <a:lnTo>
                    <a:pt x="0" y="70"/>
                  </a:lnTo>
                  <a:lnTo>
                    <a:pt x="21" y="84"/>
                  </a:lnTo>
                </a:path>
              </a:pathLst>
            </a:custGeom>
            <a:grpFill/>
            <a:ln w="9525" cap="flat" cmpd="sng">
              <a:solidFill>
                <a:schemeClr val="bg1"/>
              </a:solid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10" name="Freeform 47">
              <a:extLst>
                <a:ext uri="{FF2B5EF4-FFF2-40B4-BE49-F238E27FC236}">
                  <a16:creationId xmlns:a16="http://schemas.microsoft.com/office/drawing/2014/main" id="{572ABDC1-7FA3-4908-9AC6-B515F5368E66}"/>
                </a:ext>
              </a:extLst>
            </p:cNvPr>
            <p:cNvSpPr>
              <a:spLocks noChangeArrowheads="1"/>
            </p:cNvSpPr>
            <p:nvPr/>
          </p:nvSpPr>
          <p:spPr bwMode="auto">
            <a:xfrm>
              <a:off x="15151358" y="8538468"/>
              <a:ext cx="10354" cy="22784"/>
            </a:xfrm>
            <a:custGeom>
              <a:avLst/>
              <a:gdLst>
                <a:gd name="T0" fmla="*/ 0 w 22"/>
                <a:gd name="T1" fmla="*/ 0 h 49"/>
                <a:gd name="T2" fmla="*/ 21 w 22"/>
                <a:gd name="T3" fmla="*/ 14 h 49"/>
                <a:gd name="T4" fmla="*/ 14 w 22"/>
                <a:gd name="T5" fmla="*/ 48 h 49"/>
                <a:gd name="T6" fmla="*/ 0 w 22"/>
                <a:gd name="T7" fmla="*/ 35 h 49"/>
                <a:gd name="T8" fmla="*/ 0 w 22"/>
                <a:gd name="T9" fmla="*/ 0 h 49"/>
              </a:gdLst>
              <a:ahLst/>
              <a:cxnLst>
                <a:cxn ang="0">
                  <a:pos x="T0" y="T1"/>
                </a:cxn>
                <a:cxn ang="0">
                  <a:pos x="T2" y="T3"/>
                </a:cxn>
                <a:cxn ang="0">
                  <a:pos x="T4" y="T5"/>
                </a:cxn>
                <a:cxn ang="0">
                  <a:pos x="T6" y="T7"/>
                </a:cxn>
                <a:cxn ang="0">
                  <a:pos x="T8" y="T9"/>
                </a:cxn>
              </a:cxnLst>
              <a:rect l="0" t="0" r="r" b="b"/>
              <a:pathLst>
                <a:path w="22" h="49">
                  <a:moveTo>
                    <a:pt x="0" y="0"/>
                  </a:moveTo>
                  <a:lnTo>
                    <a:pt x="21" y="14"/>
                  </a:lnTo>
                  <a:lnTo>
                    <a:pt x="14" y="48"/>
                  </a:lnTo>
                  <a:lnTo>
                    <a:pt x="0" y="35"/>
                  </a:lnTo>
                  <a:lnTo>
                    <a:pt x="0" y="0"/>
                  </a:lnTo>
                </a:path>
              </a:pathLst>
            </a:custGeom>
            <a:grpFill/>
            <a:ln w="9525" cap="flat" cmpd="sng">
              <a:solidFill>
                <a:schemeClr val="bg1"/>
              </a:solid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11" name="Freeform 48">
              <a:extLst>
                <a:ext uri="{FF2B5EF4-FFF2-40B4-BE49-F238E27FC236}">
                  <a16:creationId xmlns:a16="http://schemas.microsoft.com/office/drawing/2014/main" id="{407802AC-3A3D-49E4-B14D-25CEE0EF32B8}"/>
                </a:ext>
              </a:extLst>
            </p:cNvPr>
            <p:cNvSpPr>
              <a:spLocks noChangeArrowheads="1"/>
            </p:cNvSpPr>
            <p:nvPr/>
          </p:nvSpPr>
          <p:spPr bwMode="auto">
            <a:xfrm>
              <a:off x="15443384" y="8923719"/>
              <a:ext cx="20711" cy="16570"/>
            </a:xfrm>
            <a:custGeom>
              <a:avLst/>
              <a:gdLst>
                <a:gd name="T0" fmla="*/ 35 w 43"/>
                <a:gd name="T1" fmla="*/ 34 h 35"/>
                <a:gd name="T2" fmla="*/ 42 w 43"/>
                <a:gd name="T3" fmla="*/ 28 h 35"/>
                <a:gd name="T4" fmla="*/ 35 w 43"/>
                <a:gd name="T5" fmla="*/ 0 h 35"/>
                <a:gd name="T6" fmla="*/ 0 w 43"/>
                <a:gd name="T7" fmla="*/ 13 h 35"/>
                <a:gd name="T8" fmla="*/ 35 w 43"/>
                <a:gd name="T9" fmla="*/ 34 h 35"/>
              </a:gdLst>
              <a:ahLst/>
              <a:cxnLst>
                <a:cxn ang="0">
                  <a:pos x="T0" y="T1"/>
                </a:cxn>
                <a:cxn ang="0">
                  <a:pos x="T2" y="T3"/>
                </a:cxn>
                <a:cxn ang="0">
                  <a:pos x="T4" y="T5"/>
                </a:cxn>
                <a:cxn ang="0">
                  <a:pos x="T6" y="T7"/>
                </a:cxn>
                <a:cxn ang="0">
                  <a:pos x="T8" y="T9"/>
                </a:cxn>
              </a:cxnLst>
              <a:rect l="0" t="0" r="r" b="b"/>
              <a:pathLst>
                <a:path w="43" h="35">
                  <a:moveTo>
                    <a:pt x="35" y="34"/>
                  </a:moveTo>
                  <a:lnTo>
                    <a:pt x="42" y="28"/>
                  </a:lnTo>
                  <a:lnTo>
                    <a:pt x="35" y="0"/>
                  </a:lnTo>
                  <a:lnTo>
                    <a:pt x="0" y="13"/>
                  </a:lnTo>
                  <a:lnTo>
                    <a:pt x="35" y="34"/>
                  </a:lnTo>
                </a:path>
              </a:pathLst>
            </a:custGeom>
            <a:grpFill/>
            <a:ln w="9525" cap="flat" cmpd="sng">
              <a:solidFill>
                <a:schemeClr val="bg1"/>
              </a:solid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12" name="Freeform 49">
              <a:extLst>
                <a:ext uri="{FF2B5EF4-FFF2-40B4-BE49-F238E27FC236}">
                  <a16:creationId xmlns:a16="http://schemas.microsoft.com/office/drawing/2014/main" id="{E1F8522A-D4B1-4F5C-B875-10BD33C03E09}"/>
                </a:ext>
              </a:extLst>
            </p:cNvPr>
            <p:cNvSpPr>
              <a:spLocks noChangeArrowheads="1"/>
            </p:cNvSpPr>
            <p:nvPr/>
          </p:nvSpPr>
          <p:spPr bwMode="auto">
            <a:xfrm>
              <a:off x="15198992" y="8584034"/>
              <a:ext cx="16569" cy="16570"/>
            </a:xfrm>
            <a:custGeom>
              <a:avLst/>
              <a:gdLst>
                <a:gd name="T0" fmla="*/ 20 w 35"/>
                <a:gd name="T1" fmla="*/ 35 h 36"/>
                <a:gd name="T2" fmla="*/ 34 w 35"/>
                <a:gd name="T3" fmla="*/ 0 h 36"/>
                <a:gd name="T4" fmla="*/ 0 w 35"/>
                <a:gd name="T5" fmla="*/ 28 h 36"/>
                <a:gd name="T6" fmla="*/ 13 w 35"/>
                <a:gd name="T7" fmla="*/ 35 h 36"/>
                <a:gd name="T8" fmla="*/ 20 w 35"/>
                <a:gd name="T9" fmla="*/ 35 h 36"/>
              </a:gdLst>
              <a:ahLst/>
              <a:cxnLst>
                <a:cxn ang="0">
                  <a:pos x="T0" y="T1"/>
                </a:cxn>
                <a:cxn ang="0">
                  <a:pos x="T2" y="T3"/>
                </a:cxn>
                <a:cxn ang="0">
                  <a:pos x="T4" y="T5"/>
                </a:cxn>
                <a:cxn ang="0">
                  <a:pos x="T6" y="T7"/>
                </a:cxn>
                <a:cxn ang="0">
                  <a:pos x="T8" y="T9"/>
                </a:cxn>
              </a:cxnLst>
              <a:rect l="0" t="0" r="r" b="b"/>
              <a:pathLst>
                <a:path w="35" h="36">
                  <a:moveTo>
                    <a:pt x="20" y="35"/>
                  </a:moveTo>
                  <a:lnTo>
                    <a:pt x="34" y="0"/>
                  </a:lnTo>
                  <a:lnTo>
                    <a:pt x="0" y="28"/>
                  </a:lnTo>
                  <a:lnTo>
                    <a:pt x="13" y="35"/>
                  </a:lnTo>
                  <a:lnTo>
                    <a:pt x="20" y="35"/>
                  </a:lnTo>
                </a:path>
              </a:pathLst>
            </a:custGeom>
            <a:grpFill/>
            <a:ln w="9525" cap="flat" cmpd="sng">
              <a:solidFill>
                <a:schemeClr val="bg1"/>
              </a:solid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13" name="Freeform 50">
              <a:extLst>
                <a:ext uri="{FF2B5EF4-FFF2-40B4-BE49-F238E27FC236}">
                  <a16:creationId xmlns:a16="http://schemas.microsoft.com/office/drawing/2014/main" id="{39DF43CA-1B1A-401E-87B2-3F641D75AD87}"/>
                </a:ext>
              </a:extLst>
            </p:cNvPr>
            <p:cNvSpPr>
              <a:spLocks noChangeArrowheads="1"/>
            </p:cNvSpPr>
            <p:nvPr/>
          </p:nvSpPr>
          <p:spPr bwMode="auto">
            <a:xfrm>
              <a:off x="15167926" y="8486688"/>
              <a:ext cx="16569" cy="12427"/>
            </a:xfrm>
            <a:custGeom>
              <a:avLst/>
              <a:gdLst>
                <a:gd name="T0" fmla="*/ 0 w 36"/>
                <a:gd name="T1" fmla="*/ 14 h 28"/>
                <a:gd name="T2" fmla="*/ 35 w 36"/>
                <a:gd name="T3" fmla="*/ 0 h 28"/>
                <a:gd name="T4" fmla="*/ 28 w 36"/>
                <a:gd name="T5" fmla="*/ 14 h 28"/>
                <a:gd name="T6" fmla="*/ 7 w 36"/>
                <a:gd name="T7" fmla="*/ 27 h 28"/>
                <a:gd name="T8" fmla="*/ 0 w 36"/>
                <a:gd name="T9" fmla="*/ 14 h 28"/>
              </a:gdLst>
              <a:ahLst/>
              <a:cxnLst>
                <a:cxn ang="0">
                  <a:pos x="T0" y="T1"/>
                </a:cxn>
                <a:cxn ang="0">
                  <a:pos x="T2" y="T3"/>
                </a:cxn>
                <a:cxn ang="0">
                  <a:pos x="T4" y="T5"/>
                </a:cxn>
                <a:cxn ang="0">
                  <a:pos x="T6" y="T7"/>
                </a:cxn>
                <a:cxn ang="0">
                  <a:pos x="T8" y="T9"/>
                </a:cxn>
              </a:cxnLst>
              <a:rect l="0" t="0" r="r" b="b"/>
              <a:pathLst>
                <a:path w="36" h="28">
                  <a:moveTo>
                    <a:pt x="0" y="14"/>
                  </a:moveTo>
                  <a:lnTo>
                    <a:pt x="35" y="0"/>
                  </a:lnTo>
                  <a:lnTo>
                    <a:pt x="28" y="14"/>
                  </a:lnTo>
                  <a:lnTo>
                    <a:pt x="7" y="27"/>
                  </a:lnTo>
                  <a:lnTo>
                    <a:pt x="0" y="14"/>
                  </a:lnTo>
                </a:path>
              </a:pathLst>
            </a:custGeom>
            <a:grpFill/>
            <a:ln w="9525" cap="flat" cmpd="sng">
              <a:solidFill>
                <a:schemeClr val="bg1"/>
              </a:solid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14" name="Freeform 51">
              <a:extLst>
                <a:ext uri="{FF2B5EF4-FFF2-40B4-BE49-F238E27FC236}">
                  <a16:creationId xmlns:a16="http://schemas.microsoft.com/office/drawing/2014/main" id="{7466B115-E1E0-4CE3-90E8-0BB3F903E110}"/>
                </a:ext>
              </a:extLst>
            </p:cNvPr>
            <p:cNvSpPr>
              <a:spLocks noChangeArrowheads="1"/>
            </p:cNvSpPr>
            <p:nvPr/>
          </p:nvSpPr>
          <p:spPr bwMode="auto">
            <a:xfrm>
              <a:off x="15145143" y="8482545"/>
              <a:ext cx="16569" cy="10356"/>
            </a:xfrm>
            <a:custGeom>
              <a:avLst/>
              <a:gdLst>
                <a:gd name="T0" fmla="*/ 0 w 36"/>
                <a:gd name="T1" fmla="*/ 6 h 21"/>
                <a:gd name="T2" fmla="*/ 21 w 36"/>
                <a:gd name="T3" fmla="*/ 0 h 21"/>
                <a:gd name="T4" fmla="*/ 35 w 36"/>
                <a:gd name="T5" fmla="*/ 20 h 21"/>
                <a:gd name="T6" fmla="*/ 21 w 36"/>
                <a:gd name="T7" fmla="*/ 14 h 21"/>
                <a:gd name="T8" fmla="*/ 0 w 36"/>
                <a:gd name="T9" fmla="*/ 6 h 21"/>
              </a:gdLst>
              <a:ahLst/>
              <a:cxnLst>
                <a:cxn ang="0">
                  <a:pos x="T0" y="T1"/>
                </a:cxn>
                <a:cxn ang="0">
                  <a:pos x="T2" y="T3"/>
                </a:cxn>
                <a:cxn ang="0">
                  <a:pos x="T4" y="T5"/>
                </a:cxn>
                <a:cxn ang="0">
                  <a:pos x="T6" y="T7"/>
                </a:cxn>
                <a:cxn ang="0">
                  <a:pos x="T8" y="T9"/>
                </a:cxn>
              </a:cxnLst>
              <a:rect l="0" t="0" r="r" b="b"/>
              <a:pathLst>
                <a:path w="36" h="21">
                  <a:moveTo>
                    <a:pt x="0" y="6"/>
                  </a:moveTo>
                  <a:lnTo>
                    <a:pt x="21" y="0"/>
                  </a:lnTo>
                  <a:lnTo>
                    <a:pt x="35" y="20"/>
                  </a:lnTo>
                  <a:lnTo>
                    <a:pt x="21" y="14"/>
                  </a:lnTo>
                  <a:lnTo>
                    <a:pt x="0" y="6"/>
                  </a:lnTo>
                </a:path>
              </a:pathLst>
            </a:custGeom>
            <a:grpFill/>
            <a:ln w="9525" cap="flat" cmpd="sng">
              <a:solidFill>
                <a:schemeClr val="bg1"/>
              </a:solid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15" name="Freeform 52">
              <a:extLst>
                <a:ext uri="{FF2B5EF4-FFF2-40B4-BE49-F238E27FC236}">
                  <a16:creationId xmlns:a16="http://schemas.microsoft.com/office/drawing/2014/main" id="{9A32E2F0-7C67-40A0-88FD-210BA03AFACC}"/>
                </a:ext>
              </a:extLst>
            </p:cNvPr>
            <p:cNvSpPr>
              <a:spLocks noChangeArrowheads="1"/>
            </p:cNvSpPr>
            <p:nvPr/>
          </p:nvSpPr>
          <p:spPr bwMode="auto">
            <a:xfrm>
              <a:off x="14476176" y="9915845"/>
              <a:ext cx="20711" cy="6213"/>
            </a:xfrm>
            <a:custGeom>
              <a:avLst/>
              <a:gdLst>
                <a:gd name="T0" fmla="*/ 14 w 43"/>
                <a:gd name="T1" fmla="*/ 7 h 15"/>
                <a:gd name="T2" fmla="*/ 35 w 43"/>
                <a:gd name="T3" fmla="*/ 0 h 15"/>
                <a:gd name="T4" fmla="*/ 42 w 43"/>
                <a:gd name="T5" fmla="*/ 7 h 15"/>
                <a:gd name="T6" fmla="*/ 21 w 43"/>
                <a:gd name="T7" fmla="*/ 14 h 15"/>
                <a:gd name="T8" fmla="*/ 0 w 43"/>
                <a:gd name="T9" fmla="*/ 14 h 15"/>
                <a:gd name="T10" fmla="*/ 14 w 43"/>
                <a:gd name="T11" fmla="*/ 7 h 15"/>
              </a:gdLst>
              <a:ahLst/>
              <a:cxnLst>
                <a:cxn ang="0">
                  <a:pos x="T0" y="T1"/>
                </a:cxn>
                <a:cxn ang="0">
                  <a:pos x="T2" y="T3"/>
                </a:cxn>
                <a:cxn ang="0">
                  <a:pos x="T4" y="T5"/>
                </a:cxn>
                <a:cxn ang="0">
                  <a:pos x="T6" y="T7"/>
                </a:cxn>
                <a:cxn ang="0">
                  <a:pos x="T8" y="T9"/>
                </a:cxn>
                <a:cxn ang="0">
                  <a:pos x="T10" y="T11"/>
                </a:cxn>
              </a:cxnLst>
              <a:rect l="0" t="0" r="r" b="b"/>
              <a:pathLst>
                <a:path w="43" h="15">
                  <a:moveTo>
                    <a:pt x="14" y="7"/>
                  </a:moveTo>
                  <a:lnTo>
                    <a:pt x="35" y="0"/>
                  </a:lnTo>
                  <a:lnTo>
                    <a:pt x="42" y="7"/>
                  </a:lnTo>
                  <a:lnTo>
                    <a:pt x="21" y="14"/>
                  </a:lnTo>
                  <a:lnTo>
                    <a:pt x="0" y="14"/>
                  </a:lnTo>
                  <a:lnTo>
                    <a:pt x="14" y="7"/>
                  </a:lnTo>
                </a:path>
              </a:pathLst>
            </a:custGeom>
            <a:grpFill/>
            <a:ln w="9525" cap="flat" cmpd="sng">
              <a:solidFill>
                <a:schemeClr val="bg1"/>
              </a:solid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16" name="Freeform 53">
              <a:extLst>
                <a:ext uri="{FF2B5EF4-FFF2-40B4-BE49-F238E27FC236}">
                  <a16:creationId xmlns:a16="http://schemas.microsoft.com/office/drawing/2014/main" id="{018B9E72-5039-4110-924E-E86C01E31C3C}"/>
                </a:ext>
              </a:extLst>
            </p:cNvPr>
            <p:cNvSpPr>
              <a:spLocks noChangeArrowheads="1"/>
            </p:cNvSpPr>
            <p:nvPr/>
          </p:nvSpPr>
          <p:spPr bwMode="auto">
            <a:xfrm>
              <a:off x="15151358" y="8501186"/>
              <a:ext cx="10354" cy="6214"/>
            </a:xfrm>
            <a:custGeom>
              <a:avLst/>
              <a:gdLst>
                <a:gd name="T0" fmla="*/ 0 w 22"/>
                <a:gd name="T1" fmla="*/ 7 h 15"/>
                <a:gd name="T2" fmla="*/ 21 w 22"/>
                <a:gd name="T3" fmla="*/ 0 h 15"/>
                <a:gd name="T4" fmla="*/ 14 w 22"/>
                <a:gd name="T5" fmla="*/ 14 h 15"/>
                <a:gd name="T6" fmla="*/ 0 w 22"/>
                <a:gd name="T7" fmla="*/ 7 h 15"/>
              </a:gdLst>
              <a:ahLst/>
              <a:cxnLst>
                <a:cxn ang="0">
                  <a:pos x="T0" y="T1"/>
                </a:cxn>
                <a:cxn ang="0">
                  <a:pos x="T2" y="T3"/>
                </a:cxn>
                <a:cxn ang="0">
                  <a:pos x="T4" y="T5"/>
                </a:cxn>
                <a:cxn ang="0">
                  <a:pos x="T6" y="T7"/>
                </a:cxn>
              </a:cxnLst>
              <a:rect l="0" t="0" r="r" b="b"/>
              <a:pathLst>
                <a:path w="22" h="15">
                  <a:moveTo>
                    <a:pt x="0" y="7"/>
                  </a:moveTo>
                  <a:lnTo>
                    <a:pt x="21" y="0"/>
                  </a:lnTo>
                  <a:lnTo>
                    <a:pt x="14" y="14"/>
                  </a:lnTo>
                  <a:lnTo>
                    <a:pt x="0" y="7"/>
                  </a:lnTo>
                </a:path>
              </a:pathLst>
            </a:custGeom>
            <a:grpFill/>
            <a:ln w="9525" cap="flat" cmpd="sng">
              <a:solidFill>
                <a:schemeClr val="bg1"/>
              </a:solid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17" name="Freeform 54">
              <a:extLst>
                <a:ext uri="{FF2B5EF4-FFF2-40B4-BE49-F238E27FC236}">
                  <a16:creationId xmlns:a16="http://schemas.microsoft.com/office/drawing/2014/main" id="{BF9D0C1C-7EEA-419A-B2F0-FCA45FAF9754}"/>
                </a:ext>
              </a:extLst>
            </p:cNvPr>
            <p:cNvSpPr>
              <a:spLocks noChangeArrowheads="1"/>
            </p:cNvSpPr>
            <p:nvPr/>
          </p:nvSpPr>
          <p:spPr bwMode="auto">
            <a:xfrm>
              <a:off x="14351908" y="9828853"/>
              <a:ext cx="6213" cy="16570"/>
            </a:xfrm>
            <a:custGeom>
              <a:avLst/>
              <a:gdLst>
                <a:gd name="T0" fmla="*/ 0 w 15"/>
                <a:gd name="T1" fmla="*/ 20 h 35"/>
                <a:gd name="T2" fmla="*/ 14 w 15"/>
                <a:gd name="T3" fmla="*/ 0 h 35"/>
                <a:gd name="T4" fmla="*/ 0 w 15"/>
                <a:gd name="T5" fmla="*/ 34 h 35"/>
                <a:gd name="T6" fmla="*/ 0 w 15"/>
                <a:gd name="T7" fmla="*/ 20 h 35"/>
              </a:gdLst>
              <a:ahLst/>
              <a:cxnLst>
                <a:cxn ang="0">
                  <a:pos x="T0" y="T1"/>
                </a:cxn>
                <a:cxn ang="0">
                  <a:pos x="T2" y="T3"/>
                </a:cxn>
                <a:cxn ang="0">
                  <a:pos x="T4" y="T5"/>
                </a:cxn>
                <a:cxn ang="0">
                  <a:pos x="T6" y="T7"/>
                </a:cxn>
              </a:cxnLst>
              <a:rect l="0" t="0" r="r" b="b"/>
              <a:pathLst>
                <a:path w="15" h="35">
                  <a:moveTo>
                    <a:pt x="0" y="20"/>
                  </a:moveTo>
                  <a:lnTo>
                    <a:pt x="14" y="0"/>
                  </a:lnTo>
                  <a:lnTo>
                    <a:pt x="0" y="34"/>
                  </a:lnTo>
                  <a:lnTo>
                    <a:pt x="0" y="20"/>
                  </a:lnTo>
                </a:path>
              </a:pathLst>
            </a:custGeom>
            <a:grpFill/>
            <a:ln w="9525" cap="flat" cmpd="sng">
              <a:solidFill>
                <a:schemeClr val="bg1"/>
              </a:solid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18" name="Freeform 55">
              <a:extLst>
                <a:ext uri="{FF2B5EF4-FFF2-40B4-BE49-F238E27FC236}">
                  <a16:creationId xmlns:a16="http://schemas.microsoft.com/office/drawing/2014/main" id="{52B9E467-9BFD-4D1A-A8D2-9645878934AC}"/>
                </a:ext>
              </a:extLst>
            </p:cNvPr>
            <p:cNvSpPr>
              <a:spLocks noChangeArrowheads="1"/>
            </p:cNvSpPr>
            <p:nvPr/>
          </p:nvSpPr>
          <p:spPr bwMode="auto">
            <a:xfrm>
              <a:off x="15296336" y="10762985"/>
              <a:ext cx="10354" cy="6214"/>
            </a:xfrm>
            <a:custGeom>
              <a:avLst/>
              <a:gdLst>
                <a:gd name="T0" fmla="*/ 7 w 22"/>
                <a:gd name="T1" fmla="*/ 0 h 15"/>
                <a:gd name="T2" fmla="*/ 0 w 22"/>
                <a:gd name="T3" fmla="*/ 7 h 15"/>
                <a:gd name="T4" fmla="*/ 7 w 22"/>
                <a:gd name="T5" fmla="*/ 14 h 15"/>
                <a:gd name="T6" fmla="*/ 21 w 22"/>
                <a:gd name="T7" fmla="*/ 7 h 15"/>
                <a:gd name="T8" fmla="*/ 7 w 22"/>
                <a:gd name="T9" fmla="*/ 0 h 15"/>
              </a:gdLst>
              <a:ahLst/>
              <a:cxnLst>
                <a:cxn ang="0">
                  <a:pos x="T0" y="T1"/>
                </a:cxn>
                <a:cxn ang="0">
                  <a:pos x="T2" y="T3"/>
                </a:cxn>
                <a:cxn ang="0">
                  <a:pos x="T4" y="T5"/>
                </a:cxn>
                <a:cxn ang="0">
                  <a:pos x="T6" y="T7"/>
                </a:cxn>
                <a:cxn ang="0">
                  <a:pos x="T8" y="T9"/>
                </a:cxn>
              </a:cxnLst>
              <a:rect l="0" t="0" r="r" b="b"/>
              <a:pathLst>
                <a:path w="22" h="15">
                  <a:moveTo>
                    <a:pt x="7" y="0"/>
                  </a:moveTo>
                  <a:lnTo>
                    <a:pt x="0" y="7"/>
                  </a:lnTo>
                  <a:lnTo>
                    <a:pt x="7" y="14"/>
                  </a:lnTo>
                  <a:lnTo>
                    <a:pt x="21" y="7"/>
                  </a:lnTo>
                  <a:lnTo>
                    <a:pt x="7" y="0"/>
                  </a:lnTo>
                </a:path>
              </a:pathLst>
            </a:custGeom>
            <a:grpFill/>
            <a:ln w="9525" cap="flat" cmpd="sng">
              <a:solidFill>
                <a:schemeClr val="bg1"/>
              </a:solid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19" name="Freeform 56">
              <a:extLst>
                <a:ext uri="{FF2B5EF4-FFF2-40B4-BE49-F238E27FC236}">
                  <a16:creationId xmlns:a16="http://schemas.microsoft.com/office/drawing/2014/main" id="{0336E9FE-3F9C-436B-94C9-01E00940B3EC}"/>
                </a:ext>
              </a:extLst>
            </p:cNvPr>
            <p:cNvSpPr>
              <a:spLocks noChangeArrowheads="1"/>
            </p:cNvSpPr>
            <p:nvPr/>
          </p:nvSpPr>
          <p:spPr bwMode="auto">
            <a:xfrm>
              <a:off x="14498958" y="10769199"/>
              <a:ext cx="6214" cy="10356"/>
            </a:xfrm>
            <a:custGeom>
              <a:avLst/>
              <a:gdLst>
                <a:gd name="T0" fmla="*/ 0 w 15"/>
                <a:gd name="T1" fmla="*/ 21 h 22"/>
                <a:gd name="T2" fmla="*/ 14 w 15"/>
                <a:gd name="T3" fmla="*/ 0 h 22"/>
                <a:gd name="T4" fmla="*/ 14 w 15"/>
                <a:gd name="T5" fmla="*/ 21 h 22"/>
                <a:gd name="T6" fmla="*/ 0 w 15"/>
                <a:gd name="T7" fmla="*/ 21 h 22"/>
              </a:gdLst>
              <a:ahLst/>
              <a:cxnLst>
                <a:cxn ang="0">
                  <a:pos x="T0" y="T1"/>
                </a:cxn>
                <a:cxn ang="0">
                  <a:pos x="T2" y="T3"/>
                </a:cxn>
                <a:cxn ang="0">
                  <a:pos x="T4" y="T5"/>
                </a:cxn>
                <a:cxn ang="0">
                  <a:pos x="T6" y="T7"/>
                </a:cxn>
              </a:cxnLst>
              <a:rect l="0" t="0" r="r" b="b"/>
              <a:pathLst>
                <a:path w="15" h="22">
                  <a:moveTo>
                    <a:pt x="0" y="21"/>
                  </a:moveTo>
                  <a:lnTo>
                    <a:pt x="14" y="0"/>
                  </a:lnTo>
                  <a:lnTo>
                    <a:pt x="14" y="21"/>
                  </a:lnTo>
                  <a:lnTo>
                    <a:pt x="0" y="21"/>
                  </a:lnTo>
                </a:path>
              </a:pathLst>
            </a:custGeom>
            <a:grpFill/>
            <a:ln w="9525" cap="flat" cmpd="sng">
              <a:solidFill>
                <a:schemeClr val="bg1"/>
              </a:solid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20" name="Freeform 57">
              <a:extLst>
                <a:ext uri="{FF2B5EF4-FFF2-40B4-BE49-F238E27FC236}">
                  <a16:creationId xmlns:a16="http://schemas.microsoft.com/office/drawing/2014/main" id="{95A241CD-CD33-4B26-8383-F1D3819D9498}"/>
                </a:ext>
              </a:extLst>
            </p:cNvPr>
            <p:cNvSpPr>
              <a:spLocks noChangeArrowheads="1"/>
            </p:cNvSpPr>
            <p:nvPr/>
          </p:nvSpPr>
          <p:spPr bwMode="auto">
            <a:xfrm>
              <a:off x="15358469" y="10707062"/>
              <a:ext cx="4142" cy="10356"/>
            </a:xfrm>
            <a:custGeom>
              <a:avLst/>
              <a:gdLst>
                <a:gd name="T0" fmla="*/ 0 w 8"/>
                <a:gd name="T1" fmla="*/ 0 h 22"/>
                <a:gd name="T2" fmla="*/ 7 w 8"/>
                <a:gd name="T3" fmla="*/ 0 h 22"/>
                <a:gd name="T4" fmla="*/ 0 w 8"/>
                <a:gd name="T5" fmla="*/ 21 h 22"/>
                <a:gd name="T6" fmla="*/ 0 w 8"/>
                <a:gd name="T7" fmla="*/ 0 h 22"/>
              </a:gdLst>
              <a:ahLst/>
              <a:cxnLst>
                <a:cxn ang="0">
                  <a:pos x="T0" y="T1"/>
                </a:cxn>
                <a:cxn ang="0">
                  <a:pos x="T2" y="T3"/>
                </a:cxn>
                <a:cxn ang="0">
                  <a:pos x="T4" y="T5"/>
                </a:cxn>
                <a:cxn ang="0">
                  <a:pos x="T6" y="T7"/>
                </a:cxn>
              </a:cxnLst>
              <a:rect l="0" t="0" r="r" b="b"/>
              <a:pathLst>
                <a:path w="8" h="22">
                  <a:moveTo>
                    <a:pt x="0" y="0"/>
                  </a:moveTo>
                  <a:lnTo>
                    <a:pt x="7" y="0"/>
                  </a:lnTo>
                  <a:lnTo>
                    <a:pt x="0" y="21"/>
                  </a:lnTo>
                  <a:lnTo>
                    <a:pt x="0" y="0"/>
                  </a:lnTo>
                </a:path>
              </a:pathLst>
            </a:custGeom>
            <a:grpFill/>
            <a:ln w="9525" cap="flat" cmpd="sng">
              <a:solidFill>
                <a:schemeClr val="bg1"/>
              </a:solid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21" name="Freeform 58">
              <a:extLst>
                <a:ext uri="{FF2B5EF4-FFF2-40B4-BE49-F238E27FC236}">
                  <a16:creationId xmlns:a16="http://schemas.microsoft.com/office/drawing/2014/main" id="{87236B92-B614-4DC1-93B1-2E1FA709AB71}"/>
                </a:ext>
              </a:extLst>
            </p:cNvPr>
            <p:cNvSpPr>
              <a:spLocks noChangeArrowheads="1"/>
            </p:cNvSpPr>
            <p:nvPr/>
          </p:nvSpPr>
          <p:spPr bwMode="auto">
            <a:xfrm>
              <a:off x="14283562" y="8811871"/>
              <a:ext cx="6214" cy="16570"/>
            </a:xfrm>
            <a:custGeom>
              <a:avLst/>
              <a:gdLst>
                <a:gd name="T0" fmla="*/ 14 w 15"/>
                <a:gd name="T1" fmla="*/ 35 h 36"/>
                <a:gd name="T2" fmla="*/ 14 w 15"/>
                <a:gd name="T3" fmla="*/ 21 h 36"/>
                <a:gd name="T4" fmla="*/ 0 w 15"/>
                <a:gd name="T5" fmla="*/ 0 h 36"/>
                <a:gd name="T6" fmla="*/ 14 w 15"/>
                <a:gd name="T7" fmla="*/ 35 h 36"/>
              </a:gdLst>
              <a:ahLst/>
              <a:cxnLst>
                <a:cxn ang="0">
                  <a:pos x="T0" y="T1"/>
                </a:cxn>
                <a:cxn ang="0">
                  <a:pos x="T2" y="T3"/>
                </a:cxn>
                <a:cxn ang="0">
                  <a:pos x="T4" y="T5"/>
                </a:cxn>
                <a:cxn ang="0">
                  <a:pos x="T6" y="T7"/>
                </a:cxn>
              </a:cxnLst>
              <a:rect l="0" t="0" r="r" b="b"/>
              <a:pathLst>
                <a:path w="15" h="36">
                  <a:moveTo>
                    <a:pt x="14" y="35"/>
                  </a:moveTo>
                  <a:lnTo>
                    <a:pt x="14" y="21"/>
                  </a:lnTo>
                  <a:lnTo>
                    <a:pt x="0" y="0"/>
                  </a:lnTo>
                  <a:lnTo>
                    <a:pt x="14" y="35"/>
                  </a:lnTo>
                </a:path>
              </a:pathLst>
            </a:custGeom>
            <a:grpFill/>
            <a:ln w="9525" cap="flat" cmpd="sng">
              <a:solidFill>
                <a:schemeClr val="bg1"/>
              </a:solid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22" name="Freeform 59">
              <a:extLst>
                <a:ext uri="{FF2B5EF4-FFF2-40B4-BE49-F238E27FC236}">
                  <a16:creationId xmlns:a16="http://schemas.microsoft.com/office/drawing/2014/main" id="{8F346857-24BC-4E9E-A8FA-077F558E5119}"/>
                </a:ext>
              </a:extLst>
            </p:cNvPr>
            <p:cNvSpPr>
              <a:spLocks noChangeArrowheads="1"/>
            </p:cNvSpPr>
            <p:nvPr/>
          </p:nvSpPr>
          <p:spPr bwMode="auto">
            <a:xfrm>
              <a:off x="15329473" y="8724879"/>
              <a:ext cx="4142" cy="10357"/>
            </a:xfrm>
            <a:custGeom>
              <a:avLst/>
              <a:gdLst>
                <a:gd name="T0" fmla="*/ 7 w 8"/>
                <a:gd name="T1" fmla="*/ 0 h 22"/>
                <a:gd name="T2" fmla="*/ 7 w 8"/>
                <a:gd name="T3" fmla="*/ 21 h 22"/>
                <a:gd name="T4" fmla="*/ 0 w 8"/>
                <a:gd name="T5" fmla="*/ 14 h 22"/>
                <a:gd name="T6" fmla="*/ 7 w 8"/>
                <a:gd name="T7" fmla="*/ 0 h 22"/>
              </a:gdLst>
              <a:ahLst/>
              <a:cxnLst>
                <a:cxn ang="0">
                  <a:pos x="T0" y="T1"/>
                </a:cxn>
                <a:cxn ang="0">
                  <a:pos x="T2" y="T3"/>
                </a:cxn>
                <a:cxn ang="0">
                  <a:pos x="T4" y="T5"/>
                </a:cxn>
                <a:cxn ang="0">
                  <a:pos x="T6" y="T7"/>
                </a:cxn>
              </a:cxnLst>
              <a:rect l="0" t="0" r="r" b="b"/>
              <a:pathLst>
                <a:path w="8" h="22">
                  <a:moveTo>
                    <a:pt x="7" y="0"/>
                  </a:moveTo>
                  <a:lnTo>
                    <a:pt x="7" y="21"/>
                  </a:lnTo>
                  <a:lnTo>
                    <a:pt x="0" y="14"/>
                  </a:lnTo>
                  <a:lnTo>
                    <a:pt x="7" y="0"/>
                  </a:lnTo>
                </a:path>
              </a:pathLst>
            </a:custGeom>
            <a:grpFill/>
            <a:ln w="9525" cap="flat" cmpd="sng">
              <a:solidFill>
                <a:schemeClr val="bg1"/>
              </a:solid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23" name="Freeform 60">
              <a:extLst>
                <a:ext uri="{FF2B5EF4-FFF2-40B4-BE49-F238E27FC236}">
                  <a16:creationId xmlns:a16="http://schemas.microsoft.com/office/drawing/2014/main" id="{E52D070A-0B2F-488D-A7DC-B05D935EC422}"/>
                </a:ext>
              </a:extLst>
            </p:cNvPr>
            <p:cNvSpPr>
              <a:spLocks noChangeArrowheads="1"/>
            </p:cNvSpPr>
            <p:nvPr/>
          </p:nvSpPr>
          <p:spPr bwMode="auto">
            <a:xfrm>
              <a:off x="15354326" y="8714523"/>
              <a:ext cx="4142" cy="6213"/>
            </a:xfrm>
            <a:custGeom>
              <a:avLst/>
              <a:gdLst>
                <a:gd name="T0" fmla="*/ 6 w 7"/>
                <a:gd name="T1" fmla="*/ 14 h 15"/>
                <a:gd name="T2" fmla="*/ 6 w 7"/>
                <a:gd name="T3" fmla="*/ 0 h 15"/>
                <a:gd name="T4" fmla="*/ 0 w 7"/>
                <a:gd name="T5" fmla="*/ 14 h 15"/>
                <a:gd name="T6" fmla="*/ 6 w 7"/>
                <a:gd name="T7" fmla="*/ 14 h 15"/>
              </a:gdLst>
              <a:ahLst/>
              <a:cxnLst>
                <a:cxn ang="0">
                  <a:pos x="T0" y="T1"/>
                </a:cxn>
                <a:cxn ang="0">
                  <a:pos x="T2" y="T3"/>
                </a:cxn>
                <a:cxn ang="0">
                  <a:pos x="T4" y="T5"/>
                </a:cxn>
                <a:cxn ang="0">
                  <a:pos x="T6" y="T7"/>
                </a:cxn>
              </a:cxnLst>
              <a:rect l="0" t="0" r="r" b="b"/>
              <a:pathLst>
                <a:path w="7" h="15">
                  <a:moveTo>
                    <a:pt x="6" y="14"/>
                  </a:moveTo>
                  <a:lnTo>
                    <a:pt x="6" y="0"/>
                  </a:lnTo>
                  <a:lnTo>
                    <a:pt x="0" y="14"/>
                  </a:lnTo>
                  <a:lnTo>
                    <a:pt x="6" y="14"/>
                  </a:lnTo>
                </a:path>
              </a:pathLst>
            </a:custGeom>
            <a:grpFill/>
            <a:ln w="9525" cap="flat" cmpd="sng">
              <a:solidFill>
                <a:schemeClr val="bg1"/>
              </a:solid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24" name="Freeform 61">
              <a:extLst>
                <a:ext uri="{FF2B5EF4-FFF2-40B4-BE49-F238E27FC236}">
                  <a16:creationId xmlns:a16="http://schemas.microsoft.com/office/drawing/2014/main" id="{4B9CF40F-D5B2-4534-B6FF-F1D9F37B76BA}"/>
                </a:ext>
              </a:extLst>
            </p:cNvPr>
            <p:cNvSpPr>
              <a:spLocks noChangeArrowheads="1"/>
            </p:cNvSpPr>
            <p:nvPr/>
          </p:nvSpPr>
          <p:spPr bwMode="auto">
            <a:xfrm>
              <a:off x="14494816" y="10781627"/>
              <a:ext cx="4142" cy="4142"/>
            </a:xfrm>
            <a:custGeom>
              <a:avLst/>
              <a:gdLst>
                <a:gd name="T0" fmla="*/ 0 w 8"/>
                <a:gd name="T1" fmla="*/ 7 h 8"/>
                <a:gd name="T2" fmla="*/ 7 w 8"/>
                <a:gd name="T3" fmla="*/ 7 h 8"/>
                <a:gd name="T4" fmla="*/ 0 w 8"/>
                <a:gd name="T5" fmla="*/ 0 h 8"/>
                <a:gd name="T6" fmla="*/ 0 w 8"/>
                <a:gd name="T7" fmla="*/ 7 h 8"/>
              </a:gdLst>
              <a:ahLst/>
              <a:cxnLst>
                <a:cxn ang="0">
                  <a:pos x="T0" y="T1"/>
                </a:cxn>
                <a:cxn ang="0">
                  <a:pos x="T2" y="T3"/>
                </a:cxn>
                <a:cxn ang="0">
                  <a:pos x="T4" y="T5"/>
                </a:cxn>
                <a:cxn ang="0">
                  <a:pos x="T6" y="T7"/>
                </a:cxn>
              </a:cxnLst>
              <a:rect l="0" t="0" r="r" b="b"/>
              <a:pathLst>
                <a:path w="8" h="8">
                  <a:moveTo>
                    <a:pt x="0" y="7"/>
                  </a:moveTo>
                  <a:lnTo>
                    <a:pt x="7" y="7"/>
                  </a:lnTo>
                  <a:lnTo>
                    <a:pt x="0" y="0"/>
                  </a:lnTo>
                  <a:lnTo>
                    <a:pt x="0" y="7"/>
                  </a:lnTo>
                </a:path>
              </a:pathLst>
            </a:custGeom>
            <a:grpFill/>
            <a:ln w="9525" cap="flat" cmpd="sng">
              <a:solidFill>
                <a:schemeClr val="bg1"/>
              </a:solid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25" name="Freeform 62">
              <a:extLst>
                <a:ext uri="{FF2B5EF4-FFF2-40B4-BE49-F238E27FC236}">
                  <a16:creationId xmlns:a16="http://schemas.microsoft.com/office/drawing/2014/main" id="{9C1F430C-852E-4442-B85A-D8A173DF1C91}"/>
                </a:ext>
              </a:extLst>
            </p:cNvPr>
            <p:cNvSpPr>
              <a:spLocks noChangeArrowheads="1"/>
            </p:cNvSpPr>
            <p:nvPr/>
          </p:nvSpPr>
          <p:spPr bwMode="auto">
            <a:xfrm>
              <a:off x="14486531" y="10781627"/>
              <a:ext cx="6214" cy="4142"/>
            </a:xfrm>
            <a:custGeom>
              <a:avLst/>
              <a:gdLst>
                <a:gd name="T0" fmla="*/ 14 w 15"/>
                <a:gd name="T1" fmla="*/ 0 h 8"/>
                <a:gd name="T2" fmla="*/ 14 w 15"/>
                <a:gd name="T3" fmla="*/ 7 h 8"/>
                <a:gd name="T4" fmla="*/ 0 w 15"/>
                <a:gd name="T5" fmla="*/ 7 h 8"/>
                <a:gd name="T6" fmla="*/ 14 w 15"/>
                <a:gd name="T7" fmla="*/ 0 h 8"/>
              </a:gdLst>
              <a:ahLst/>
              <a:cxnLst>
                <a:cxn ang="0">
                  <a:pos x="T0" y="T1"/>
                </a:cxn>
                <a:cxn ang="0">
                  <a:pos x="T2" y="T3"/>
                </a:cxn>
                <a:cxn ang="0">
                  <a:pos x="T4" y="T5"/>
                </a:cxn>
                <a:cxn ang="0">
                  <a:pos x="T6" y="T7"/>
                </a:cxn>
              </a:cxnLst>
              <a:rect l="0" t="0" r="r" b="b"/>
              <a:pathLst>
                <a:path w="15" h="8">
                  <a:moveTo>
                    <a:pt x="14" y="0"/>
                  </a:moveTo>
                  <a:lnTo>
                    <a:pt x="14" y="7"/>
                  </a:lnTo>
                  <a:lnTo>
                    <a:pt x="0" y="7"/>
                  </a:lnTo>
                  <a:lnTo>
                    <a:pt x="14" y="0"/>
                  </a:lnTo>
                </a:path>
              </a:pathLst>
            </a:custGeom>
            <a:grpFill/>
            <a:ln w="9525" cap="flat" cmpd="sng">
              <a:solidFill>
                <a:schemeClr val="bg1"/>
              </a:solid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26" name="Freeform 63">
              <a:extLst>
                <a:ext uri="{FF2B5EF4-FFF2-40B4-BE49-F238E27FC236}">
                  <a16:creationId xmlns:a16="http://schemas.microsoft.com/office/drawing/2014/main" id="{07F88E90-43F0-4DEE-944B-FA31A59D758F}"/>
                </a:ext>
              </a:extLst>
            </p:cNvPr>
            <p:cNvSpPr>
              <a:spLocks noChangeArrowheads="1"/>
            </p:cNvSpPr>
            <p:nvPr/>
          </p:nvSpPr>
          <p:spPr bwMode="auto">
            <a:xfrm>
              <a:off x="14509314" y="10767127"/>
              <a:ext cx="2071" cy="6214"/>
            </a:xfrm>
            <a:custGeom>
              <a:avLst/>
              <a:gdLst>
                <a:gd name="T0" fmla="*/ 0 w 1"/>
                <a:gd name="T1" fmla="*/ 0 h 15"/>
                <a:gd name="T2" fmla="*/ 0 w 1"/>
                <a:gd name="T3" fmla="*/ 7 h 15"/>
                <a:gd name="T4" fmla="*/ 0 w 1"/>
                <a:gd name="T5" fmla="*/ 14 h 15"/>
                <a:gd name="T6" fmla="*/ 0 w 1"/>
                <a:gd name="T7" fmla="*/ 7 h 15"/>
                <a:gd name="T8" fmla="*/ 0 w 1"/>
                <a:gd name="T9" fmla="*/ 0 h 15"/>
              </a:gdLst>
              <a:ahLst/>
              <a:cxnLst>
                <a:cxn ang="0">
                  <a:pos x="T0" y="T1"/>
                </a:cxn>
                <a:cxn ang="0">
                  <a:pos x="T2" y="T3"/>
                </a:cxn>
                <a:cxn ang="0">
                  <a:pos x="T4" y="T5"/>
                </a:cxn>
                <a:cxn ang="0">
                  <a:pos x="T6" y="T7"/>
                </a:cxn>
                <a:cxn ang="0">
                  <a:pos x="T8" y="T9"/>
                </a:cxn>
              </a:cxnLst>
              <a:rect l="0" t="0" r="r" b="b"/>
              <a:pathLst>
                <a:path w="1" h="15">
                  <a:moveTo>
                    <a:pt x="0" y="0"/>
                  </a:moveTo>
                  <a:lnTo>
                    <a:pt x="0" y="7"/>
                  </a:lnTo>
                  <a:lnTo>
                    <a:pt x="0" y="14"/>
                  </a:lnTo>
                  <a:lnTo>
                    <a:pt x="0" y="7"/>
                  </a:lnTo>
                  <a:lnTo>
                    <a:pt x="0" y="0"/>
                  </a:lnTo>
                </a:path>
              </a:pathLst>
            </a:custGeom>
            <a:grpFill/>
            <a:ln w="9525" cap="flat" cmpd="sng">
              <a:solidFill>
                <a:schemeClr val="bg1"/>
              </a:solid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27" name="Freeform 64">
              <a:extLst>
                <a:ext uri="{FF2B5EF4-FFF2-40B4-BE49-F238E27FC236}">
                  <a16:creationId xmlns:a16="http://schemas.microsoft.com/office/drawing/2014/main" id="{AFF7961C-60AD-48F3-B791-E0C88B8C6419}"/>
                </a:ext>
              </a:extLst>
            </p:cNvPr>
            <p:cNvSpPr>
              <a:spLocks noChangeArrowheads="1"/>
            </p:cNvSpPr>
            <p:nvPr/>
          </p:nvSpPr>
          <p:spPr bwMode="auto">
            <a:xfrm>
              <a:off x="14498957" y="10789912"/>
              <a:ext cx="10356" cy="2071"/>
            </a:xfrm>
            <a:custGeom>
              <a:avLst/>
              <a:gdLst>
                <a:gd name="T0" fmla="*/ 14 w 22"/>
                <a:gd name="T1" fmla="*/ 0 h 1"/>
                <a:gd name="T2" fmla="*/ 21 w 22"/>
                <a:gd name="T3" fmla="*/ 0 h 1"/>
                <a:gd name="T4" fmla="*/ 0 w 22"/>
                <a:gd name="T5" fmla="*/ 0 h 1"/>
                <a:gd name="T6" fmla="*/ 14 w 22"/>
                <a:gd name="T7" fmla="*/ 0 h 1"/>
              </a:gdLst>
              <a:ahLst/>
              <a:cxnLst>
                <a:cxn ang="0">
                  <a:pos x="T0" y="T1"/>
                </a:cxn>
                <a:cxn ang="0">
                  <a:pos x="T2" y="T3"/>
                </a:cxn>
                <a:cxn ang="0">
                  <a:pos x="T4" y="T5"/>
                </a:cxn>
                <a:cxn ang="0">
                  <a:pos x="T6" y="T7"/>
                </a:cxn>
              </a:cxnLst>
              <a:rect l="0" t="0" r="r" b="b"/>
              <a:pathLst>
                <a:path w="22" h="1">
                  <a:moveTo>
                    <a:pt x="14" y="0"/>
                  </a:moveTo>
                  <a:lnTo>
                    <a:pt x="21" y="0"/>
                  </a:lnTo>
                  <a:lnTo>
                    <a:pt x="0" y="0"/>
                  </a:lnTo>
                  <a:lnTo>
                    <a:pt x="14" y="0"/>
                  </a:lnTo>
                </a:path>
              </a:pathLst>
            </a:custGeom>
            <a:grpFill/>
            <a:ln w="9525" cap="flat" cmpd="sng">
              <a:solidFill>
                <a:schemeClr val="bg1"/>
              </a:solid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28" name="Freeform 65">
              <a:extLst>
                <a:ext uri="{FF2B5EF4-FFF2-40B4-BE49-F238E27FC236}">
                  <a16:creationId xmlns:a16="http://schemas.microsoft.com/office/drawing/2014/main" id="{8EE3587C-54E0-493F-98EE-5E92DA64CEDD}"/>
                </a:ext>
              </a:extLst>
            </p:cNvPr>
            <p:cNvSpPr>
              <a:spLocks noChangeArrowheads="1"/>
            </p:cNvSpPr>
            <p:nvPr/>
          </p:nvSpPr>
          <p:spPr bwMode="auto">
            <a:xfrm>
              <a:off x="15292193" y="8625461"/>
              <a:ext cx="4142" cy="4142"/>
            </a:xfrm>
            <a:custGeom>
              <a:avLst/>
              <a:gdLst>
                <a:gd name="T0" fmla="*/ 0 w 8"/>
                <a:gd name="T1" fmla="*/ 0 h 7"/>
                <a:gd name="T2" fmla="*/ 7 w 8"/>
                <a:gd name="T3" fmla="*/ 0 h 7"/>
                <a:gd name="T4" fmla="*/ 0 w 8"/>
                <a:gd name="T5" fmla="*/ 6 h 7"/>
                <a:gd name="T6" fmla="*/ 0 w 8"/>
                <a:gd name="T7" fmla="*/ 0 h 7"/>
              </a:gdLst>
              <a:ahLst/>
              <a:cxnLst>
                <a:cxn ang="0">
                  <a:pos x="T0" y="T1"/>
                </a:cxn>
                <a:cxn ang="0">
                  <a:pos x="T2" y="T3"/>
                </a:cxn>
                <a:cxn ang="0">
                  <a:pos x="T4" y="T5"/>
                </a:cxn>
                <a:cxn ang="0">
                  <a:pos x="T6" y="T7"/>
                </a:cxn>
              </a:cxnLst>
              <a:rect l="0" t="0" r="r" b="b"/>
              <a:pathLst>
                <a:path w="8" h="7">
                  <a:moveTo>
                    <a:pt x="0" y="0"/>
                  </a:moveTo>
                  <a:lnTo>
                    <a:pt x="7" y="0"/>
                  </a:lnTo>
                  <a:lnTo>
                    <a:pt x="0" y="6"/>
                  </a:lnTo>
                  <a:lnTo>
                    <a:pt x="0" y="0"/>
                  </a:lnTo>
                </a:path>
              </a:pathLst>
            </a:custGeom>
            <a:grpFill/>
            <a:ln w="9525" cap="flat" cmpd="sng">
              <a:solidFill>
                <a:schemeClr val="bg1"/>
              </a:solid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29" name="Freeform 66">
              <a:extLst>
                <a:ext uri="{FF2B5EF4-FFF2-40B4-BE49-F238E27FC236}">
                  <a16:creationId xmlns:a16="http://schemas.microsoft.com/office/drawing/2014/main" id="{9215519E-35B1-4D36-B2C4-3F49537A32A0}"/>
                </a:ext>
              </a:extLst>
            </p:cNvPr>
            <p:cNvSpPr>
              <a:spLocks noChangeArrowheads="1"/>
            </p:cNvSpPr>
            <p:nvPr/>
          </p:nvSpPr>
          <p:spPr bwMode="auto">
            <a:xfrm>
              <a:off x="17539346" y="11572842"/>
              <a:ext cx="2495687" cy="1702563"/>
            </a:xfrm>
            <a:custGeom>
              <a:avLst/>
              <a:gdLst>
                <a:gd name="T0" fmla="*/ 3464 w 5315"/>
                <a:gd name="T1" fmla="*/ 3332 h 3626"/>
                <a:gd name="T2" fmla="*/ 3846 w 5315"/>
                <a:gd name="T3" fmla="*/ 3492 h 3626"/>
                <a:gd name="T4" fmla="*/ 4222 w 5315"/>
                <a:gd name="T5" fmla="*/ 3513 h 3626"/>
                <a:gd name="T6" fmla="*/ 4445 w 5315"/>
                <a:gd name="T7" fmla="*/ 3562 h 3626"/>
                <a:gd name="T8" fmla="*/ 4396 w 5315"/>
                <a:gd name="T9" fmla="*/ 3367 h 3626"/>
                <a:gd name="T10" fmla="*/ 4493 w 5315"/>
                <a:gd name="T11" fmla="*/ 3040 h 3626"/>
                <a:gd name="T12" fmla="*/ 4646 w 5315"/>
                <a:gd name="T13" fmla="*/ 2915 h 3626"/>
                <a:gd name="T14" fmla="*/ 4674 w 5315"/>
                <a:gd name="T15" fmla="*/ 2852 h 3626"/>
                <a:gd name="T16" fmla="*/ 4695 w 5315"/>
                <a:gd name="T17" fmla="*/ 2783 h 3626"/>
                <a:gd name="T18" fmla="*/ 4716 w 5315"/>
                <a:gd name="T19" fmla="*/ 2616 h 3626"/>
                <a:gd name="T20" fmla="*/ 4626 w 5315"/>
                <a:gd name="T21" fmla="*/ 2512 h 3626"/>
                <a:gd name="T22" fmla="*/ 4542 w 5315"/>
                <a:gd name="T23" fmla="*/ 2379 h 3626"/>
                <a:gd name="T24" fmla="*/ 4598 w 5315"/>
                <a:gd name="T25" fmla="*/ 2345 h 3626"/>
                <a:gd name="T26" fmla="*/ 4563 w 5315"/>
                <a:gd name="T27" fmla="*/ 2212 h 3626"/>
                <a:gd name="T28" fmla="*/ 4389 w 5315"/>
                <a:gd name="T29" fmla="*/ 2101 h 3626"/>
                <a:gd name="T30" fmla="*/ 4445 w 5315"/>
                <a:gd name="T31" fmla="*/ 1677 h 3626"/>
                <a:gd name="T32" fmla="*/ 4563 w 5315"/>
                <a:gd name="T33" fmla="*/ 1378 h 3626"/>
                <a:gd name="T34" fmla="*/ 4688 w 5315"/>
                <a:gd name="T35" fmla="*/ 1051 h 3626"/>
                <a:gd name="T36" fmla="*/ 4730 w 5315"/>
                <a:gd name="T37" fmla="*/ 939 h 3626"/>
                <a:gd name="T38" fmla="*/ 4904 w 5315"/>
                <a:gd name="T39" fmla="*/ 703 h 3626"/>
                <a:gd name="T40" fmla="*/ 5168 w 5315"/>
                <a:gd name="T41" fmla="*/ 265 h 3626"/>
                <a:gd name="T42" fmla="*/ 5238 w 5315"/>
                <a:gd name="T43" fmla="*/ 98 h 3626"/>
                <a:gd name="T44" fmla="*/ 4973 w 5315"/>
                <a:gd name="T45" fmla="*/ 119 h 3626"/>
                <a:gd name="T46" fmla="*/ 4820 w 5315"/>
                <a:gd name="T47" fmla="*/ 188 h 3626"/>
                <a:gd name="T48" fmla="*/ 4632 w 5315"/>
                <a:gd name="T49" fmla="*/ 188 h 3626"/>
                <a:gd name="T50" fmla="*/ 4584 w 5315"/>
                <a:gd name="T51" fmla="*/ 258 h 3626"/>
                <a:gd name="T52" fmla="*/ 4319 w 5315"/>
                <a:gd name="T53" fmla="*/ 341 h 3626"/>
                <a:gd name="T54" fmla="*/ 4055 w 5315"/>
                <a:gd name="T55" fmla="*/ 286 h 3626"/>
                <a:gd name="T56" fmla="*/ 3756 w 5315"/>
                <a:gd name="T57" fmla="*/ 383 h 3626"/>
                <a:gd name="T58" fmla="*/ 3506 w 5315"/>
                <a:gd name="T59" fmla="*/ 529 h 3626"/>
                <a:gd name="T60" fmla="*/ 3144 w 5315"/>
                <a:gd name="T61" fmla="*/ 619 h 3626"/>
                <a:gd name="T62" fmla="*/ 2887 w 5315"/>
                <a:gd name="T63" fmla="*/ 613 h 3626"/>
                <a:gd name="T64" fmla="*/ 2622 w 5315"/>
                <a:gd name="T65" fmla="*/ 578 h 3626"/>
                <a:gd name="T66" fmla="*/ 2226 w 5315"/>
                <a:gd name="T67" fmla="*/ 724 h 3626"/>
                <a:gd name="T68" fmla="*/ 1940 w 5315"/>
                <a:gd name="T69" fmla="*/ 613 h 3626"/>
                <a:gd name="T70" fmla="*/ 1815 w 5315"/>
                <a:gd name="T71" fmla="*/ 418 h 3626"/>
                <a:gd name="T72" fmla="*/ 1683 w 5315"/>
                <a:gd name="T73" fmla="*/ 453 h 3626"/>
                <a:gd name="T74" fmla="*/ 1544 w 5315"/>
                <a:gd name="T75" fmla="*/ 383 h 3626"/>
                <a:gd name="T76" fmla="*/ 1565 w 5315"/>
                <a:gd name="T77" fmla="*/ 327 h 3626"/>
                <a:gd name="T78" fmla="*/ 1481 w 5315"/>
                <a:gd name="T79" fmla="*/ 223 h 3626"/>
                <a:gd name="T80" fmla="*/ 1398 w 5315"/>
                <a:gd name="T81" fmla="*/ 230 h 3626"/>
                <a:gd name="T82" fmla="*/ 1307 w 5315"/>
                <a:gd name="T83" fmla="*/ 286 h 3626"/>
                <a:gd name="T84" fmla="*/ 1078 w 5315"/>
                <a:gd name="T85" fmla="*/ 320 h 3626"/>
                <a:gd name="T86" fmla="*/ 911 w 5315"/>
                <a:gd name="T87" fmla="*/ 578 h 3626"/>
                <a:gd name="T88" fmla="*/ 633 w 5315"/>
                <a:gd name="T89" fmla="*/ 480 h 3626"/>
                <a:gd name="T90" fmla="*/ 514 w 5315"/>
                <a:gd name="T91" fmla="*/ 279 h 3626"/>
                <a:gd name="T92" fmla="*/ 417 w 5315"/>
                <a:gd name="T93" fmla="*/ 418 h 3626"/>
                <a:gd name="T94" fmla="*/ 237 w 5315"/>
                <a:gd name="T95" fmla="*/ 508 h 3626"/>
                <a:gd name="T96" fmla="*/ 161 w 5315"/>
                <a:gd name="T97" fmla="*/ 626 h 3626"/>
                <a:gd name="T98" fmla="*/ 105 w 5315"/>
                <a:gd name="T99" fmla="*/ 780 h 3626"/>
                <a:gd name="T100" fmla="*/ 63 w 5315"/>
                <a:gd name="T101" fmla="*/ 988 h 3626"/>
                <a:gd name="T102" fmla="*/ 7 w 5315"/>
                <a:gd name="T103" fmla="*/ 1127 h 3626"/>
                <a:gd name="T104" fmla="*/ 230 w 5315"/>
                <a:gd name="T105" fmla="*/ 1405 h 3626"/>
                <a:gd name="T106" fmla="*/ 751 w 5315"/>
                <a:gd name="T107" fmla="*/ 1586 h 3626"/>
                <a:gd name="T108" fmla="*/ 987 w 5315"/>
                <a:gd name="T109" fmla="*/ 1767 h 3626"/>
                <a:gd name="T110" fmla="*/ 1314 w 5315"/>
                <a:gd name="T111" fmla="*/ 1872 h 3626"/>
                <a:gd name="T112" fmla="*/ 1488 w 5315"/>
                <a:gd name="T113" fmla="*/ 2059 h 3626"/>
                <a:gd name="T114" fmla="*/ 1794 w 5315"/>
                <a:gd name="T115" fmla="*/ 2219 h 3626"/>
                <a:gd name="T116" fmla="*/ 2024 w 5315"/>
                <a:gd name="T117" fmla="*/ 2393 h 3626"/>
                <a:gd name="T118" fmla="*/ 2358 w 5315"/>
                <a:gd name="T119" fmla="*/ 2595 h 3626"/>
                <a:gd name="T120" fmla="*/ 2747 w 5315"/>
                <a:gd name="T121" fmla="*/ 2616 h 36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315" h="3626">
                  <a:moveTo>
                    <a:pt x="3144" y="2846"/>
                  </a:moveTo>
                  <a:lnTo>
                    <a:pt x="3234" y="2964"/>
                  </a:lnTo>
                  <a:lnTo>
                    <a:pt x="3311" y="3131"/>
                  </a:lnTo>
                  <a:lnTo>
                    <a:pt x="3352" y="3263"/>
                  </a:lnTo>
                  <a:lnTo>
                    <a:pt x="3415" y="3325"/>
                  </a:lnTo>
                  <a:lnTo>
                    <a:pt x="3464" y="3332"/>
                  </a:lnTo>
                  <a:lnTo>
                    <a:pt x="3568" y="3360"/>
                  </a:lnTo>
                  <a:lnTo>
                    <a:pt x="3645" y="3374"/>
                  </a:lnTo>
                  <a:lnTo>
                    <a:pt x="3714" y="3465"/>
                  </a:lnTo>
                  <a:lnTo>
                    <a:pt x="3763" y="3471"/>
                  </a:lnTo>
                  <a:lnTo>
                    <a:pt x="3833" y="3479"/>
                  </a:lnTo>
                  <a:lnTo>
                    <a:pt x="3846" y="3492"/>
                  </a:lnTo>
                  <a:lnTo>
                    <a:pt x="3874" y="3499"/>
                  </a:lnTo>
                  <a:lnTo>
                    <a:pt x="3944" y="3471"/>
                  </a:lnTo>
                  <a:lnTo>
                    <a:pt x="3992" y="3444"/>
                  </a:lnTo>
                  <a:lnTo>
                    <a:pt x="4062" y="3444"/>
                  </a:lnTo>
                  <a:lnTo>
                    <a:pt x="4167" y="3527"/>
                  </a:lnTo>
                  <a:lnTo>
                    <a:pt x="4222" y="3513"/>
                  </a:lnTo>
                  <a:lnTo>
                    <a:pt x="4236" y="3499"/>
                  </a:lnTo>
                  <a:lnTo>
                    <a:pt x="4306" y="3534"/>
                  </a:lnTo>
                  <a:lnTo>
                    <a:pt x="4333" y="3597"/>
                  </a:lnTo>
                  <a:lnTo>
                    <a:pt x="4354" y="3604"/>
                  </a:lnTo>
                  <a:lnTo>
                    <a:pt x="4368" y="3625"/>
                  </a:lnTo>
                  <a:lnTo>
                    <a:pt x="4445" y="3562"/>
                  </a:lnTo>
                  <a:lnTo>
                    <a:pt x="4459" y="3576"/>
                  </a:lnTo>
                  <a:lnTo>
                    <a:pt x="4465" y="3541"/>
                  </a:lnTo>
                  <a:lnTo>
                    <a:pt x="4459" y="3534"/>
                  </a:lnTo>
                  <a:lnTo>
                    <a:pt x="4445" y="3513"/>
                  </a:lnTo>
                  <a:lnTo>
                    <a:pt x="4431" y="3409"/>
                  </a:lnTo>
                  <a:lnTo>
                    <a:pt x="4396" y="3367"/>
                  </a:lnTo>
                  <a:lnTo>
                    <a:pt x="4396" y="3325"/>
                  </a:lnTo>
                  <a:lnTo>
                    <a:pt x="4396" y="3284"/>
                  </a:lnTo>
                  <a:lnTo>
                    <a:pt x="4417" y="3270"/>
                  </a:lnTo>
                  <a:lnTo>
                    <a:pt x="4424" y="3173"/>
                  </a:lnTo>
                  <a:lnTo>
                    <a:pt x="4465" y="3131"/>
                  </a:lnTo>
                  <a:lnTo>
                    <a:pt x="4493" y="3040"/>
                  </a:lnTo>
                  <a:lnTo>
                    <a:pt x="4521" y="3012"/>
                  </a:lnTo>
                  <a:lnTo>
                    <a:pt x="4549" y="2971"/>
                  </a:lnTo>
                  <a:lnTo>
                    <a:pt x="4584" y="2950"/>
                  </a:lnTo>
                  <a:lnTo>
                    <a:pt x="4577" y="2936"/>
                  </a:lnTo>
                  <a:lnTo>
                    <a:pt x="4612" y="2922"/>
                  </a:lnTo>
                  <a:lnTo>
                    <a:pt x="4646" y="2915"/>
                  </a:lnTo>
                  <a:lnTo>
                    <a:pt x="4674" y="2908"/>
                  </a:lnTo>
                  <a:lnTo>
                    <a:pt x="4660" y="2887"/>
                  </a:lnTo>
                  <a:lnTo>
                    <a:pt x="4681" y="2880"/>
                  </a:lnTo>
                  <a:lnTo>
                    <a:pt x="4674" y="2873"/>
                  </a:lnTo>
                  <a:lnTo>
                    <a:pt x="4681" y="2873"/>
                  </a:lnTo>
                  <a:lnTo>
                    <a:pt x="4674" y="2852"/>
                  </a:lnTo>
                  <a:lnTo>
                    <a:pt x="4730" y="2818"/>
                  </a:lnTo>
                  <a:lnTo>
                    <a:pt x="4758" y="2846"/>
                  </a:lnTo>
                  <a:lnTo>
                    <a:pt x="4793" y="2846"/>
                  </a:lnTo>
                  <a:lnTo>
                    <a:pt x="4744" y="2769"/>
                  </a:lnTo>
                  <a:lnTo>
                    <a:pt x="4716" y="2776"/>
                  </a:lnTo>
                  <a:lnTo>
                    <a:pt x="4695" y="2783"/>
                  </a:lnTo>
                  <a:lnTo>
                    <a:pt x="4681" y="2727"/>
                  </a:lnTo>
                  <a:lnTo>
                    <a:pt x="4709" y="2713"/>
                  </a:lnTo>
                  <a:lnTo>
                    <a:pt x="4723" y="2741"/>
                  </a:lnTo>
                  <a:lnTo>
                    <a:pt x="4723" y="2713"/>
                  </a:lnTo>
                  <a:lnTo>
                    <a:pt x="4730" y="2658"/>
                  </a:lnTo>
                  <a:lnTo>
                    <a:pt x="4716" y="2616"/>
                  </a:lnTo>
                  <a:lnTo>
                    <a:pt x="4653" y="2616"/>
                  </a:lnTo>
                  <a:lnTo>
                    <a:pt x="4626" y="2609"/>
                  </a:lnTo>
                  <a:lnTo>
                    <a:pt x="4598" y="2574"/>
                  </a:lnTo>
                  <a:lnTo>
                    <a:pt x="4612" y="2525"/>
                  </a:lnTo>
                  <a:lnTo>
                    <a:pt x="4632" y="2539"/>
                  </a:lnTo>
                  <a:lnTo>
                    <a:pt x="4626" y="2512"/>
                  </a:lnTo>
                  <a:lnTo>
                    <a:pt x="4612" y="2519"/>
                  </a:lnTo>
                  <a:lnTo>
                    <a:pt x="4577" y="2519"/>
                  </a:lnTo>
                  <a:lnTo>
                    <a:pt x="4563" y="2463"/>
                  </a:lnTo>
                  <a:lnTo>
                    <a:pt x="4549" y="2442"/>
                  </a:lnTo>
                  <a:lnTo>
                    <a:pt x="4542" y="2386"/>
                  </a:lnTo>
                  <a:lnTo>
                    <a:pt x="4542" y="2379"/>
                  </a:lnTo>
                  <a:lnTo>
                    <a:pt x="4556" y="2366"/>
                  </a:lnTo>
                  <a:lnTo>
                    <a:pt x="4549" y="2331"/>
                  </a:lnTo>
                  <a:lnTo>
                    <a:pt x="4591" y="2317"/>
                  </a:lnTo>
                  <a:lnTo>
                    <a:pt x="4598" y="2331"/>
                  </a:lnTo>
                  <a:lnTo>
                    <a:pt x="4612" y="2379"/>
                  </a:lnTo>
                  <a:lnTo>
                    <a:pt x="4598" y="2345"/>
                  </a:lnTo>
                  <a:lnTo>
                    <a:pt x="4619" y="2317"/>
                  </a:lnTo>
                  <a:lnTo>
                    <a:pt x="4646" y="2345"/>
                  </a:lnTo>
                  <a:lnTo>
                    <a:pt x="4660" y="2317"/>
                  </a:lnTo>
                  <a:lnTo>
                    <a:pt x="4626" y="2282"/>
                  </a:lnTo>
                  <a:lnTo>
                    <a:pt x="4584" y="2219"/>
                  </a:lnTo>
                  <a:lnTo>
                    <a:pt x="4563" y="2212"/>
                  </a:lnTo>
                  <a:lnTo>
                    <a:pt x="4556" y="2226"/>
                  </a:lnTo>
                  <a:lnTo>
                    <a:pt x="4528" y="2219"/>
                  </a:lnTo>
                  <a:lnTo>
                    <a:pt x="4514" y="2219"/>
                  </a:lnTo>
                  <a:lnTo>
                    <a:pt x="4480" y="2192"/>
                  </a:lnTo>
                  <a:lnTo>
                    <a:pt x="4417" y="2178"/>
                  </a:lnTo>
                  <a:lnTo>
                    <a:pt x="4389" y="2101"/>
                  </a:lnTo>
                  <a:lnTo>
                    <a:pt x="4389" y="2066"/>
                  </a:lnTo>
                  <a:lnTo>
                    <a:pt x="4382" y="1865"/>
                  </a:lnTo>
                  <a:lnTo>
                    <a:pt x="4389" y="1774"/>
                  </a:lnTo>
                  <a:lnTo>
                    <a:pt x="4389" y="1760"/>
                  </a:lnTo>
                  <a:lnTo>
                    <a:pt x="4431" y="1698"/>
                  </a:lnTo>
                  <a:lnTo>
                    <a:pt x="4445" y="1677"/>
                  </a:lnTo>
                  <a:lnTo>
                    <a:pt x="4486" y="1642"/>
                  </a:lnTo>
                  <a:lnTo>
                    <a:pt x="4521" y="1593"/>
                  </a:lnTo>
                  <a:lnTo>
                    <a:pt x="4528" y="1572"/>
                  </a:lnTo>
                  <a:lnTo>
                    <a:pt x="4528" y="1461"/>
                  </a:lnTo>
                  <a:lnTo>
                    <a:pt x="4563" y="1412"/>
                  </a:lnTo>
                  <a:lnTo>
                    <a:pt x="4563" y="1378"/>
                  </a:lnTo>
                  <a:lnTo>
                    <a:pt x="4598" y="1301"/>
                  </a:lnTo>
                  <a:lnTo>
                    <a:pt x="4577" y="1239"/>
                  </a:lnTo>
                  <a:lnTo>
                    <a:pt x="4612" y="1169"/>
                  </a:lnTo>
                  <a:lnTo>
                    <a:pt x="4626" y="1127"/>
                  </a:lnTo>
                  <a:lnTo>
                    <a:pt x="4660" y="1086"/>
                  </a:lnTo>
                  <a:lnTo>
                    <a:pt x="4688" y="1051"/>
                  </a:lnTo>
                  <a:lnTo>
                    <a:pt x="4695" y="1016"/>
                  </a:lnTo>
                  <a:lnTo>
                    <a:pt x="4695" y="1009"/>
                  </a:lnTo>
                  <a:lnTo>
                    <a:pt x="4723" y="1002"/>
                  </a:lnTo>
                  <a:lnTo>
                    <a:pt x="4730" y="981"/>
                  </a:lnTo>
                  <a:lnTo>
                    <a:pt x="4723" y="953"/>
                  </a:lnTo>
                  <a:lnTo>
                    <a:pt x="4730" y="939"/>
                  </a:lnTo>
                  <a:lnTo>
                    <a:pt x="4786" y="877"/>
                  </a:lnTo>
                  <a:lnTo>
                    <a:pt x="4807" y="856"/>
                  </a:lnTo>
                  <a:lnTo>
                    <a:pt x="4827" y="814"/>
                  </a:lnTo>
                  <a:lnTo>
                    <a:pt x="4862" y="759"/>
                  </a:lnTo>
                  <a:lnTo>
                    <a:pt x="4876" y="745"/>
                  </a:lnTo>
                  <a:lnTo>
                    <a:pt x="4904" y="703"/>
                  </a:lnTo>
                  <a:lnTo>
                    <a:pt x="4925" y="675"/>
                  </a:lnTo>
                  <a:lnTo>
                    <a:pt x="4959" y="605"/>
                  </a:lnTo>
                  <a:lnTo>
                    <a:pt x="4987" y="578"/>
                  </a:lnTo>
                  <a:lnTo>
                    <a:pt x="5015" y="550"/>
                  </a:lnTo>
                  <a:lnTo>
                    <a:pt x="5085" y="411"/>
                  </a:lnTo>
                  <a:lnTo>
                    <a:pt x="5168" y="265"/>
                  </a:lnTo>
                  <a:lnTo>
                    <a:pt x="5182" y="230"/>
                  </a:lnTo>
                  <a:lnTo>
                    <a:pt x="5168" y="230"/>
                  </a:lnTo>
                  <a:lnTo>
                    <a:pt x="5168" y="251"/>
                  </a:lnTo>
                  <a:lnTo>
                    <a:pt x="5154" y="244"/>
                  </a:lnTo>
                  <a:lnTo>
                    <a:pt x="5182" y="146"/>
                  </a:lnTo>
                  <a:lnTo>
                    <a:pt x="5238" y="98"/>
                  </a:lnTo>
                  <a:lnTo>
                    <a:pt x="5314" y="70"/>
                  </a:lnTo>
                  <a:lnTo>
                    <a:pt x="5272" y="63"/>
                  </a:lnTo>
                  <a:lnTo>
                    <a:pt x="5217" y="49"/>
                  </a:lnTo>
                  <a:lnTo>
                    <a:pt x="5133" y="0"/>
                  </a:lnTo>
                  <a:lnTo>
                    <a:pt x="5085" y="14"/>
                  </a:lnTo>
                  <a:lnTo>
                    <a:pt x="4973" y="119"/>
                  </a:lnTo>
                  <a:lnTo>
                    <a:pt x="4939" y="132"/>
                  </a:lnTo>
                  <a:lnTo>
                    <a:pt x="4925" y="132"/>
                  </a:lnTo>
                  <a:lnTo>
                    <a:pt x="4883" y="160"/>
                  </a:lnTo>
                  <a:lnTo>
                    <a:pt x="4848" y="167"/>
                  </a:lnTo>
                  <a:lnTo>
                    <a:pt x="4820" y="181"/>
                  </a:lnTo>
                  <a:lnTo>
                    <a:pt x="4820" y="188"/>
                  </a:lnTo>
                  <a:lnTo>
                    <a:pt x="4793" y="188"/>
                  </a:lnTo>
                  <a:lnTo>
                    <a:pt x="4786" y="188"/>
                  </a:lnTo>
                  <a:lnTo>
                    <a:pt x="4758" y="195"/>
                  </a:lnTo>
                  <a:lnTo>
                    <a:pt x="4723" y="209"/>
                  </a:lnTo>
                  <a:lnTo>
                    <a:pt x="4688" y="209"/>
                  </a:lnTo>
                  <a:lnTo>
                    <a:pt x="4632" y="188"/>
                  </a:lnTo>
                  <a:lnTo>
                    <a:pt x="4653" y="112"/>
                  </a:lnTo>
                  <a:lnTo>
                    <a:pt x="4632" y="70"/>
                  </a:lnTo>
                  <a:lnTo>
                    <a:pt x="4612" y="84"/>
                  </a:lnTo>
                  <a:lnTo>
                    <a:pt x="4626" y="98"/>
                  </a:lnTo>
                  <a:lnTo>
                    <a:pt x="4632" y="125"/>
                  </a:lnTo>
                  <a:lnTo>
                    <a:pt x="4584" y="258"/>
                  </a:lnTo>
                  <a:lnTo>
                    <a:pt x="4521" y="327"/>
                  </a:lnTo>
                  <a:lnTo>
                    <a:pt x="4431" y="376"/>
                  </a:lnTo>
                  <a:lnTo>
                    <a:pt x="4382" y="397"/>
                  </a:lnTo>
                  <a:lnTo>
                    <a:pt x="4354" y="383"/>
                  </a:lnTo>
                  <a:lnTo>
                    <a:pt x="4326" y="376"/>
                  </a:lnTo>
                  <a:lnTo>
                    <a:pt x="4319" y="341"/>
                  </a:lnTo>
                  <a:lnTo>
                    <a:pt x="4326" y="348"/>
                  </a:lnTo>
                  <a:lnTo>
                    <a:pt x="4319" y="341"/>
                  </a:lnTo>
                  <a:lnTo>
                    <a:pt x="4215" y="327"/>
                  </a:lnTo>
                  <a:lnTo>
                    <a:pt x="4173" y="313"/>
                  </a:lnTo>
                  <a:lnTo>
                    <a:pt x="4104" y="251"/>
                  </a:lnTo>
                  <a:lnTo>
                    <a:pt x="4055" y="286"/>
                  </a:lnTo>
                  <a:lnTo>
                    <a:pt x="3965" y="299"/>
                  </a:lnTo>
                  <a:lnTo>
                    <a:pt x="3930" y="313"/>
                  </a:lnTo>
                  <a:lnTo>
                    <a:pt x="3895" y="327"/>
                  </a:lnTo>
                  <a:lnTo>
                    <a:pt x="3860" y="327"/>
                  </a:lnTo>
                  <a:lnTo>
                    <a:pt x="3825" y="299"/>
                  </a:lnTo>
                  <a:lnTo>
                    <a:pt x="3756" y="383"/>
                  </a:lnTo>
                  <a:lnTo>
                    <a:pt x="3728" y="418"/>
                  </a:lnTo>
                  <a:lnTo>
                    <a:pt x="3673" y="473"/>
                  </a:lnTo>
                  <a:lnTo>
                    <a:pt x="3638" y="508"/>
                  </a:lnTo>
                  <a:lnTo>
                    <a:pt x="3596" y="508"/>
                  </a:lnTo>
                  <a:lnTo>
                    <a:pt x="3575" y="522"/>
                  </a:lnTo>
                  <a:lnTo>
                    <a:pt x="3506" y="529"/>
                  </a:lnTo>
                  <a:lnTo>
                    <a:pt x="3471" y="557"/>
                  </a:lnTo>
                  <a:lnTo>
                    <a:pt x="3346" y="592"/>
                  </a:lnTo>
                  <a:lnTo>
                    <a:pt x="3311" y="578"/>
                  </a:lnTo>
                  <a:lnTo>
                    <a:pt x="3220" y="613"/>
                  </a:lnTo>
                  <a:lnTo>
                    <a:pt x="3213" y="619"/>
                  </a:lnTo>
                  <a:lnTo>
                    <a:pt x="3144" y="619"/>
                  </a:lnTo>
                  <a:lnTo>
                    <a:pt x="3123" y="640"/>
                  </a:lnTo>
                  <a:lnTo>
                    <a:pt x="3109" y="640"/>
                  </a:lnTo>
                  <a:lnTo>
                    <a:pt x="3039" y="626"/>
                  </a:lnTo>
                  <a:lnTo>
                    <a:pt x="3026" y="640"/>
                  </a:lnTo>
                  <a:lnTo>
                    <a:pt x="2887" y="619"/>
                  </a:lnTo>
                  <a:lnTo>
                    <a:pt x="2887" y="613"/>
                  </a:lnTo>
                  <a:lnTo>
                    <a:pt x="2879" y="619"/>
                  </a:lnTo>
                  <a:lnTo>
                    <a:pt x="2831" y="605"/>
                  </a:lnTo>
                  <a:lnTo>
                    <a:pt x="2761" y="626"/>
                  </a:lnTo>
                  <a:lnTo>
                    <a:pt x="2699" y="619"/>
                  </a:lnTo>
                  <a:lnTo>
                    <a:pt x="2650" y="578"/>
                  </a:lnTo>
                  <a:lnTo>
                    <a:pt x="2622" y="578"/>
                  </a:lnTo>
                  <a:lnTo>
                    <a:pt x="2553" y="592"/>
                  </a:lnTo>
                  <a:lnTo>
                    <a:pt x="2518" y="592"/>
                  </a:lnTo>
                  <a:lnTo>
                    <a:pt x="2483" y="613"/>
                  </a:lnTo>
                  <a:lnTo>
                    <a:pt x="2448" y="640"/>
                  </a:lnTo>
                  <a:lnTo>
                    <a:pt x="2302" y="703"/>
                  </a:lnTo>
                  <a:lnTo>
                    <a:pt x="2226" y="724"/>
                  </a:lnTo>
                  <a:lnTo>
                    <a:pt x="2128" y="717"/>
                  </a:lnTo>
                  <a:lnTo>
                    <a:pt x="2100" y="703"/>
                  </a:lnTo>
                  <a:lnTo>
                    <a:pt x="2121" y="689"/>
                  </a:lnTo>
                  <a:lnTo>
                    <a:pt x="2059" y="675"/>
                  </a:lnTo>
                  <a:lnTo>
                    <a:pt x="2038" y="675"/>
                  </a:lnTo>
                  <a:lnTo>
                    <a:pt x="1940" y="613"/>
                  </a:lnTo>
                  <a:lnTo>
                    <a:pt x="1933" y="605"/>
                  </a:lnTo>
                  <a:lnTo>
                    <a:pt x="1857" y="550"/>
                  </a:lnTo>
                  <a:lnTo>
                    <a:pt x="1829" y="522"/>
                  </a:lnTo>
                  <a:lnTo>
                    <a:pt x="1836" y="508"/>
                  </a:lnTo>
                  <a:lnTo>
                    <a:pt x="1829" y="438"/>
                  </a:lnTo>
                  <a:lnTo>
                    <a:pt x="1815" y="418"/>
                  </a:lnTo>
                  <a:lnTo>
                    <a:pt x="1780" y="411"/>
                  </a:lnTo>
                  <a:lnTo>
                    <a:pt x="1773" y="418"/>
                  </a:lnTo>
                  <a:lnTo>
                    <a:pt x="1739" y="446"/>
                  </a:lnTo>
                  <a:lnTo>
                    <a:pt x="1704" y="453"/>
                  </a:lnTo>
                  <a:lnTo>
                    <a:pt x="1683" y="473"/>
                  </a:lnTo>
                  <a:lnTo>
                    <a:pt x="1683" y="453"/>
                  </a:lnTo>
                  <a:lnTo>
                    <a:pt x="1613" y="446"/>
                  </a:lnTo>
                  <a:lnTo>
                    <a:pt x="1579" y="425"/>
                  </a:lnTo>
                  <a:lnTo>
                    <a:pt x="1565" y="411"/>
                  </a:lnTo>
                  <a:lnTo>
                    <a:pt x="1551" y="397"/>
                  </a:lnTo>
                  <a:lnTo>
                    <a:pt x="1544" y="390"/>
                  </a:lnTo>
                  <a:lnTo>
                    <a:pt x="1544" y="383"/>
                  </a:lnTo>
                  <a:lnTo>
                    <a:pt x="1537" y="383"/>
                  </a:lnTo>
                  <a:lnTo>
                    <a:pt x="1544" y="376"/>
                  </a:lnTo>
                  <a:lnTo>
                    <a:pt x="1551" y="383"/>
                  </a:lnTo>
                  <a:lnTo>
                    <a:pt x="1551" y="362"/>
                  </a:lnTo>
                  <a:lnTo>
                    <a:pt x="1551" y="348"/>
                  </a:lnTo>
                  <a:lnTo>
                    <a:pt x="1565" y="327"/>
                  </a:lnTo>
                  <a:lnTo>
                    <a:pt x="1544" y="286"/>
                  </a:lnTo>
                  <a:lnTo>
                    <a:pt x="1537" y="258"/>
                  </a:lnTo>
                  <a:lnTo>
                    <a:pt x="1537" y="244"/>
                  </a:lnTo>
                  <a:lnTo>
                    <a:pt x="1516" y="251"/>
                  </a:lnTo>
                  <a:lnTo>
                    <a:pt x="1488" y="230"/>
                  </a:lnTo>
                  <a:lnTo>
                    <a:pt x="1481" y="223"/>
                  </a:lnTo>
                  <a:lnTo>
                    <a:pt x="1488" y="209"/>
                  </a:lnTo>
                  <a:lnTo>
                    <a:pt x="1481" y="195"/>
                  </a:lnTo>
                  <a:lnTo>
                    <a:pt x="1467" y="167"/>
                  </a:lnTo>
                  <a:lnTo>
                    <a:pt x="1440" y="188"/>
                  </a:lnTo>
                  <a:lnTo>
                    <a:pt x="1412" y="209"/>
                  </a:lnTo>
                  <a:lnTo>
                    <a:pt x="1398" y="230"/>
                  </a:lnTo>
                  <a:lnTo>
                    <a:pt x="1384" y="223"/>
                  </a:lnTo>
                  <a:lnTo>
                    <a:pt x="1370" y="230"/>
                  </a:lnTo>
                  <a:lnTo>
                    <a:pt x="1349" y="223"/>
                  </a:lnTo>
                  <a:lnTo>
                    <a:pt x="1335" y="258"/>
                  </a:lnTo>
                  <a:lnTo>
                    <a:pt x="1314" y="279"/>
                  </a:lnTo>
                  <a:lnTo>
                    <a:pt x="1307" y="286"/>
                  </a:lnTo>
                  <a:lnTo>
                    <a:pt x="1217" y="292"/>
                  </a:lnTo>
                  <a:lnTo>
                    <a:pt x="1210" y="265"/>
                  </a:lnTo>
                  <a:lnTo>
                    <a:pt x="1182" y="265"/>
                  </a:lnTo>
                  <a:lnTo>
                    <a:pt x="1140" y="251"/>
                  </a:lnTo>
                  <a:lnTo>
                    <a:pt x="1078" y="286"/>
                  </a:lnTo>
                  <a:lnTo>
                    <a:pt x="1078" y="320"/>
                  </a:lnTo>
                  <a:lnTo>
                    <a:pt x="1057" y="348"/>
                  </a:lnTo>
                  <a:lnTo>
                    <a:pt x="1029" y="355"/>
                  </a:lnTo>
                  <a:lnTo>
                    <a:pt x="1071" y="446"/>
                  </a:lnTo>
                  <a:lnTo>
                    <a:pt x="1071" y="480"/>
                  </a:lnTo>
                  <a:lnTo>
                    <a:pt x="987" y="529"/>
                  </a:lnTo>
                  <a:lnTo>
                    <a:pt x="911" y="578"/>
                  </a:lnTo>
                  <a:lnTo>
                    <a:pt x="792" y="605"/>
                  </a:lnTo>
                  <a:lnTo>
                    <a:pt x="751" y="592"/>
                  </a:lnTo>
                  <a:lnTo>
                    <a:pt x="730" y="550"/>
                  </a:lnTo>
                  <a:lnTo>
                    <a:pt x="716" y="557"/>
                  </a:lnTo>
                  <a:lnTo>
                    <a:pt x="695" y="543"/>
                  </a:lnTo>
                  <a:lnTo>
                    <a:pt x="633" y="480"/>
                  </a:lnTo>
                  <a:lnTo>
                    <a:pt x="612" y="446"/>
                  </a:lnTo>
                  <a:lnTo>
                    <a:pt x="591" y="383"/>
                  </a:lnTo>
                  <a:lnTo>
                    <a:pt x="591" y="348"/>
                  </a:lnTo>
                  <a:lnTo>
                    <a:pt x="570" y="327"/>
                  </a:lnTo>
                  <a:lnTo>
                    <a:pt x="563" y="279"/>
                  </a:lnTo>
                  <a:lnTo>
                    <a:pt x="514" y="279"/>
                  </a:lnTo>
                  <a:lnTo>
                    <a:pt x="500" y="251"/>
                  </a:lnTo>
                  <a:lnTo>
                    <a:pt x="473" y="279"/>
                  </a:lnTo>
                  <a:lnTo>
                    <a:pt x="514" y="348"/>
                  </a:lnTo>
                  <a:lnTo>
                    <a:pt x="466" y="425"/>
                  </a:lnTo>
                  <a:lnTo>
                    <a:pt x="452" y="438"/>
                  </a:lnTo>
                  <a:lnTo>
                    <a:pt x="417" y="418"/>
                  </a:lnTo>
                  <a:lnTo>
                    <a:pt x="382" y="418"/>
                  </a:lnTo>
                  <a:lnTo>
                    <a:pt x="389" y="446"/>
                  </a:lnTo>
                  <a:lnTo>
                    <a:pt x="361" y="487"/>
                  </a:lnTo>
                  <a:lnTo>
                    <a:pt x="340" y="494"/>
                  </a:lnTo>
                  <a:lnTo>
                    <a:pt x="264" y="515"/>
                  </a:lnTo>
                  <a:lnTo>
                    <a:pt x="237" y="508"/>
                  </a:lnTo>
                  <a:lnTo>
                    <a:pt x="174" y="585"/>
                  </a:lnTo>
                  <a:lnTo>
                    <a:pt x="167" y="605"/>
                  </a:lnTo>
                  <a:lnTo>
                    <a:pt x="161" y="613"/>
                  </a:lnTo>
                  <a:lnTo>
                    <a:pt x="112" y="619"/>
                  </a:lnTo>
                  <a:lnTo>
                    <a:pt x="112" y="626"/>
                  </a:lnTo>
                  <a:lnTo>
                    <a:pt x="161" y="626"/>
                  </a:lnTo>
                  <a:lnTo>
                    <a:pt x="133" y="640"/>
                  </a:lnTo>
                  <a:lnTo>
                    <a:pt x="133" y="668"/>
                  </a:lnTo>
                  <a:lnTo>
                    <a:pt x="133" y="675"/>
                  </a:lnTo>
                  <a:lnTo>
                    <a:pt x="112" y="703"/>
                  </a:lnTo>
                  <a:lnTo>
                    <a:pt x="112" y="717"/>
                  </a:lnTo>
                  <a:lnTo>
                    <a:pt x="105" y="780"/>
                  </a:lnTo>
                  <a:lnTo>
                    <a:pt x="91" y="814"/>
                  </a:lnTo>
                  <a:lnTo>
                    <a:pt x="56" y="856"/>
                  </a:lnTo>
                  <a:lnTo>
                    <a:pt x="70" y="877"/>
                  </a:lnTo>
                  <a:lnTo>
                    <a:pt x="63" y="884"/>
                  </a:lnTo>
                  <a:lnTo>
                    <a:pt x="98" y="939"/>
                  </a:lnTo>
                  <a:lnTo>
                    <a:pt x="63" y="988"/>
                  </a:lnTo>
                  <a:lnTo>
                    <a:pt x="63" y="1037"/>
                  </a:lnTo>
                  <a:lnTo>
                    <a:pt x="14" y="1086"/>
                  </a:lnTo>
                  <a:lnTo>
                    <a:pt x="28" y="1065"/>
                  </a:lnTo>
                  <a:lnTo>
                    <a:pt x="0" y="1099"/>
                  </a:lnTo>
                  <a:lnTo>
                    <a:pt x="7" y="1134"/>
                  </a:lnTo>
                  <a:lnTo>
                    <a:pt x="7" y="1127"/>
                  </a:lnTo>
                  <a:lnTo>
                    <a:pt x="28" y="1134"/>
                  </a:lnTo>
                  <a:lnTo>
                    <a:pt x="63" y="1204"/>
                  </a:lnTo>
                  <a:lnTo>
                    <a:pt x="63" y="1259"/>
                  </a:lnTo>
                  <a:lnTo>
                    <a:pt x="63" y="1294"/>
                  </a:lnTo>
                  <a:lnTo>
                    <a:pt x="161" y="1405"/>
                  </a:lnTo>
                  <a:lnTo>
                    <a:pt x="230" y="1405"/>
                  </a:lnTo>
                  <a:lnTo>
                    <a:pt x="306" y="1461"/>
                  </a:lnTo>
                  <a:lnTo>
                    <a:pt x="361" y="1572"/>
                  </a:lnTo>
                  <a:lnTo>
                    <a:pt x="368" y="1593"/>
                  </a:lnTo>
                  <a:lnTo>
                    <a:pt x="417" y="1628"/>
                  </a:lnTo>
                  <a:lnTo>
                    <a:pt x="556" y="1586"/>
                  </a:lnTo>
                  <a:lnTo>
                    <a:pt x="751" y="1586"/>
                  </a:lnTo>
                  <a:lnTo>
                    <a:pt x="779" y="1593"/>
                  </a:lnTo>
                  <a:lnTo>
                    <a:pt x="792" y="1593"/>
                  </a:lnTo>
                  <a:lnTo>
                    <a:pt x="883" y="1628"/>
                  </a:lnTo>
                  <a:lnTo>
                    <a:pt x="925" y="1670"/>
                  </a:lnTo>
                  <a:lnTo>
                    <a:pt x="959" y="1760"/>
                  </a:lnTo>
                  <a:lnTo>
                    <a:pt x="987" y="1767"/>
                  </a:lnTo>
                  <a:lnTo>
                    <a:pt x="1022" y="1760"/>
                  </a:lnTo>
                  <a:lnTo>
                    <a:pt x="1113" y="1760"/>
                  </a:lnTo>
                  <a:lnTo>
                    <a:pt x="1175" y="1767"/>
                  </a:lnTo>
                  <a:lnTo>
                    <a:pt x="1238" y="1788"/>
                  </a:lnTo>
                  <a:lnTo>
                    <a:pt x="1273" y="1837"/>
                  </a:lnTo>
                  <a:lnTo>
                    <a:pt x="1314" y="1872"/>
                  </a:lnTo>
                  <a:lnTo>
                    <a:pt x="1384" y="1969"/>
                  </a:lnTo>
                  <a:lnTo>
                    <a:pt x="1384" y="1990"/>
                  </a:lnTo>
                  <a:lnTo>
                    <a:pt x="1405" y="1997"/>
                  </a:lnTo>
                  <a:lnTo>
                    <a:pt x="1419" y="1997"/>
                  </a:lnTo>
                  <a:lnTo>
                    <a:pt x="1453" y="2025"/>
                  </a:lnTo>
                  <a:lnTo>
                    <a:pt x="1488" y="2059"/>
                  </a:lnTo>
                  <a:lnTo>
                    <a:pt x="1537" y="2087"/>
                  </a:lnTo>
                  <a:lnTo>
                    <a:pt x="1627" y="2150"/>
                  </a:lnTo>
                  <a:lnTo>
                    <a:pt x="1662" y="2192"/>
                  </a:lnTo>
                  <a:lnTo>
                    <a:pt x="1704" y="2212"/>
                  </a:lnTo>
                  <a:lnTo>
                    <a:pt x="1746" y="2219"/>
                  </a:lnTo>
                  <a:lnTo>
                    <a:pt x="1794" y="2219"/>
                  </a:lnTo>
                  <a:lnTo>
                    <a:pt x="1815" y="2233"/>
                  </a:lnTo>
                  <a:lnTo>
                    <a:pt x="1836" y="2219"/>
                  </a:lnTo>
                  <a:lnTo>
                    <a:pt x="1857" y="2226"/>
                  </a:lnTo>
                  <a:lnTo>
                    <a:pt x="1913" y="2282"/>
                  </a:lnTo>
                  <a:lnTo>
                    <a:pt x="1968" y="2345"/>
                  </a:lnTo>
                  <a:lnTo>
                    <a:pt x="2024" y="2393"/>
                  </a:lnTo>
                  <a:lnTo>
                    <a:pt x="2038" y="2428"/>
                  </a:lnTo>
                  <a:lnTo>
                    <a:pt x="2156" y="2498"/>
                  </a:lnTo>
                  <a:lnTo>
                    <a:pt x="2198" y="2539"/>
                  </a:lnTo>
                  <a:lnTo>
                    <a:pt x="2302" y="2546"/>
                  </a:lnTo>
                  <a:lnTo>
                    <a:pt x="2316" y="2553"/>
                  </a:lnTo>
                  <a:lnTo>
                    <a:pt x="2358" y="2595"/>
                  </a:lnTo>
                  <a:lnTo>
                    <a:pt x="2393" y="2637"/>
                  </a:lnTo>
                  <a:lnTo>
                    <a:pt x="2490" y="2651"/>
                  </a:lnTo>
                  <a:lnTo>
                    <a:pt x="2504" y="2651"/>
                  </a:lnTo>
                  <a:lnTo>
                    <a:pt x="2532" y="2616"/>
                  </a:lnTo>
                  <a:lnTo>
                    <a:pt x="2650" y="2623"/>
                  </a:lnTo>
                  <a:lnTo>
                    <a:pt x="2747" y="2616"/>
                  </a:lnTo>
                  <a:lnTo>
                    <a:pt x="2782" y="2623"/>
                  </a:lnTo>
                  <a:lnTo>
                    <a:pt x="2928" y="2679"/>
                  </a:lnTo>
                  <a:lnTo>
                    <a:pt x="3053" y="2755"/>
                  </a:lnTo>
                  <a:lnTo>
                    <a:pt x="3144" y="2846"/>
                  </a:lnTo>
                </a:path>
              </a:pathLst>
            </a:custGeom>
            <a:grpFill/>
            <a:ln w="9525" cap="flat" cmpd="sng">
              <a:solidFill>
                <a:schemeClr val="bg1"/>
              </a:solid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30" name="Freeform 67">
              <a:extLst>
                <a:ext uri="{FF2B5EF4-FFF2-40B4-BE49-F238E27FC236}">
                  <a16:creationId xmlns:a16="http://schemas.microsoft.com/office/drawing/2014/main" id="{8BE969A2-12E3-4A17-A434-900908410E8D}"/>
                </a:ext>
              </a:extLst>
            </p:cNvPr>
            <p:cNvSpPr>
              <a:spLocks noChangeArrowheads="1"/>
            </p:cNvSpPr>
            <p:nvPr/>
          </p:nvSpPr>
          <p:spPr bwMode="auto">
            <a:xfrm>
              <a:off x="19523469" y="12138291"/>
              <a:ext cx="6214" cy="4142"/>
            </a:xfrm>
            <a:custGeom>
              <a:avLst/>
              <a:gdLst>
                <a:gd name="T0" fmla="*/ 0 w 15"/>
                <a:gd name="T1" fmla="*/ 0 h 8"/>
                <a:gd name="T2" fmla="*/ 7 w 15"/>
                <a:gd name="T3" fmla="*/ 0 h 8"/>
                <a:gd name="T4" fmla="*/ 14 w 15"/>
                <a:gd name="T5" fmla="*/ 0 h 8"/>
                <a:gd name="T6" fmla="*/ 14 w 15"/>
                <a:gd name="T7" fmla="*/ 7 h 8"/>
                <a:gd name="T8" fmla="*/ 7 w 15"/>
                <a:gd name="T9" fmla="*/ 7 h 8"/>
                <a:gd name="T10" fmla="*/ 0 w 15"/>
                <a:gd name="T11" fmla="*/ 7 h 8"/>
                <a:gd name="T12" fmla="*/ 0 w 15"/>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15" h="8">
                  <a:moveTo>
                    <a:pt x="0" y="0"/>
                  </a:moveTo>
                  <a:lnTo>
                    <a:pt x="7" y="0"/>
                  </a:lnTo>
                  <a:lnTo>
                    <a:pt x="14" y="0"/>
                  </a:lnTo>
                  <a:lnTo>
                    <a:pt x="14" y="7"/>
                  </a:lnTo>
                  <a:lnTo>
                    <a:pt x="7" y="7"/>
                  </a:lnTo>
                  <a:lnTo>
                    <a:pt x="0" y="7"/>
                  </a:lnTo>
                  <a:lnTo>
                    <a:pt x="0" y="0"/>
                  </a:lnTo>
                </a:path>
              </a:pathLst>
            </a:custGeom>
            <a:grpFill/>
            <a:ln w="9525" cap="flat" cmpd="sng">
              <a:solidFill>
                <a:schemeClr val="bg1"/>
              </a:solid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31" name="Freeform 68">
              <a:extLst>
                <a:ext uri="{FF2B5EF4-FFF2-40B4-BE49-F238E27FC236}">
                  <a16:creationId xmlns:a16="http://schemas.microsoft.com/office/drawing/2014/main" id="{C294351E-7F65-4359-9C4B-69178BE5B1F0}"/>
                </a:ext>
              </a:extLst>
            </p:cNvPr>
            <p:cNvSpPr>
              <a:spLocks noChangeArrowheads="1"/>
            </p:cNvSpPr>
            <p:nvPr/>
          </p:nvSpPr>
          <p:spPr bwMode="auto">
            <a:xfrm>
              <a:off x="17154120" y="13078636"/>
              <a:ext cx="95271" cy="105634"/>
            </a:xfrm>
            <a:custGeom>
              <a:avLst/>
              <a:gdLst>
                <a:gd name="T0" fmla="*/ 0 w 203"/>
                <a:gd name="T1" fmla="*/ 77 h 224"/>
                <a:gd name="T2" fmla="*/ 42 w 203"/>
                <a:gd name="T3" fmla="*/ 139 h 224"/>
                <a:gd name="T4" fmla="*/ 77 w 203"/>
                <a:gd name="T5" fmla="*/ 188 h 224"/>
                <a:gd name="T6" fmla="*/ 98 w 203"/>
                <a:gd name="T7" fmla="*/ 209 h 224"/>
                <a:gd name="T8" fmla="*/ 167 w 203"/>
                <a:gd name="T9" fmla="*/ 223 h 224"/>
                <a:gd name="T10" fmla="*/ 202 w 203"/>
                <a:gd name="T11" fmla="*/ 188 h 224"/>
                <a:gd name="T12" fmla="*/ 202 w 203"/>
                <a:gd name="T13" fmla="*/ 98 h 224"/>
                <a:gd name="T14" fmla="*/ 195 w 203"/>
                <a:gd name="T15" fmla="*/ 77 h 224"/>
                <a:gd name="T16" fmla="*/ 126 w 203"/>
                <a:gd name="T17" fmla="*/ 28 h 224"/>
                <a:gd name="T18" fmla="*/ 112 w 203"/>
                <a:gd name="T19" fmla="*/ 35 h 224"/>
                <a:gd name="T20" fmla="*/ 77 w 203"/>
                <a:gd name="T21" fmla="*/ 21 h 224"/>
                <a:gd name="T22" fmla="*/ 35 w 203"/>
                <a:gd name="T23" fmla="*/ 0 h 224"/>
                <a:gd name="T24" fmla="*/ 15 w 203"/>
                <a:gd name="T25" fmla="*/ 7 h 224"/>
                <a:gd name="T26" fmla="*/ 0 w 203"/>
                <a:gd name="T27" fmla="*/ 77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3" h="224">
                  <a:moveTo>
                    <a:pt x="0" y="77"/>
                  </a:moveTo>
                  <a:lnTo>
                    <a:pt x="42" y="139"/>
                  </a:lnTo>
                  <a:lnTo>
                    <a:pt x="77" y="188"/>
                  </a:lnTo>
                  <a:lnTo>
                    <a:pt x="98" y="209"/>
                  </a:lnTo>
                  <a:lnTo>
                    <a:pt x="167" y="223"/>
                  </a:lnTo>
                  <a:lnTo>
                    <a:pt x="202" y="188"/>
                  </a:lnTo>
                  <a:lnTo>
                    <a:pt x="202" y="98"/>
                  </a:lnTo>
                  <a:lnTo>
                    <a:pt x="195" y="77"/>
                  </a:lnTo>
                  <a:lnTo>
                    <a:pt x="126" y="28"/>
                  </a:lnTo>
                  <a:lnTo>
                    <a:pt x="112" y="35"/>
                  </a:lnTo>
                  <a:lnTo>
                    <a:pt x="77" y="21"/>
                  </a:lnTo>
                  <a:lnTo>
                    <a:pt x="35" y="0"/>
                  </a:lnTo>
                  <a:lnTo>
                    <a:pt x="15" y="7"/>
                  </a:lnTo>
                  <a:lnTo>
                    <a:pt x="0" y="77"/>
                  </a:lnTo>
                </a:path>
              </a:pathLst>
            </a:custGeom>
            <a:grpFill/>
            <a:ln w="9525" cap="flat" cmpd="sng">
              <a:solidFill>
                <a:schemeClr val="bg1"/>
              </a:solid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32" name="Freeform 69">
              <a:extLst>
                <a:ext uri="{FF2B5EF4-FFF2-40B4-BE49-F238E27FC236}">
                  <a16:creationId xmlns:a16="http://schemas.microsoft.com/office/drawing/2014/main" id="{CF7AB957-BFF7-451E-9783-99DB8F9859C3}"/>
                </a:ext>
              </a:extLst>
            </p:cNvPr>
            <p:cNvSpPr>
              <a:spLocks noChangeArrowheads="1"/>
            </p:cNvSpPr>
            <p:nvPr/>
          </p:nvSpPr>
          <p:spPr bwMode="auto">
            <a:xfrm>
              <a:off x="19450980" y="11347074"/>
              <a:ext cx="62133" cy="82850"/>
            </a:xfrm>
            <a:custGeom>
              <a:avLst/>
              <a:gdLst>
                <a:gd name="T0" fmla="*/ 56 w 133"/>
                <a:gd name="T1" fmla="*/ 139 h 175"/>
                <a:gd name="T2" fmla="*/ 84 w 133"/>
                <a:gd name="T3" fmla="*/ 174 h 175"/>
                <a:gd name="T4" fmla="*/ 104 w 133"/>
                <a:gd name="T5" fmla="*/ 153 h 175"/>
                <a:gd name="T6" fmla="*/ 98 w 133"/>
                <a:gd name="T7" fmla="*/ 105 h 175"/>
                <a:gd name="T8" fmla="*/ 132 w 133"/>
                <a:gd name="T9" fmla="*/ 84 h 175"/>
                <a:gd name="T10" fmla="*/ 104 w 133"/>
                <a:gd name="T11" fmla="*/ 77 h 175"/>
                <a:gd name="T12" fmla="*/ 98 w 133"/>
                <a:gd name="T13" fmla="*/ 0 h 175"/>
                <a:gd name="T14" fmla="*/ 28 w 133"/>
                <a:gd name="T15" fmla="*/ 7 h 175"/>
                <a:gd name="T16" fmla="*/ 0 w 133"/>
                <a:gd name="T17" fmla="*/ 70 h 175"/>
                <a:gd name="T18" fmla="*/ 21 w 133"/>
                <a:gd name="T19" fmla="*/ 119 h 175"/>
                <a:gd name="T20" fmla="*/ 35 w 133"/>
                <a:gd name="T21" fmla="*/ 132 h 175"/>
                <a:gd name="T22" fmla="*/ 56 w 133"/>
                <a:gd name="T23" fmla="*/ 139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3" h="175">
                  <a:moveTo>
                    <a:pt x="56" y="139"/>
                  </a:moveTo>
                  <a:lnTo>
                    <a:pt x="84" y="174"/>
                  </a:lnTo>
                  <a:lnTo>
                    <a:pt x="104" y="153"/>
                  </a:lnTo>
                  <a:lnTo>
                    <a:pt x="98" y="105"/>
                  </a:lnTo>
                  <a:lnTo>
                    <a:pt x="132" y="84"/>
                  </a:lnTo>
                  <a:lnTo>
                    <a:pt x="104" y="77"/>
                  </a:lnTo>
                  <a:lnTo>
                    <a:pt x="98" y="0"/>
                  </a:lnTo>
                  <a:lnTo>
                    <a:pt x="28" y="7"/>
                  </a:lnTo>
                  <a:lnTo>
                    <a:pt x="0" y="70"/>
                  </a:lnTo>
                  <a:lnTo>
                    <a:pt x="21" y="119"/>
                  </a:lnTo>
                  <a:lnTo>
                    <a:pt x="35" y="132"/>
                  </a:lnTo>
                  <a:lnTo>
                    <a:pt x="56" y="139"/>
                  </a:lnTo>
                </a:path>
              </a:pathLst>
            </a:custGeom>
            <a:grpFill/>
            <a:ln w="9525" cap="flat" cmpd="sng">
              <a:solidFill>
                <a:schemeClr val="bg1"/>
              </a:solid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33" name="Freeform 70">
              <a:extLst>
                <a:ext uri="{FF2B5EF4-FFF2-40B4-BE49-F238E27FC236}">
                  <a16:creationId xmlns:a16="http://schemas.microsoft.com/office/drawing/2014/main" id="{7CC8C2CF-5886-4C38-A91D-78EB1DB27D5C}"/>
                </a:ext>
              </a:extLst>
            </p:cNvPr>
            <p:cNvSpPr>
              <a:spLocks noChangeArrowheads="1"/>
            </p:cNvSpPr>
            <p:nvPr/>
          </p:nvSpPr>
          <p:spPr bwMode="auto">
            <a:xfrm>
              <a:off x="19372278" y="11284937"/>
              <a:ext cx="60062" cy="49710"/>
            </a:xfrm>
            <a:custGeom>
              <a:avLst/>
              <a:gdLst>
                <a:gd name="T0" fmla="*/ 84 w 126"/>
                <a:gd name="T1" fmla="*/ 91 h 105"/>
                <a:gd name="T2" fmla="*/ 0 w 126"/>
                <a:gd name="T3" fmla="*/ 42 h 105"/>
                <a:gd name="T4" fmla="*/ 0 w 126"/>
                <a:gd name="T5" fmla="*/ 35 h 105"/>
                <a:gd name="T6" fmla="*/ 21 w 126"/>
                <a:gd name="T7" fmla="*/ 0 h 105"/>
                <a:gd name="T8" fmla="*/ 125 w 126"/>
                <a:gd name="T9" fmla="*/ 7 h 105"/>
                <a:gd name="T10" fmla="*/ 125 w 126"/>
                <a:gd name="T11" fmla="*/ 49 h 105"/>
                <a:gd name="T12" fmla="*/ 125 w 126"/>
                <a:gd name="T13" fmla="*/ 104 h 105"/>
                <a:gd name="T14" fmla="*/ 84 w 126"/>
                <a:gd name="T15" fmla="*/ 91 h 1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6" h="105">
                  <a:moveTo>
                    <a:pt x="84" y="91"/>
                  </a:moveTo>
                  <a:lnTo>
                    <a:pt x="0" y="42"/>
                  </a:lnTo>
                  <a:lnTo>
                    <a:pt x="0" y="35"/>
                  </a:lnTo>
                  <a:lnTo>
                    <a:pt x="21" y="0"/>
                  </a:lnTo>
                  <a:lnTo>
                    <a:pt x="125" y="7"/>
                  </a:lnTo>
                  <a:lnTo>
                    <a:pt x="125" y="49"/>
                  </a:lnTo>
                  <a:lnTo>
                    <a:pt x="125" y="104"/>
                  </a:lnTo>
                  <a:lnTo>
                    <a:pt x="84" y="91"/>
                  </a:lnTo>
                </a:path>
              </a:pathLst>
            </a:custGeom>
            <a:grpFill/>
            <a:ln w="9525" cap="flat" cmpd="sng">
              <a:solidFill>
                <a:schemeClr val="bg1"/>
              </a:solid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34" name="Freeform 71">
              <a:extLst>
                <a:ext uri="{FF2B5EF4-FFF2-40B4-BE49-F238E27FC236}">
                  <a16:creationId xmlns:a16="http://schemas.microsoft.com/office/drawing/2014/main" id="{AF8D05F1-29D6-4FAC-A86C-EFE2977F6863}"/>
                </a:ext>
              </a:extLst>
            </p:cNvPr>
            <p:cNvSpPr>
              <a:spLocks noChangeArrowheads="1"/>
            </p:cNvSpPr>
            <p:nvPr/>
          </p:nvSpPr>
          <p:spPr bwMode="auto">
            <a:xfrm>
              <a:off x="19482045" y="11442353"/>
              <a:ext cx="49707" cy="62137"/>
            </a:xfrm>
            <a:custGeom>
              <a:avLst/>
              <a:gdLst>
                <a:gd name="T0" fmla="*/ 83 w 105"/>
                <a:gd name="T1" fmla="*/ 42 h 133"/>
                <a:gd name="T2" fmla="*/ 104 w 105"/>
                <a:gd name="T3" fmla="*/ 97 h 133"/>
                <a:gd name="T4" fmla="*/ 104 w 105"/>
                <a:gd name="T5" fmla="*/ 132 h 133"/>
                <a:gd name="T6" fmla="*/ 62 w 105"/>
                <a:gd name="T7" fmla="*/ 132 h 133"/>
                <a:gd name="T8" fmla="*/ 27 w 105"/>
                <a:gd name="T9" fmla="*/ 97 h 133"/>
                <a:gd name="T10" fmla="*/ 0 w 105"/>
                <a:gd name="T11" fmla="*/ 63 h 133"/>
                <a:gd name="T12" fmla="*/ 21 w 105"/>
                <a:gd name="T13" fmla="*/ 28 h 133"/>
                <a:gd name="T14" fmla="*/ 27 w 105"/>
                <a:gd name="T15" fmla="*/ 14 h 133"/>
                <a:gd name="T16" fmla="*/ 35 w 105"/>
                <a:gd name="T17" fmla="*/ 0 h 133"/>
                <a:gd name="T18" fmla="*/ 55 w 105"/>
                <a:gd name="T19" fmla="*/ 14 h 133"/>
                <a:gd name="T20" fmla="*/ 35 w 105"/>
                <a:gd name="T21" fmla="*/ 28 h 133"/>
                <a:gd name="T22" fmla="*/ 69 w 105"/>
                <a:gd name="T23" fmla="*/ 49 h 133"/>
                <a:gd name="T24" fmla="*/ 83 w 105"/>
                <a:gd name="T25" fmla="*/ 42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5" h="133">
                  <a:moveTo>
                    <a:pt x="83" y="42"/>
                  </a:moveTo>
                  <a:lnTo>
                    <a:pt x="104" y="97"/>
                  </a:lnTo>
                  <a:lnTo>
                    <a:pt x="104" y="132"/>
                  </a:lnTo>
                  <a:lnTo>
                    <a:pt x="62" y="132"/>
                  </a:lnTo>
                  <a:lnTo>
                    <a:pt x="27" y="97"/>
                  </a:lnTo>
                  <a:lnTo>
                    <a:pt x="0" y="63"/>
                  </a:lnTo>
                  <a:lnTo>
                    <a:pt x="21" y="28"/>
                  </a:lnTo>
                  <a:lnTo>
                    <a:pt x="27" y="14"/>
                  </a:lnTo>
                  <a:lnTo>
                    <a:pt x="35" y="0"/>
                  </a:lnTo>
                  <a:lnTo>
                    <a:pt x="55" y="14"/>
                  </a:lnTo>
                  <a:lnTo>
                    <a:pt x="35" y="28"/>
                  </a:lnTo>
                  <a:lnTo>
                    <a:pt x="69" y="49"/>
                  </a:lnTo>
                  <a:lnTo>
                    <a:pt x="83" y="42"/>
                  </a:lnTo>
                </a:path>
              </a:pathLst>
            </a:custGeom>
            <a:grpFill/>
            <a:ln w="9525" cap="flat" cmpd="sng">
              <a:solidFill>
                <a:schemeClr val="bg1"/>
              </a:solid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35" name="Freeform 72">
              <a:extLst>
                <a:ext uri="{FF2B5EF4-FFF2-40B4-BE49-F238E27FC236}">
                  <a16:creationId xmlns:a16="http://schemas.microsoft.com/office/drawing/2014/main" id="{3773130A-01C0-4EF6-B19A-BE3EB748310F}"/>
                </a:ext>
              </a:extLst>
            </p:cNvPr>
            <p:cNvSpPr>
              <a:spLocks noChangeArrowheads="1"/>
            </p:cNvSpPr>
            <p:nvPr/>
          </p:nvSpPr>
          <p:spPr bwMode="auto">
            <a:xfrm>
              <a:off x="17423364" y="11935308"/>
              <a:ext cx="72489" cy="49710"/>
            </a:xfrm>
            <a:custGeom>
              <a:avLst/>
              <a:gdLst>
                <a:gd name="T0" fmla="*/ 146 w 154"/>
                <a:gd name="T1" fmla="*/ 98 h 106"/>
                <a:gd name="T2" fmla="*/ 153 w 154"/>
                <a:gd name="T3" fmla="*/ 49 h 106"/>
                <a:gd name="T4" fmla="*/ 125 w 154"/>
                <a:gd name="T5" fmla="*/ 42 h 106"/>
                <a:gd name="T6" fmla="*/ 97 w 154"/>
                <a:gd name="T7" fmla="*/ 35 h 106"/>
                <a:gd name="T8" fmla="*/ 84 w 154"/>
                <a:gd name="T9" fmla="*/ 42 h 106"/>
                <a:gd name="T10" fmla="*/ 49 w 154"/>
                <a:gd name="T11" fmla="*/ 0 h 106"/>
                <a:gd name="T12" fmla="*/ 21 w 154"/>
                <a:gd name="T13" fmla="*/ 8 h 106"/>
                <a:gd name="T14" fmla="*/ 0 w 154"/>
                <a:gd name="T15" fmla="*/ 28 h 106"/>
                <a:gd name="T16" fmla="*/ 0 w 154"/>
                <a:gd name="T17" fmla="*/ 35 h 106"/>
                <a:gd name="T18" fmla="*/ 21 w 154"/>
                <a:gd name="T19" fmla="*/ 77 h 106"/>
                <a:gd name="T20" fmla="*/ 77 w 154"/>
                <a:gd name="T21" fmla="*/ 70 h 106"/>
                <a:gd name="T22" fmla="*/ 77 w 154"/>
                <a:gd name="T23" fmla="*/ 77 h 106"/>
                <a:gd name="T24" fmla="*/ 97 w 154"/>
                <a:gd name="T25" fmla="*/ 70 h 106"/>
                <a:gd name="T26" fmla="*/ 132 w 154"/>
                <a:gd name="T27" fmla="*/ 105 h 106"/>
                <a:gd name="T28" fmla="*/ 146 w 154"/>
                <a:gd name="T29" fmla="*/ 98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4" h="106">
                  <a:moveTo>
                    <a:pt x="146" y="98"/>
                  </a:moveTo>
                  <a:lnTo>
                    <a:pt x="153" y="49"/>
                  </a:lnTo>
                  <a:lnTo>
                    <a:pt x="125" y="42"/>
                  </a:lnTo>
                  <a:lnTo>
                    <a:pt x="97" y="35"/>
                  </a:lnTo>
                  <a:lnTo>
                    <a:pt x="84" y="42"/>
                  </a:lnTo>
                  <a:lnTo>
                    <a:pt x="49" y="0"/>
                  </a:lnTo>
                  <a:lnTo>
                    <a:pt x="21" y="8"/>
                  </a:lnTo>
                  <a:lnTo>
                    <a:pt x="0" y="28"/>
                  </a:lnTo>
                  <a:lnTo>
                    <a:pt x="0" y="35"/>
                  </a:lnTo>
                  <a:lnTo>
                    <a:pt x="21" y="77"/>
                  </a:lnTo>
                  <a:lnTo>
                    <a:pt x="77" y="70"/>
                  </a:lnTo>
                  <a:lnTo>
                    <a:pt x="77" y="77"/>
                  </a:lnTo>
                  <a:lnTo>
                    <a:pt x="97" y="70"/>
                  </a:lnTo>
                  <a:lnTo>
                    <a:pt x="132" y="105"/>
                  </a:lnTo>
                  <a:lnTo>
                    <a:pt x="146" y="98"/>
                  </a:lnTo>
                </a:path>
              </a:pathLst>
            </a:custGeom>
            <a:grpFill/>
            <a:ln w="9525" cap="flat" cmpd="sng">
              <a:solidFill>
                <a:schemeClr val="bg1"/>
              </a:solid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36" name="Freeform 33">
              <a:extLst>
                <a:ext uri="{FF2B5EF4-FFF2-40B4-BE49-F238E27FC236}">
                  <a16:creationId xmlns:a16="http://schemas.microsoft.com/office/drawing/2014/main" id="{A37D21BA-4490-4BC3-991D-DCCFA7474339}"/>
                </a:ext>
              </a:extLst>
            </p:cNvPr>
            <p:cNvSpPr>
              <a:spLocks noChangeArrowheads="1"/>
            </p:cNvSpPr>
            <p:nvPr/>
          </p:nvSpPr>
          <p:spPr bwMode="auto">
            <a:xfrm>
              <a:off x="17236964" y="11889742"/>
              <a:ext cx="45565" cy="45567"/>
            </a:xfrm>
            <a:custGeom>
              <a:avLst/>
              <a:gdLst>
                <a:gd name="T0" fmla="*/ 55 w 98"/>
                <a:gd name="T1" fmla="*/ 0 h 98"/>
                <a:gd name="T2" fmla="*/ 62 w 98"/>
                <a:gd name="T3" fmla="*/ 42 h 98"/>
                <a:gd name="T4" fmla="*/ 90 w 98"/>
                <a:gd name="T5" fmla="*/ 84 h 98"/>
                <a:gd name="T6" fmla="*/ 97 w 98"/>
                <a:gd name="T7" fmla="*/ 97 h 98"/>
                <a:gd name="T8" fmla="*/ 20 w 98"/>
                <a:gd name="T9" fmla="*/ 70 h 98"/>
                <a:gd name="T10" fmla="*/ 13 w 98"/>
                <a:gd name="T11" fmla="*/ 14 h 98"/>
                <a:gd name="T12" fmla="*/ 0 w 98"/>
                <a:gd name="T13" fmla="*/ 0 h 98"/>
                <a:gd name="T14" fmla="*/ 55 w 98"/>
                <a:gd name="T15" fmla="*/ 0 h 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8" h="98">
                  <a:moveTo>
                    <a:pt x="55" y="0"/>
                  </a:moveTo>
                  <a:lnTo>
                    <a:pt x="62" y="42"/>
                  </a:lnTo>
                  <a:lnTo>
                    <a:pt x="90" y="84"/>
                  </a:lnTo>
                  <a:lnTo>
                    <a:pt x="97" y="97"/>
                  </a:lnTo>
                  <a:lnTo>
                    <a:pt x="20" y="70"/>
                  </a:lnTo>
                  <a:lnTo>
                    <a:pt x="13" y="14"/>
                  </a:lnTo>
                  <a:lnTo>
                    <a:pt x="0" y="0"/>
                  </a:lnTo>
                  <a:lnTo>
                    <a:pt x="55" y="0"/>
                  </a:lnTo>
                </a:path>
              </a:pathLst>
            </a:custGeom>
            <a:grpFill/>
            <a:ln w="9525" cap="flat" cmpd="sng">
              <a:solidFill>
                <a:schemeClr val="bg1"/>
              </a:solid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37" name="Freeform 34">
              <a:extLst>
                <a:ext uri="{FF2B5EF4-FFF2-40B4-BE49-F238E27FC236}">
                  <a16:creationId xmlns:a16="http://schemas.microsoft.com/office/drawing/2014/main" id="{0A15E5A3-8687-4C3E-8801-2041D2286070}"/>
                </a:ext>
              </a:extLst>
            </p:cNvPr>
            <p:cNvSpPr>
              <a:spLocks noChangeArrowheads="1"/>
            </p:cNvSpPr>
            <p:nvPr/>
          </p:nvSpPr>
          <p:spPr bwMode="auto">
            <a:xfrm>
              <a:off x="19676731" y="11050887"/>
              <a:ext cx="39352" cy="39353"/>
            </a:xfrm>
            <a:custGeom>
              <a:avLst/>
              <a:gdLst>
                <a:gd name="T0" fmla="*/ 42 w 84"/>
                <a:gd name="T1" fmla="*/ 84 h 85"/>
                <a:gd name="T2" fmla="*/ 70 w 84"/>
                <a:gd name="T3" fmla="*/ 49 h 85"/>
                <a:gd name="T4" fmla="*/ 83 w 84"/>
                <a:gd name="T5" fmla="*/ 14 h 85"/>
                <a:gd name="T6" fmla="*/ 35 w 84"/>
                <a:gd name="T7" fmla="*/ 0 h 85"/>
                <a:gd name="T8" fmla="*/ 0 w 84"/>
                <a:gd name="T9" fmla="*/ 49 h 85"/>
                <a:gd name="T10" fmla="*/ 42 w 84"/>
                <a:gd name="T11" fmla="*/ 84 h 85"/>
              </a:gdLst>
              <a:ahLst/>
              <a:cxnLst>
                <a:cxn ang="0">
                  <a:pos x="T0" y="T1"/>
                </a:cxn>
                <a:cxn ang="0">
                  <a:pos x="T2" y="T3"/>
                </a:cxn>
                <a:cxn ang="0">
                  <a:pos x="T4" y="T5"/>
                </a:cxn>
                <a:cxn ang="0">
                  <a:pos x="T6" y="T7"/>
                </a:cxn>
                <a:cxn ang="0">
                  <a:pos x="T8" y="T9"/>
                </a:cxn>
                <a:cxn ang="0">
                  <a:pos x="T10" y="T11"/>
                </a:cxn>
              </a:cxnLst>
              <a:rect l="0" t="0" r="r" b="b"/>
              <a:pathLst>
                <a:path w="84" h="85">
                  <a:moveTo>
                    <a:pt x="42" y="84"/>
                  </a:moveTo>
                  <a:lnTo>
                    <a:pt x="70" y="49"/>
                  </a:lnTo>
                  <a:lnTo>
                    <a:pt x="83" y="14"/>
                  </a:lnTo>
                  <a:lnTo>
                    <a:pt x="35" y="0"/>
                  </a:lnTo>
                  <a:lnTo>
                    <a:pt x="0" y="49"/>
                  </a:lnTo>
                  <a:lnTo>
                    <a:pt x="42" y="84"/>
                  </a:lnTo>
                </a:path>
              </a:pathLst>
            </a:custGeom>
            <a:grpFill/>
            <a:ln w="9525" cap="flat" cmpd="sng">
              <a:solidFill>
                <a:schemeClr val="bg1"/>
              </a:solid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38" name="Freeform 35">
              <a:extLst>
                <a:ext uri="{FF2B5EF4-FFF2-40B4-BE49-F238E27FC236}">
                  <a16:creationId xmlns:a16="http://schemas.microsoft.com/office/drawing/2014/main" id="{9F35A78F-6E5B-4F04-AEFE-6AF6DCF21F71}"/>
                </a:ext>
              </a:extLst>
            </p:cNvPr>
            <p:cNvSpPr>
              <a:spLocks noChangeArrowheads="1"/>
            </p:cNvSpPr>
            <p:nvPr/>
          </p:nvSpPr>
          <p:spPr bwMode="auto">
            <a:xfrm>
              <a:off x="18104759" y="11142022"/>
              <a:ext cx="33137" cy="31068"/>
            </a:xfrm>
            <a:custGeom>
              <a:avLst/>
              <a:gdLst>
                <a:gd name="T0" fmla="*/ 0 w 71"/>
                <a:gd name="T1" fmla="*/ 63 h 64"/>
                <a:gd name="T2" fmla="*/ 49 w 71"/>
                <a:gd name="T3" fmla="*/ 56 h 64"/>
                <a:gd name="T4" fmla="*/ 70 w 71"/>
                <a:gd name="T5" fmla="*/ 21 h 64"/>
                <a:gd name="T6" fmla="*/ 35 w 71"/>
                <a:gd name="T7" fmla="*/ 0 h 64"/>
                <a:gd name="T8" fmla="*/ 0 w 71"/>
                <a:gd name="T9" fmla="*/ 21 h 64"/>
                <a:gd name="T10" fmla="*/ 0 w 71"/>
                <a:gd name="T11" fmla="*/ 56 h 64"/>
                <a:gd name="T12" fmla="*/ 0 w 71"/>
                <a:gd name="T13" fmla="*/ 63 h 64"/>
              </a:gdLst>
              <a:ahLst/>
              <a:cxnLst>
                <a:cxn ang="0">
                  <a:pos x="T0" y="T1"/>
                </a:cxn>
                <a:cxn ang="0">
                  <a:pos x="T2" y="T3"/>
                </a:cxn>
                <a:cxn ang="0">
                  <a:pos x="T4" y="T5"/>
                </a:cxn>
                <a:cxn ang="0">
                  <a:pos x="T6" y="T7"/>
                </a:cxn>
                <a:cxn ang="0">
                  <a:pos x="T8" y="T9"/>
                </a:cxn>
                <a:cxn ang="0">
                  <a:pos x="T10" y="T11"/>
                </a:cxn>
                <a:cxn ang="0">
                  <a:pos x="T12" y="T13"/>
                </a:cxn>
              </a:cxnLst>
              <a:rect l="0" t="0" r="r" b="b"/>
              <a:pathLst>
                <a:path w="71" h="64">
                  <a:moveTo>
                    <a:pt x="0" y="63"/>
                  </a:moveTo>
                  <a:lnTo>
                    <a:pt x="49" y="56"/>
                  </a:lnTo>
                  <a:lnTo>
                    <a:pt x="70" y="21"/>
                  </a:lnTo>
                  <a:lnTo>
                    <a:pt x="35" y="0"/>
                  </a:lnTo>
                  <a:lnTo>
                    <a:pt x="0" y="21"/>
                  </a:lnTo>
                  <a:lnTo>
                    <a:pt x="0" y="56"/>
                  </a:lnTo>
                  <a:lnTo>
                    <a:pt x="0" y="63"/>
                  </a:lnTo>
                </a:path>
              </a:pathLst>
            </a:custGeom>
            <a:grpFill/>
            <a:ln w="9525" cap="flat" cmpd="sng">
              <a:solidFill>
                <a:schemeClr val="bg1"/>
              </a:solid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39" name="Freeform 36">
              <a:extLst>
                <a:ext uri="{FF2B5EF4-FFF2-40B4-BE49-F238E27FC236}">
                  <a16:creationId xmlns:a16="http://schemas.microsoft.com/office/drawing/2014/main" id="{D23115E1-F98F-4B43-9F10-CA196CED1AA9}"/>
                </a:ext>
              </a:extLst>
            </p:cNvPr>
            <p:cNvSpPr>
              <a:spLocks noChangeArrowheads="1"/>
            </p:cNvSpPr>
            <p:nvPr/>
          </p:nvSpPr>
          <p:spPr bwMode="auto">
            <a:xfrm>
              <a:off x="19173452" y="11284937"/>
              <a:ext cx="39350" cy="26927"/>
            </a:xfrm>
            <a:custGeom>
              <a:avLst/>
              <a:gdLst>
                <a:gd name="T0" fmla="*/ 69 w 84"/>
                <a:gd name="T1" fmla="*/ 21 h 57"/>
                <a:gd name="T2" fmla="*/ 83 w 84"/>
                <a:gd name="T3" fmla="*/ 49 h 57"/>
                <a:gd name="T4" fmla="*/ 83 w 84"/>
                <a:gd name="T5" fmla="*/ 56 h 57"/>
                <a:gd name="T6" fmla="*/ 49 w 84"/>
                <a:gd name="T7" fmla="*/ 49 h 57"/>
                <a:gd name="T8" fmla="*/ 7 w 84"/>
                <a:gd name="T9" fmla="*/ 35 h 57"/>
                <a:gd name="T10" fmla="*/ 0 w 84"/>
                <a:gd name="T11" fmla="*/ 0 h 57"/>
                <a:gd name="T12" fmla="*/ 55 w 84"/>
                <a:gd name="T13" fmla="*/ 0 h 57"/>
                <a:gd name="T14" fmla="*/ 69 w 84"/>
                <a:gd name="T15" fmla="*/ 21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57">
                  <a:moveTo>
                    <a:pt x="69" y="21"/>
                  </a:moveTo>
                  <a:lnTo>
                    <a:pt x="83" y="49"/>
                  </a:lnTo>
                  <a:lnTo>
                    <a:pt x="83" y="56"/>
                  </a:lnTo>
                  <a:lnTo>
                    <a:pt x="49" y="49"/>
                  </a:lnTo>
                  <a:lnTo>
                    <a:pt x="7" y="35"/>
                  </a:lnTo>
                  <a:lnTo>
                    <a:pt x="0" y="0"/>
                  </a:lnTo>
                  <a:lnTo>
                    <a:pt x="55" y="0"/>
                  </a:lnTo>
                  <a:lnTo>
                    <a:pt x="69" y="21"/>
                  </a:lnTo>
                </a:path>
              </a:pathLst>
            </a:custGeom>
            <a:grpFill/>
            <a:ln w="9525" cap="flat" cmpd="sng">
              <a:solidFill>
                <a:schemeClr val="bg1"/>
              </a:solid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40" name="Freeform 37">
              <a:extLst>
                <a:ext uri="{FF2B5EF4-FFF2-40B4-BE49-F238E27FC236}">
                  <a16:creationId xmlns:a16="http://schemas.microsoft.com/office/drawing/2014/main" id="{5DAED846-FA80-4B9C-82A6-CA1AF52DD2FA}"/>
                </a:ext>
              </a:extLst>
            </p:cNvPr>
            <p:cNvSpPr>
              <a:spLocks noChangeArrowheads="1"/>
            </p:cNvSpPr>
            <p:nvPr/>
          </p:nvSpPr>
          <p:spPr bwMode="auto">
            <a:xfrm>
              <a:off x="17539346" y="11980875"/>
              <a:ext cx="20711" cy="62137"/>
            </a:xfrm>
            <a:custGeom>
              <a:avLst/>
              <a:gdLst>
                <a:gd name="T0" fmla="*/ 28 w 43"/>
                <a:gd name="T1" fmla="*/ 28 h 133"/>
                <a:gd name="T2" fmla="*/ 42 w 43"/>
                <a:gd name="T3" fmla="*/ 14 h 133"/>
                <a:gd name="T4" fmla="*/ 42 w 43"/>
                <a:gd name="T5" fmla="*/ 0 h 133"/>
                <a:gd name="T6" fmla="*/ 0 w 43"/>
                <a:gd name="T7" fmla="*/ 35 h 133"/>
                <a:gd name="T8" fmla="*/ 35 w 43"/>
                <a:gd name="T9" fmla="*/ 132 h 133"/>
                <a:gd name="T10" fmla="*/ 35 w 43"/>
                <a:gd name="T11" fmla="*/ 62 h 133"/>
                <a:gd name="T12" fmla="*/ 28 w 43"/>
                <a:gd name="T13" fmla="*/ 28 h 133"/>
              </a:gdLst>
              <a:ahLst/>
              <a:cxnLst>
                <a:cxn ang="0">
                  <a:pos x="T0" y="T1"/>
                </a:cxn>
                <a:cxn ang="0">
                  <a:pos x="T2" y="T3"/>
                </a:cxn>
                <a:cxn ang="0">
                  <a:pos x="T4" y="T5"/>
                </a:cxn>
                <a:cxn ang="0">
                  <a:pos x="T6" y="T7"/>
                </a:cxn>
                <a:cxn ang="0">
                  <a:pos x="T8" y="T9"/>
                </a:cxn>
                <a:cxn ang="0">
                  <a:pos x="T10" y="T11"/>
                </a:cxn>
                <a:cxn ang="0">
                  <a:pos x="T12" y="T13"/>
                </a:cxn>
              </a:cxnLst>
              <a:rect l="0" t="0" r="r" b="b"/>
              <a:pathLst>
                <a:path w="43" h="133">
                  <a:moveTo>
                    <a:pt x="28" y="28"/>
                  </a:moveTo>
                  <a:lnTo>
                    <a:pt x="42" y="14"/>
                  </a:lnTo>
                  <a:lnTo>
                    <a:pt x="42" y="0"/>
                  </a:lnTo>
                  <a:lnTo>
                    <a:pt x="0" y="35"/>
                  </a:lnTo>
                  <a:lnTo>
                    <a:pt x="35" y="132"/>
                  </a:lnTo>
                  <a:lnTo>
                    <a:pt x="35" y="62"/>
                  </a:lnTo>
                  <a:lnTo>
                    <a:pt x="28" y="28"/>
                  </a:lnTo>
                </a:path>
              </a:pathLst>
            </a:custGeom>
            <a:grpFill/>
            <a:ln w="9525" cap="flat" cmpd="sng">
              <a:solidFill>
                <a:schemeClr val="bg1"/>
              </a:solid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41" name="Freeform 38">
              <a:extLst>
                <a:ext uri="{FF2B5EF4-FFF2-40B4-BE49-F238E27FC236}">
                  <a16:creationId xmlns:a16="http://schemas.microsoft.com/office/drawing/2014/main" id="{7F339BDF-6FB0-40D8-8F92-639F814141C6}"/>
                </a:ext>
              </a:extLst>
            </p:cNvPr>
            <p:cNvSpPr>
              <a:spLocks noChangeArrowheads="1"/>
            </p:cNvSpPr>
            <p:nvPr/>
          </p:nvSpPr>
          <p:spPr bwMode="auto">
            <a:xfrm>
              <a:off x="17462716" y="11860743"/>
              <a:ext cx="20711" cy="35212"/>
            </a:xfrm>
            <a:custGeom>
              <a:avLst/>
              <a:gdLst>
                <a:gd name="T0" fmla="*/ 6 w 42"/>
                <a:gd name="T1" fmla="*/ 76 h 77"/>
                <a:gd name="T2" fmla="*/ 41 w 42"/>
                <a:gd name="T3" fmla="*/ 69 h 77"/>
                <a:gd name="T4" fmla="*/ 13 w 42"/>
                <a:gd name="T5" fmla="*/ 0 h 77"/>
                <a:gd name="T6" fmla="*/ 0 w 42"/>
                <a:gd name="T7" fmla="*/ 27 h 77"/>
                <a:gd name="T8" fmla="*/ 6 w 42"/>
                <a:gd name="T9" fmla="*/ 76 h 77"/>
              </a:gdLst>
              <a:ahLst/>
              <a:cxnLst>
                <a:cxn ang="0">
                  <a:pos x="T0" y="T1"/>
                </a:cxn>
                <a:cxn ang="0">
                  <a:pos x="T2" y="T3"/>
                </a:cxn>
                <a:cxn ang="0">
                  <a:pos x="T4" y="T5"/>
                </a:cxn>
                <a:cxn ang="0">
                  <a:pos x="T6" y="T7"/>
                </a:cxn>
                <a:cxn ang="0">
                  <a:pos x="T8" y="T9"/>
                </a:cxn>
              </a:cxnLst>
              <a:rect l="0" t="0" r="r" b="b"/>
              <a:pathLst>
                <a:path w="42" h="77">
                  <a:moveTo>
                    <a:pt x="6" y="76"/>
                  </a:moveTo>
                  <a:lnTo>
                    <a:pt x="41" y="69"/>
                  </a:lnTo>
                  <a:lnTo>
                    <a:pt x="13" y="0"/>
                  </a:lnTo>
                  <a:lnTo>
                    <a:pt x="0" y="27"/>
                  </a:lnTo>
                  <a:lnTo>
                    <a:pt x="6" y="76"/>
                  </a:lnTo>
                </a:path>
              </a:pathLst>
            </a:custGeom>
            <a:grpFill/>
            <a:ln w="9525" cap="flat" cmpd="sng">
              <a:solidFill>
                <a:schemeClr val="bg1"/>
              </a:solid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42" name="Freeform 39">
              <a:extLst>
                <a:ext uri="{FF2B5EF4-FFF2-40B4-BE49-F238E27FC236}">
                  <a16:creationId xmlns:a16="http://schemas.microsoft.com/office/drawing/2014/main" id="{F1C83E9B-EA6D-4BCA-B119-810943031B20}"/>
                </a:ext>
              </a:extLst>
            </p:cNvPr>
            <p:cNvSpPr>
              <a:spLocks noChangeArrowheads="1"/>
            </p:cNvSpPr>
            <p:nvPr/>
          </p:nvSpPr>
          <p:spPr bwMode="auto">
            <a:xfrm>
              <a:off x="16569126" y="14113249"/>
              <a:ext cx="31065" cy="26927"/>
            </a:xfrm>
            <a:custGeom>
              <a:avLst/>
              <a:gdLst>
                <a:gd name="T0" fmla="*/ 21 w 64"/>
                <a:gd name="T1" fmla="*/ 56 h 57"/>
                <a:gd name="T2" fmla="*/ 63 w 64"/>
                <a:gd name="T3" fmla="*/ 35 h 57"/>
                <a:gd name="T4" fmla="*/ 42 w 64"/>
                <a:gd name="T5" fmla="*/ 0 h 57"/>
                <a:gd name="T6" fmla="*/ 0 w 64"/>
                <a:gd name="T7" fmla="*/ 14 h 57"/>
                <a:gd name="T8" fmla="*/ 21 w 64"/>
                <a:gd name="T9" fmla="*/ 56 h 57"/>
              </a:gdLst>
              <a:ahLst/>
              <a:cxnLst>
                <a:cxn ang="0">
                  <a:pos x="T0" y="T1"/>
                </a:cxn>
                <a:cxn ang="0">
                  <a:pos x="T2" y="T3"/>
                </a:cxn>
                <a:cxn ang="0">
                  <a:pos x="T4" y="T5"/>
                </a:cxn>
                <a:cxn ang="0">
                  <a:pos x="T6" y="T7"/>
                </a:cxn>
                <a:cxn ang="0">
                  <a:pos x="T8" y="T9"/>
                </a:cxn>
              </a:cxnLst>
              <a:rect l="0" t="0" r="r" b="b"/>
              <a:pathLst>
                <a:path w="64" h="57">
                  <a:moveTo>
                    <a:pt x="21" y="56"/>
                  </a:moveTo>
                  <a:lnTo>
                    <a:pt x="63" y="35"/>
                  </a:lnTo>
                  <a:lnTo>
                    <a:pt x="42" y="0"/>
                  </a:lnTo>
                  <a:lnTo>
                    <a:pt x="0" y="14"/>
                  </a:lnTo>
                  <a:lnTo>
                    <a:pt x="21" y="56"/>
                  </a:lnTo>
                </a:path>
              </a:pathLst>
            </a:custGeom>
            <a:grpFill/>
            <a:ln w="9525" cap="flat" cmpd="sng">
              <a:solidFill>
                <a:schemeClr val="bg1"/>
              </a:solid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43" name="Freeform 40">
              <a:extLst>
                <a:ext uri="{FF2B5EF4-FFF2-40B4-BE49-F238E27FC236}">
                  <a16:creationId xmlns:a16="http://schemas.microsoft.com/office/drawing/2014/main" id="{6FC66674-9F21-4F5B-8E7B-A69BF464FC38}"/>
                </a:ext>
              </a:extLst>
            </p:cNvPr>
            <p:cNvSpPr>
              <a:spLocks noChangeArrowheads="1"/>
            </p:cNvSpPr>
            <p:nvPr/>
          </p:nvSpPr>
          <p:spPr bwMode="auto">
            <a:xfrm>
              <a:off x="19020190" y="11311865"/>
              <a:ext cx="16569" cy="26926"/>
            </a:xfrm>
            <a:custGeom>
              <a:avLst/>
              <a:gdLst>
                <a:gd name="T0" fmla="*/ 28 w 35"/>
                <a:gd name="T1" fmla="*/ 56 h 57"/>
                <a:gd name="T2" fmla="*/ 34 w 35"/>
                <a:gd name="T3" fmla="*/ 0 h 57"/>
                <a:gd name="T4" fmla="*/ 0 w 35"/>
                <a:gd name="T5" fmla="*/ 21 h 57"/>
                <a:gd name="T6" fmla="*/ 7 w 35"/>
                <a:gd name="T7" fmla="*/ 56 h 57"/>
                <a:gd name="T8" fmla="*/ 28 w 35"/>
                <a:gd name="T9" fmla="*/ 56 h 57"/>
              </a:gdLst>
              <a:ahLst/>
              <a:cxnLst>
                <a:cxn ang="0">
                  <a:pos x="T0" y="T1"/>
                </a:cxn>
                <a:cxn ang="0">
                  <a:pos x="T2" y="T3"/>
                </a:cxn>
                <a:cxn ang="0">
                  <a:pos x="T4" y="T5"/>
                </a:cxn>
                <a:cxn ang="0">
                  <a:pos x="T6" y="T7"/>
                </a:cxn>
                <a:cxn ang="0">
                  <a:pos x="T8" y="T9"/>
                </a:cxn>
              </a:cxnLst>
              <a:rect l="0" t="0" r="r" b="b"/>
              <a:pathLst>
                <a:path w="35" h="57">
                  <a:moveTo>
                    <a:pt x="28" y="56"/>
                  </a:moveTo>
                  <a:lnTo>
                    <a:pt x="34" y="0"/>
                  </a:lnTo>
                  <a:lnTo>
                    <a:pt x="0" y="21"/>
                  </a:lnTo>
                  <a:lnTo>
                    <a:pt x="7" y="56"/>
                  </a:lnTo>
                  <a:lnTo>
                    <a:pt x="28" y="56"/>
                  </a:lnTo>
                </a:path>
              </a:pathLst>
            </a:custGeom>
            <a:grpFill/>
            <a:ln w="9525" cap="flat" cmpd="sng">
              <a:solidFill>
                <a:schemeClr val="bg1"/>
              </a:solid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44" name="Freeform 41">
              <a:extLst>
                <a:ext uri="{FF2B5EF4-FFF2-40B4-BE49-F238E27FC236}">
                  <a16:creationId xmlns:a16="http://schemas.microsoft.com/office/drawing/2014/main" id="{45495CE8-B24C-4B16-951F-32CBD9A2DE93}"/>
                </a:ext>
              </a:extLst>
            </p:cNvPr>
            <p:cNvSpPr>
              <a:spLocks noChangeArrowheads="1"/>
            </p:cNvSpPr>
            <p:nvPr/>
          </p:nvSpPr>
          <p:spPr bwMode="auto">
            <a:xfrm>
              <a:off x="19575247" y="11220729"/>
              <a:ext cx="14497" cy="22783"/>
            </a:xfrm>
            <a:custGeom>
              <a:avLst/>
              <a:gdLst>
                <a:gd name="T0" fmla="*/ 0 w 29"/>
                <a:gd name="T1" fmla="*/ 0 h 50"/>
                <a:gd name="T2" fmla="*/ 28 w 29"/>
                <a:gd name="T3" fmla="*/ 0 h 50"/>
                <a:gd name="T4" fmla="*/ 21 w 29"/>
                <a:gd name="T5" fmla="*/ 28 h 50"/>
                <a:gd name="T6" fmla="*/ 0 w 29"/>
                <a:gd name="T7" fmla="*/ 49 h 50"/>
                <a:gd name="T8" fmla="*/ 0 w 29"/>
                <a:gd name="T9" fmla="*/ 0 h 50"/>
              </a:gdLst>
              <a:ahLst/>
              <a:cxnLst>
                <a:cxn ang="0">
                  <a:pos x="T0" y="T1"/>
                </a:cxn>
                <a:cxn ang="0">
                  <a:pos x="T2" y="T3"/>
                </a:cxn>
                <a:cxn ang="0">
                  <a:pos x="T4" y="T5"/>
                </a:cxn>
                <a:cxn ang="0">
                  <a:pos x="T6" y="T7"/>
                </a:cxn>
                <a:cxn ang="0">
                  <a:pos x="T8" y="T9"/>
                </a:cxn>
              </a:cxnLst>
              <a:rect l="0" t="0" r="r" b="b"/>
              <a:pathLst>
                <a:path w="29" h="50">
                  <a:moveTo>
                    <a:pt x="0" y="0"/>
                  </a:moveTo>
                  <a:lnTo>
                    <a:pt x="28" y="0"/>
                  </a:lnTo>
                  <a:lnTo>
                    <a:pt x="21" y="28"/>
                  </a:lnTo>
                  <a:lnTo>
                    <a:pt x="0" y="49"/>
                  </a:lnTo>
                  <a:lnTo>
                    <a:pt x="0" y="0"/>
                  </a:lnTo>
                </a:path>
              </a:pathLst>
            </a:custGeom>
            <a:grpFill/>
            <a:ln w="9525" cap="flat" cmpd="sng">
              <a:solidFill>
                <a:schemeClr val="bg1"/>
              </a:solid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45" name="Freeform 42">
              <a:extLst>
                <a:ext uri="{FF2B5EF4-FFF2-40B4-BE49-F238E27FC236}">
                  <a16:creationId xmlns:a16="http://schemas.microsoft.com/office/drawing/2014/main" id="{1EE677AF-A970-40D5-B7A9-B0DC827E23C2}"/>
                </a:ext>
              </a:extLst>
            </p:cNvPr>
            <p:cNvSpPr>
              <a:spLocks noChangeArrowheads="1"/>
            </p:cNvSpPr>
            <p:nvPr/>
          </p:nvSpPr>
          <p:spPr bwMode="auto">
            <a:xfrm>
              <a:off x="17570413" y="12018159"/>
              <a:ext cx="4142" cy="4142"/>
            </a:xfrm>
            <a:custGeom>
              <a:avLst/>
              <a:gdLst>
                <a:gd name="T0" fmla="*/ 0 w 8"/>
                <a:gd name="T1" fmla="*/ 0 h 8"/>
                <a:gd name="T2" fmla="*/ 7 w 8"/>
                <a:gd name="T3" fmla="*/ 7 h 8"/>
                <a:gd name="T4" fmla="*/ 0 w 8"/>
                <a:gd name="T5" fmla="*/ 7 h 8"/>
                <a:gd name="T6" fmla="*/ 0 w 8"/>
                <a:gd name="T7" fmla="*/ 0 h 8"/>
              </a:gdLst>
              <a:ahLst/>
              <a:cxnLst>
                <a:cxn ang="0">
                  <a:pos x="T0" y="T1"/>
                </a:cxn>
                <a:cxn ang="0">
                  <a:pos x="T2" y="T3"/>
                </a:cxn>
                <a:cxn ang="0">
                  <a:pos x="T4" y="T5"/>
                </a:cxn>
                <a:cxn ang="0">
                  <a:pos x="T6" y="T7"/>
                </a:cxn>
              </a:cxnLst>
              <a:rect l="0" t="0" r="r" b="b"/>
              <a:pathLst>
                <a:path w="8" h="8">
                  <a:moveTo>
                    <a:pt x="0" y="0"/>
                  </a:moveTo>
                  <a:lnTo>
                    <a:pt x="7" y="7"/>
                  </a:lnTo>
                  <a:lnTo>
                    <a:pt x="0" y="7"/>
                  </a:lnTo>
                  <a:lnTo>
                    <a:pt x="0" y="0"/>
                  </a:lnTo>
                </a:path>
              </a:pathLst>
            </a:custGeom>
            <a:grpFill/>
            <a:ln w="9525" cap="flat" cmpd="sng">
              <a:solidFill>
                <a:schemeClr val="bg1"/>
              </a:solid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46" name="Freeform 43">
              <a:extLst>
                <a:ext uri="{FF2B5EF4-FFF2-40B4-BE49-F238E27FC236}">
                  <a16:creationId xmlns:a16="http://schemas.microsoft.com/office/drawing/2014/main" id="{CC7DBB71-B293-44D1-B221-D7EB3BB5E329}"/>
                </a:ext>
              </a:extLst>
            </p:cNvPr>
            <p:cNvSpPr>
              <a:spLocks noChangeArrowheads="1"/>
            </p:cNvSpPr>
            <p:nvPr/>
          </p:nvSpPr>
          <p:spPr bwMode="auto">
            <a:xfrm>
              <a:off x="17560057" y="12001589"/>
              <a:ext cx="10356" cy="4142"/>
            </a:xfrm>
            <a:custGeom>
              <a:avLst/>
              <a:gdLst>
                <a:gd name="T0" fmla="*/ 0 w 22"/>
                <a:gd name="T1" fmla="*/ 0 h 8"/>
                <a:gd name="T2" fmla="*/ 21 w 22"/>
                <a:gd name="T3" fmla="*/ 7 h 8"/>
                <a:gd name="T4" fmla="*/ 0 w 22"/>
                <a:gd name="T5" fmla="*/ 0 h 8"/>
              </a:gdLst>
              <a:ahLst/>
              <a:cxnLst>
                <a:cxn ang="0">
                  <a:pos x="T0" y="T1"/>
                </a:cxn>
                <a:cxn ang="0">
                  <a:pos x="T2" y="T3"/>
                </a:cxn>
                <a:cxn ang="0">
                  <a:pos x="T4" y="T5"/>
                </a:cxn>
              </a:cxnLst>
              <a:rect l="0" t="0" r="r" b="b"/>
              <a:pathLst>
                <a:path w="22" h="8">
                  <a:moveTo>
                    <a:pt x="0" y="0"/>
                  </a:moveTo>
                  <a:lnTo>
                    <a:pt x="21" y="7"/>
                  </a:lnTo>
                  <a:lnTo>
                    <a:pt x="0" y="0"/>
                  </a:lnTo>
                </a:path>
              </a:pathLst>
            </a:custGeom>
            <a:grpFill/>
            <a:ln w="9525" cap="flat" cmpd="sng">
              <a:solidFill>
                <a:schemeClr val="bg1"/>
              </a:solid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47" name="Freeform 44">
              <a:extLst>
                <a:ext uri="{FF2B5EF4-FFF2-40B4-BE49-F238E27FC236}">
                  <a16:creationId xmlns:a16="http://schemas.microsoft.com/office/drawing/2014/main" id="{7BE14AB6-9EC6-45BD-9E0E-57F5937D00A6}"/>
                </a:ext>
              </a:extLst>
            </p:cNvPr>
            <p:cNvSpPr>
              <a:spLocks noChangeArrowheads="1"/>
            </p:cNvSpPr>
            <p:nvPr/>
          </p:nvSpPr>
          <p:spPr bwMode="auto">
            <a:xfrm>
              <a:off x="19643593" y="13233980"/>
              <a:ext cx="4142" cy="4142"/>
            </a:xfrm>
            <a:custGeom>
              <a:avLst/>
              <a:gdLst>
                <a:gd name="T0" fmla="*/ 0 w 7"/>
                <a:gd name="T1" fmla="*/ 7 h 8"/>
                <a:gd name="T2" fmla="*/ 6 w 7"/>
                <a:gd name="T3" fmla="*/ 7 h 8"/>
                <a:gd name="T4" fmla="*/ 0 w 7"/>
                <a:gd name="T5" fmla="*/ 0 h 8"/>
                <a:gd name="T6" fmla="*/ 0 w 7"/>
                <a:gd name="T7" fmla="*/ 7 h 8"/>
              </a:gdLst>
              <a:ahLst/>
              <a:cxnLst>
                <a:cxn ang="0">
                  <a:pos x="T0" y="T1"/>
                </a:cxn>
                <a:cxn ang="0">
                  <a:pos x="T2" y="T3"/>
                </a:cxn>
                <a:cxn ang="0">
                  <a:pos x="T4" y="T5"/>
                </a:cxn>
                <a:cxn ang="0">
                  <a:pos x="T6" y="T7"/>
                </a:cxn>
              </a:cxnLst>
              <a:rect l="0" t="0" r="r" b="b"/>
              <a:pathLst>
                <a:path w="7" h="8">
                  <a:moveTo>
                    <a:pt x="0" y="7"/>
                  </a:moveTo>
                  <a:lnTo>
                    <a:pt x="6" y="7"/>
                  </a:lnTo>
                  <a:lnTo>
                    <a:pt x="0" y="0"/>
                  </a:lnTo>
                  <a:lnTo>
                    <a:pt x="0" y="7"/>
                  </a:lnTo>
                </a:path>
              </a:pathLst>
            </a:custGeom>
            <a:grpFill/>
            <a:ln w="9525" cap="flat" cmpd="sng">
              <a:solidFill>
                <a:schemeClr val="bg1"/>
              </a:solid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48" name="Freeform 45">
              <a:extLst>
                <a:ext uri="{FF2B5EF4-FFF2-40B4-BE49-F238E27FC236}">
                  <a16:creationId xmlns:a16="http://schemas.microsoft.com/office/drawing/2014/main" id="{FC3D6742-C761-452A-8432-23D42B712A0B}"/>
                </a:ext>
              </a:extLst>
            </p:cNvPr>
            <p:cNvSpPr>
              <a:spLocks noChangeArrowheads="1"/>
            </p:cNvSpPr>
            <p:nvPr/>
          </p:nvSpPr>
          <p:spPr bwMode="auto">
            <a:xfrm>
              <a:off x="19618740" y="11197946"/>
              <a:ext cx="4142" cy="4142"/>
            </a:xfrm>
            <a:custGeom>
              <a:avLst/>
              <a:gdLst>
                <a:gd name="T0" fmla="*/ 0 w 8"/>
                <a:gd name="T1" fmla="*/ 7 h 8"/>
                <a:gd name="T2" fmla="*/ 7 w 8"/>
                <a:gd name="T3" fmla="*/ 0 h 8"/>
                <a:gd name="T4" fmla="*/ 0 w 8"/>
                <a:gd name="T5" fmla="*/ 0 h 8"/>
                <a:gd name="T6" fmla="*/ 0 w 8"/>
                <a:gd name="T7" fmla="*/ 7 h 8"/>
              </a:gdLst>
              <a:ahLst/>
              <a:cxnLst>
                <a:cxn ang="0">
                  <a:pos x="T0" y="T1"/>
                </a:cxn>
                <a:cxn ang="0">
                  <a:pos x="T2" y="T3"/>
                </a:cxn>
                <a:cxn ang="0">
                  <a:pos x="T4" y="T5"/>
                </a:cxn>
                <a:cxn ang="0">
                  <a:pos x="T6" y="T7"/>
                </a:cxn>
              </a:cxnLst>
              <a:rect l="0" t="0" r="r" b="b"/>
              <a:pathLst>
                <a:path w="8" h="8">
                  <a:moveTo>
                    <a:pt x="0" y="7"/>
                  </a:moveTo>
                  <a:lnTo>
                    <a:pt x="7" y="0"/>
                  </a:lnTo>
                  <a:lnTo>
                    <a:pt x="0" y="0"/>
                  </a:lnTo>
                  <a:lnTo>
                    <a:pt x="0" y="7"/>
                  </a:lnTo>
                </a:path>
              </a:pathLst>
            </a:custGeom>
            <a:grpFill/>
            <a:ln w="9525" cap="flat" cmpd="sng">
              <a:solidFill>
                <a:schemeClr val="bg1"/>
              </a:solid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49" name="Freeform 46">
              <a:extLst>
                <a:ext uri="{FF2B5EF4-FFF2-40B4-BE49-F238E27FC236}">
                  <a16:creationId xmlns:a16="http://schemas.microsoft.com/office/drawing/2014/main" id="{8B7200D5-465D-43C3-B86A-2018FF3481F8}"/>
                </a:ext>
              </a:extLst>
            </p:cNvPr>
            <p:cNvSpPr>
              <a:spLocks noChangeArrowheads="1"/>
            </p:cNvSpPr>
            <p:nvPr/>
          </p:nvSpPr>
          <p:spPr bwMode="auto">
            <a:xfrm>
              <a:off x="20016392" y="9677651"/>
              <a:ext cx="1219884" cy="2294939"/>
            </a:xfrm>
            <a:custGeom>
              <a:avLst/>
              <a:gdLst>
                <a:gd name="T0" fmla="*/ 2519 w 2596"/>
                <a:gd name="T1" fmla="*/ 1627 h 4884"/>
                <a:gd name="T2" fmla="*/ 2435 w 2596"/>
                <a:gd name="T3" fmla="*/ 1961 h 4884"/>
                <a:gd name="T4" fmla="*/ 2456 w 2596"/>
                <a:gd name="T5" fmla="*/ 2309 h 4884"/>
                <a:gd name="T6" fmla="*/ 2568 w 2596"/>
                <a:gd name="T7" fmla="*/ 2441 h 4884"/>
                <a:gd name="T8" fmla="*/ 2526 w 2596"/>
                <a:gd name="T9" fmla="*/ 2539 h 4884"/>
                <a:gd name="T10" fmla="*/ 2408 w 2596"/>
                <a:gd name="T11" fmla="*/ 2713 h 4884"/>
                <a:gd name="T12" fmla="*/ 2234 w 2596"/>
                <a:gd name="T13" fmla="*/ 2643 h 4884"/>
                <a:gd name="T14" fmla="*/ 1969 w 2596"/>
                <a:gd name="T15" fmla="*/ 2706 h 4884"/>
                <a:gd name="T16" fmla="*/ 1614 w 2596"/>
                <a:gd name="T17" fmla="*/ 2907 h 4884"/>
                <a:gd name="T18" fmla="*/ 1531 w 2596"/>
                <a:gd name="T19" fmla="*/ 3074 h 4884"/>
                <a:gd name="T20" fmla="*/ 1531 w 2596"/>
                <a:gd name="T21" fmla="*/ 3207 h 4884"/>
                <a:gd name="T22" fmla="*/ 1538 w 2596"/>
                <a:gd name="T23" fmla="*/ 3367 h 4884"/>
                <a:gd name="T24" fmla="*/ 1573 w 2596"/>
                <a:gd name="T25" fmla="*/ 3666 h 4884"/>
                <a:gd name="T26" fmla="*/ 1468 w 2596"/>
                <a:gd name="T27" fmla="*/ 3867 h 4884"/>
                <a:gd name="T28" fmla="*/ 1148 w 2596"/>
                <a:gd name="T29" fmla="*/ 4055 h 4884"/>
                <a:gd name="T30" fmla="*/ 995 w 2596"/>
                <a:gd name="T31" fmla="*/ 4264 h 4884"/>
                <a:gd name="T32" fmla="*/ 877 w 2596"/>
                <a:gd name="T33" fmla="*/ 4445 h 4884"/>
                <a:gd name="T34" fmla="*/ 724 w 2596"/>
                <a:gd name="T35" fmla="*/ 4855 h 4884"/>
                <a:gd name="T36" fmla="*/ 439 w 2596"/>
                <a:gd name="T37" fmla="*/ 4855 h 4884"/>
                <a:gd name="T38" fmla="*/ 188 w 2596"/>
                <a:gd name="T39" fmla="*/ 4855 h 4884"/>
                <a:gd name="T40" fmla="*/ 28 w 2596"/>
                <a:gd name="T41" fmla="*/ 4716 h 4884"/>
                <a:gd name="T42" fmla="*/ 28 w 2596"/>
                <a:gd name="T43" fmla="*/ 4542 h 4884"/>
                <a:gd name="T44" fmla="*/ 28 w 2596"/>
                <a:gd name="T45" fmla="*/ 4333 h 4884"/>
                <a:gd name="T46" fmla="*/ 147 w 2596"/>
                <a:gd name="T47" fmla="*/ 4146 h 4884"/>
                <a:gd name="T48" fmla="*/ 327 w 2596"/>
                <a:gd name="T49" fmla="*/ 4013 h 4884"/>
                <a:gd name="T50" fmla="*/ 404 w 2596"/>
                <a:gd name="T51" fmla="*/ 3784 h 4884"/>
                <a:gd name="T52" fmla="*/ 453 w 2596"/>
                <a:gd name="T53" fmla="*/ 3457 h 4884"/>
                <a:gd name="T54" fmla="*/ 397 w 2596"/>
                <a:gd name="T55" fmla="*/ 3227 h 4884"/>
                <a:gd name="T56" fmla="*/ 599 w 2596"/>
                <a:gd name="T57" fmla="*/ 3109 h 4884"/>
                <a:gd name="T58" fmla="*/ 821 w 2596"/>
                <a:gd name="T59" fmla="*/ 3116 h 4884"/>
                <a:gd name="T60" fmla="*/ 961 w 2596"/>
                <a:gd name="T61" fmla="*/ 2921 h 4884"/>
                <a:gd name="T62" fmla="*/ 947 w 2596"/>
                <a:gd name="T63" fmla="*/ 2643 h 4884"/>
                <a:gd name="T64" fmla="*/ 856 w 2596"/>
                <a:gd name="T65" fmla="*/ 2573 h 4884"/>
                <a:gd name="T66" fmla="*/ 717 w 2596"/>
                <a:gd name="T67" fmla="*/ 2177 h 4884"/>
                <a:gd name="T68" fmla="*/ 696 w 2596"/>
                <a:gd name="T69" fmla="*/ 1892 h 4884"/>
                <a:gd name="T70" fmla="*/ 564 w 2596"/>
                <a:gd name="T71" fmla="*/ 1488 h 4884"/>
                <a:gd name="T72" fmla="*/ 432 w 2596"/>
                <a:gd name="T73" fmla="*/ 1314 h 4884"/>
                <a:gd name="T74" fmla="*/ 321 w 2596"/>
                <a:gd name="T75" fmla="*/ 1029 h 4884"/>
                <a:gd name="T76" fmla="*/ 286 w 2596"/>
                <a:gd name="T77" fmla="*/ 841 h 4884"/>
                <a:gd name="T78" fmla="*/ 265 w 2596"/>
                <a:gd name="T79" fmla="*/ 626 h 4884"/>
                <a:gd name="T80" fmla="*/ 237 w 2596"/>
                <a:gd name="T81" fmla="*/ 438 h 4884"/>
                <a:gd name="T82" fmla="*/ 369 w 2596"/>
                <a:gd name="T83" fmla="*/ 313 h 4884"/>
                <a:gd name="T84" fmla="*/ 494 w 2596"/>
                <a:gd name="T85" fmla="*/ 313 h 4884"/>
                <a:gd name="T86" fmla="*/ 634 w 2596"/>
                <a:gd name="T87" fmla="*/ 320 h 4884"/>
                <a:gd name="T88" fmla="*/ 634 w 2596"/>
                <a:gd name="T89" fmla="*/ 389 h 4884"/>
                <a:gd name="T90" fmla="*/ 689 w 2596"/>
                <a:gd name="T91" fmla="*/ 549 h 4884"/>
                <a:gd name="T92" fmla="*/ 849 w 2596"/>
                <a:gd name="T93" fmla="*/ 521 h 4884"/>
                <a:gd name="T94" fmla="*/ 961 w 2596"/>
                <a:gd name="T95" fmla="*/ 542 h 4884"/>
                <a:gd name="T96" fmla="*/ 1128 w 2596"/>
                <a:gd name="T97" fmla="*/ 473 h 4884"/>
                <a:gd name="T98" fmla="*/ 1211 w 2596"/>
                <a:gd name="T99" fmla="*/ 487 h 4884"/>
                <a:gd name="T100" fmla="*/ 1239 w 2596"/>
                <a:gd name="T101" fmla="*/ 320 h 4884"/>
                <a:gd name="T102" fmla="*/ 1274 w 2596"/>
                <a:gd name="T103" fmla="*/ 187 h 4884"/>
                <a:gd name="T104" fmla="*/ 1336 w 2596"/>
                <a:gd name="T105" fmla="*/ 27 h 4884"/>
                <a:gd name="T106" fmla="*/ 1454 w 2596"/>
                <a:gd name="T107" fmla="*/ 34 h 4884"/>
                <a:gd name="T108" fmla="*/ 1649 w 2596"/>
                <a:gd name="T109" fmla="*/ 34 h 4884"/>
                <a:gd name="T110" fmla="*/ 1607 w 2596"/>
                <a:gd name="T111" fmla="*/ 208 h 4884"/>
                <a:gd name="T112" fmla="*/ 1566 w 2596"/>
                <a:gd name="T113" fmla="*/ 514 h 4884"/>
                <a:gd name="T114" fmla="*/ 1413 w 2596"/>
                <a:gd name="T115" fmla="*/ 786 h 4884"/>
                <a:gd name="T116" fmla="*/ 1566 w 2596"/>
                <a:gd name="T117" fmla="*/ 1106 h 4884"/>
                <a:gd name="T118" fmla="*/ 1962 w 2596"/>
                <a:gd name="T119" fmla="*/ 1210 h 4884"/>
                <a:gd name="T120" fmla="*/ 2143 w 2596"/>
                <a:gd name="T121" fmla="*/ 1391 h 48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596" h="4884">
                  <a:moveTo>
                    <a:pt x="2303" y="1447"/>
                  </a:moveTo>
                  <a:lnTo>
                    <a:pt x="2352" y="1544"/>
                  </a:lnTo>
                  <a:lnTo>
                    <a:pt x="2421" y="1593"/>
                  </a:lnTo>
                  <a:lnTo>
                    <a:pt x="2519" y="1627"/>
                  </a:lnTo>
                  <a:lnTo>
                    <a:pt x="2505" y="1655"/>
                  </a:lnTo>
                  <a:lnTo>
                    <a:pt x="2449" y="1801"/>
                  </a:lnTo>
                  <a:lnTo>
                    <a:pt x="2435" y="1864"/>
                  </a:lnTo>
                  <a:lnTo>
                    <a:pt x="2435" y="1961"/>
                  </a:lnTo>
                  <a:lnTo>
                    <a:pt x="2491" y="2031"/>
                  </a:lnTo>
                  <a:lnTo>
                    <a:pt x="2498" y="2079"/>
                  </a:lnTo>
                  <a:lnTo>
                    <a:pt x="2449" y="2233"/>
                  </a:lnTo>
                  <a:lnTo>
                    <a:pt x="2456" y="2309"/>
                  </a:lnTo>
                  <a:lnTo>
                    <a:pt x="2484" y="2323"/>
                  </a:lnTo>
                  <a:lnTo>
                    <a:pt x="2484" y="2330"/>
                  </a:lnTo>
                  <a:lnTo>
                    <a:pt x="2491" y="2386"/>
                  </a:lnTo>
                  <a:lnTo>
                    <a:pt x="2568" y="2441"/>
                  </a:lnTo>
                  <a:lnTo>
                    <a:pt x="2595" y="2448"/>
                  </a:lnTo>
                  <a:lnTo>
                    <a:pt x="2547" y="2490"/>
                  </a:lnTo>
                  <a:lnTo>
                    <a:pt x="2533" y="2511"/>
                  </a:lnTo>
                  <a:lnTo>
                    <a:pt x="2526" y="2539"/>
                  </a:lnTo>
                  <a:lnTo>
                    <a:pt x="2533" y="2594"/>
                  </a:lnTo>
                  <a:lnTo>
                    <a:pt x="2519" y="2622"/>
                  </a:lnTo>
                  <a:lnTo>
                    <a:pt x="2421" y="2740"/>
                  </a:lnTo>
                  <a:lnTo>
                    <a:pt x="2408" y="2713"/>
                  </a:lnTo>
                  <a:lnTo>
                    <a:pt x="2331" y="2678"/>
                  </a:lnTo>
                  <a:lnTo>
                    <a:pt x="2303" y="2706"/>
                  </a:lnTo>
                  <a:lnTo>
                    <a:pt x="2268" y="2685"/>
                  </a:lnTo>
                  <a:lnTo>
                    <a:pt x="2234" y="2643"/>
                  </a:lnTo>
                  <a:lnTo>
                    <a:pt x="2227" y="2643"/>
                  </a:lnTo>
                  <a:lnTo>
                    <a:pt x="2087" y="2657"/>
                  </a:lnTo>
                  <a:lnTo>
                    <a:pt x="2060" y="2671"/>
                  </a:lnTo>
                  <a:lnTo>
                    <a:pt x="1969" y="2706"/>
                  </a:lnTo>
                  <a:lnTo>
                    <a:pt x="1928" y="2719"/>
                  </a:lnTo>
                  <a:lnTo>
                    <a:pt x="1781" y="2803"/>
                  </a:lnTo>
                  <a:lnTo>
                    <a:pt x="1740" y="2838"/>
                  </a:lnTo>
                  <a:lnTo>
                    <a:pt x="1614" y="2907"/>
                  </a:lnTo>
                  <a:lnTo>
                    <a:pt x="1580" y="2970"/>
                  </a:lnTo>
                  <a:lnTo>
                    <a:pt x="1552" y="3012"/>
                  </a:lnTo>
                  <a:lnTo>
                    <a:pt x="1552" y="3019"/>
                  </a:lnTo>
                  <a:lnTo>
                    <a:pt x="1531" y="3074"/>
                  </a:lnTo>
                  <a:lnTo>
                    <a:pt x="1510" y="3102"/>
                  </a:lnTo>
                  <a:lnTo>
                    <a:pt x="1489" y="3137"/>
                  </a:lnTo>
                  <a:lnTo>
                    <a:pt x="1517" y="3179"/>
                  </a:lnTo>
                  <a:lnTo>
                    <a:pt x="1531" y="3207"/>
                  </a:lnTo>
                  <a:lnTo>
                    <a:pt x="1531" y="3234"/>
                  </a:lnTo>
                  <a:lnTo>
                    <a:pt x="1531" y="3262"/>
                  </a:lnTo>
                  <a:lnTo>
                    <a:pt x="1531" y="3297"/>
                  </a:lnTo>
                  <a:lnTo>
                    <a:pt x="1538" y="3367"/>
                  </a:lnTo>
                  <a:lnTo>
                    <a:pt x="1545" y="3401"/>
                  </a:lnTo>
                  <a:lnTo>
                    <a:pt x="1552" y="3471"/>
                  </a:lnTo>
                  <a:lnTo>
                    <a:pt x="1566" y="3596"/>
                  </a:lnTo>
                  <a:lnTo>
                    <a:pt x="1573" y="3666"/>
                  </a:lnTo>
                  <a:lnTo>
                    <a:pt x="1552" y="3763"/>
                  </a:lnTo>
                  <a:lnTo>
                    <a:pt x="1545" y="3770"/>
                  </a:lnTo>
                  <a:lnTo>
                    <a:pt x="1510" y="3819"/>
                  </a:lnTo>
                  <a:lnTo>
                    <a:pt x="1468" y="3867"/>
                  </a:lnTo>
                  <a:lnTo>
                    <a:pt x="1413" y="3923"/>
                  </a:lnTo>
                  <a:lnTo>
                    <a:pt x="1343" y="3965"/>
                  </a:lnTo>
                  <a:lnTo>
                    <a:pt x="1190" y="4027"/>
                  </a:lnTo>
                  <a:lnTo>
                    <a:pt x="1148" y="4055"/>
                  </a:lnTo>
                  <a:lnTo>
                    <a:pt x="1141" y="4062"/>
                  </a:lnTo>
                  <a:lnTo>
                    <a:pt x="1079" y="4153"/>
                  </a:lnTo>
                  <a:lnTo>
                    <a:pt x="1009" y="4250"/>
                  </a:lnTo>
                  <a:lnTo>
                    <a:pt x="995" y="4264"/>
                  </a:lnTo>
                  <a:lnTo>
                    <a:pt x="982" y="4285"/>
                  </a:lnTo>
                  <a:lnTo>
                    <a:pt x="926" y="4347"/>
                  </a:lnTo>
                  <a:lnTo>
                    <a:pt x="884" y="4417"/>
                  </a:lnTo>
                  <a:lnTo>
                    <a:pt x="877" y="4445"/>
                  </a:lnTo>
                  <a:lnTo>
                    <a:pt x="835" y="4653"/>
                  </a:lnTo>
                  <a:lnTo>
                    <a:pt x="821" y="4702"/>
                  </a:lnTo>
                  <a:lnTo>
                    <a:pt x="801" y="4744"/>
                  </a:lnTo>
                  <a:lnTo>
                    <a:pt x="724" y="4855"/>
                  </a:lnTo>
                  <a:lnTo>
                    <a:pt x="620" y="4876"/>
                  </a:lnTo>
                  <a:lnTo>
                    <a:pt x="571" y="4876"/>
                  </a:lnTo>
                  <a:lnTo>
                    <a:pt x="529" y="4869"/>
                  </a:lnTo>
                  <a:lnTo>
                    <a:pt x="439" y="4855"/>
                  </a:lnTo>
                  <a:lnTo>
                    <a:pt x="342" y="4876"/>
                  </a:lnTo>
                  <a:lnTo>
                    <a:pt x="293" y="4876"/>
                  </a:lnTo>
                  <a:lnTo>
                    <a:pt x="237" y="4883"/>
                  </a:lnTo>
                  <a:lnTo>
                    <a:pt x="188" y="4855"/>
                  </a:lnTo>
                  <a:lnTo>
                    <a:pt x="167" y="4855"/>
                  </a:lnTo>
                  <a:lnTo>
                    <a:pt x="105" y="4806"/>
                  </a:lnTo>
                  <a:lnTo>
                    <a:pt x="91" y="4806"/>
                  </a:lnTo>
                  <a:lnTo>
                    <a:pt x="28" y="4716"/>
                  </a:lnTo>
                  <a:lnTo>
                    <a:pt x="8" y="4660"/>
                  </a:lnTo>
                  <a:lnTo>
                    <a:pt x="42" y="4626"/>
                  </a:lnTo>
                  <a:lnTo>
                    <a:pt x="35" y="4563"/>
                  </a:lnTo>
                  <a:lnTo>
                    <a:pt x="28" y="4542"/>
                  </a:lnTo>
                  <a:lnTo>
                    <a:pt x="0" y="4493"/>
                  </a:lnTo>
                  <a:lnTo>
                    <a:pt x="35" y="4424"/>
                  </a:lnTo>
                  <a:lnTo>
                    <a:pt x="35" y="4382"/>
                  </a:lnTo>
                  <a:lnTo>
                    <a:pt x="28" y="4333"/>
                  </a:lnTo>
                  <a:lnTo>
                    <a:pt x="8" y="4250"/>
                  </a:lnTo>
                  <a:lnTo>
                    <a:pt x="14" y="4187"/>
                  </a:lnTo>
                  <a:lnTo>
                    <a:pt x="98" y="4153"/>
                  </a:lnTo>
                  <a:lnTo>
                    <a:pt x="147" y="4146"/>
                  </a:lnTo>
                  <a:lnTo>
                    <a:pt x="202" y="4125"/>
                  </a:lnTo>
                  <a:lnTo>
                    <a:pt x="230" y="4104"/>
                  </a:lnTo>
                  <a:lnTo>
                    <a:pt x="307" y="4034"/>
                  </a:lnTo>
                  <a:lnTo>
                    <a:pt x="327" y="4013"/>
                  </a:lnTo>
                  <a:lnTo>
                    <a:pt x="334" y="3951"/>
                  </a:lnTo>
                  <a:lnTo>
                    <a:pt x="355" y="3895"/>
                  </a:lnTo>
                  <a:lnTo>
                    <a:pt x="390" y="3832"/>
                  </a:lnTo>
                  <a:lnTo>
                    <a:pt x="404" y="3784"/>
                  </a:lnTo>
                  <a:lnTo>
                    <a:pt x="467" y="3666"/>
                  </a:lnTo>
                  <a:lnTo>
                    <a:pt x="474" y="3589"/>
                  </a:lnTo>
                  <a:lnTo>
                    <a:pt x="501" y="3506"/>
                  </a:lnTo>
                  <a:lnTo>
                    <a:pt x="453" y="3457"/>
                  </a:lnTo>
                  <a:lnTo>
                    <a:pt x="376" y="3373"/>
                  </a:lnTo>
                  <a:lnTo>
                    <a:pt x="327" y="3332"/>
                  </a:lnTo>
                  <a:lnTo>
                    <a:pt x="369" y="3241"/>
                  </a:lnTo>
                  <a:lnTo>
                    <a:pt x="397" y="3227"/>
                  </a:lnTo>
                  <a:lnTo>
                    <a:pt x="460" y="3207"/>
                  </a:lnTo>
                  <a:lnTo>
                    <a:pt x="550" y="3165"/>
                  </a:lnTo>
                  <a:lnTo>
                    <a:pt x="550" y="3151"/>
                  </a:lnTo>
                  <a:lnTo>
                    <a:pt x="599" y="3109"/>
                  </a:lnTo>
                  <a:lnTo>
                    <a:pt x="682" y="3102"/>
                  </a:lnTo>
                  <a:lnTo>
                    <a:pt x="731" y="3116"/>
                  </a:lnTo>
                  <a:lnTo>
                    <a:pt x="801" y="3130"/>
                  </a:lnTo>
                  <a:lnTo>
                    <a:pt x="821" y="3116"/>
                  </a:lnTo>
                  <a:lnTo>
                    <a:pt x="821" y="3130"/>
                  </a:lnTo>
                  <a:lnTo>
                    <a:pt x="856" y="3109"/>
                  </a:lnTo>
                  <a:lnTo>
                    <a:pt x="919" y="3040"/>
                  </a:lnTo>
                  <a:lnTo>
                    <a:pt x="961" y="2921"/>
                  </a:lnTo>
                  <a:lnTo>
                    <a:pt x="982" y="2838"/>
                  </a:lnTo>
                  <a:lnTo>
                    <a:pt x="974" y="2671"/>
                  </a:lnTo>
                  <a:lnTo>
                    <a:pt x="954" y="2650"/>
                  </a:lnTo>
                  <a:lnTo>
                    <a:pt x="947" y="2643"/>
                  </a:lnTo>
                  <a:lnTo>
                    <a:pt x="947" y="2650"/>
                  </a:lnTo>
                  <a:lnTo>
                    <a:pt x="926" y="2650"/>
                  </a:lnTo>
                  <a:lnTo>
                    <a:pt x="877" y="2622"/>
                  </a:lnTo>
                  <a:lnTo>
                    <a:pt x="856" y="2573"/>
                  </a:lnTo>
                  <a:lnTo>
                    <a:pt x="821" y="2504"/>
                  </a:lnTo>
                  <a:lnTo>
                    <a:pt x="787" y="2462"/>
                  </a:lnTo>
                  <a:lnTo>
                    <a:pt x="766" y="2406"/>
                  </a:lnTo>
                  <a:lnTo>
                    <a:pt x="717" y="2177"/>
                  </a:lnTo>
                  <a:lnTo>
                    <a:pt x="717" y="2093"/>
                  </a:lnTo>
                  <a:lnTo>
                    <a:pt x="703" y="2024"/>
                  </a:lnTo>
                  <a:lnTo>
                    <a:pt x="703" y="1947"/>
                  </a:lnTo>
                  <a:lnTo>
                    <a:pt x="696" y="1892"/>
                  </a:lnTo>
                  <a:lnTo>
                    <a:pt x="682" y="1794"/>
                  </a:lnTo>
                  <a:lnTo>
                    <a:pt x="648" y="1662"/>
                  </a:lnTo>
                  <a:lnTo>
                    <a:pt x="599" y="1530"/>
                  </a:lnTo>
                  <a:lnTo>
                    <a:pt x="564" y="1488"/>
                  </a:lnTo>
                  <a:lnTo>
                    <a:pt x="529" y="1412"/>
                  </a:lnTo>
                  <a:lnTo>
                    <a:pt x="460" y="1328"/>
                  </a:lnTo>
                  <a:lnTo>
                    <a:pt x="432" y="1328"/>
                  </a:lnTo>
                  <a:lnTo>
                    <a:pt x="432" y="1314"/>
                  </a:lnTo>
                  <a:lnTo>
                    <a:pt x="390" y="1238"/>
                  </a:lnTo>
                  <a:lnTo>
                    <a:pt x="376" y="1203"/>
                  </a:lnTo>
                  <a:lnTo>
                    <a:pt x="334" y="1043"/>
                  </a:lnTo>
                  <a:lnTo>
                    <a:pt x="321" y="1029"/>
                  </a:lnTo>
                  <a:lnTo>
                    <a:pt x="300" y="974"/>
                  </a:lnTo>
                  <a:lnTo>
                    <a:pt x="300" y="904"/>
                  </a:lnTo>
                  <a:lnTo>
                    <a:pt x="293" y="876"/>
                  </a:lnTo>
                  <a:lnTo>
                    <a:pt x="286" y="841"/>
                  </a:lnTo>
                  <a:lnTo>
                    <a:pt x="258" y="709"/>
                  </a:lnTo>
                  <a:lnTo>
                    <a:pt x="244" y="681"/>
                  </a:lnTo>
                  <a:lnTo>
                    <a:pt x="237" y="667"/>
                  </a:lnTo>
                  <a:lnTo>
                    <a:pt x="265" y="626"/>
                  </a:lnTo>
                  <a:lnTo>
                    <a:pt x="265" y="605"/>
                  </a:lnTo>
                  <a:lnTo>
                    <a:pt x="230" y="514"/>
                  </a:lnTo>
                  <a:lnTo>
                    <a:pt x="209" y="480"/>
                  </a:lnTo>
                  <a:lnTo>
                    <a:pt x="237" y="438"/>
                  </a:lnTo>
                  <a:lnTo>
                    <a:pt x="244" y="389"/>
                  </a:lnTo>
                  <a:lnTo>
                    <a:pt x="265" y="382"/>
                  </a:lnTo>
                  <a:lnTo>
                    <a:pt x="321" y="313"/>
                  </a:lnTo>
                  <a:lnTo>
                    <a:pt x="369" y="313"/>
                  </a:lnTo>
                  <a:lnTo>
                    <a:pt x="397" y="340"/>
                  </a:lnTo>
                  <a:lnTo>
                    <a:pt x="425" y="326"/>
                  </a:lnTo>
                  <a:lnTo>
                    <a:pt x="439" y="354"/>
                  </a:lnTo>
                  <a:lnTo>
                    <a:pt x="494" y="313"/>
                  </a:lnTo>
                  <a:lnTo>
                    <a:pt x="557" y="340"/>
                  </a:lnTo>
                  <a:lnTo>
                    <a:pt x="585" y="347"/>
                  </a:lnTo>
                  <a:lnTo>
                    <a:pt x="620" y="340"/>
                  </a:lnTo>
                  <a:lnTo>
                    <a:pt x="634" y="320"/>
                  </a:lnTo>
                  <a:lnTo>
                    <a:pt x="661" y="326"/>
                  </a:lnTo>
                  <a:lnTo>
                    <a:pt x="668" y="347"/>
                  </a:lnTo>
                  <a:lnTo>
                    <a:pt x="654" y="361"/>
                  </a:lnTo>
                  <a:lnTo>
                    <a:pt x="634" y="389"/>
                  </a:lnTo>
                  <a:lnTo>
                    <a:pt x="634" y="445"/>
                  </a:lnTo>
                  <a:lnTo>
                    <a:pt x="648" y="473"/>
                  </a:lnTo>
                  <a:lnTo>
                    <a:pt x="689" y="521"/>
                  </a:lnTo>
                  <a:lnTo>
                    <a:pt x="689" y="549"/>
                  </a:lnTo>
                  <a:lnTo>
                    <a:pt x="717" y="542"/>
                  </a:lnTo>
                  <a:lnTo>
                    <a:pt x="766" y="521"/>
                  </a:lnTo>
                  <a:lnTo>
                    <a:pt x="801" y="521"/>
                  </a:lnTo>
                  <a:lnTo>
                    <a:pt x="849" y="521"/>
                  </a:lnTo>
                  <a:lnTo>
                    <a:pt x="877" y="493"/>
                  </a:lnTo>
                  <a:lnTo>
                    <a:pt x="898" y="507"/>
                  </a:lnTo>
                  <a:lnTo>
                    <a:pt x="919" y="514"/>
                  </a:lnTo>
                  <a:lnTo>
                    <a:pt x="961" y="542"/>
                  </a:lnTo>
                  <a:lnTo>
                    <a:pt x="961" y="473"/>
                  </a:lnTo>
                  <a:lnTo>
                    <a:pt x="1009" y="480"/>
                  </a:lnTo>
                  <a:lnTo>
                    <a:pt x="1072" y="459"/>
                  </a:lnTo>
                  <a:lnTo>
                    <a:pt x="1128" y="473"/>
                  </a:lnTo>
                  <a:lnTo>
                    <a:pt x="1176" y="521"/>
                  </a:lnTo>
                  <a:lnTo>
                    <a:pt x="1204" y="535"/>
                  </a:lnTo>
                  <a:lnTo>
                    <a:pt x="1204" y="493"/>
                  </a:lnTo>
                  <a:lnTo>
                    <a:pt x="1211" y="487"/>
                  </a:lnTo>
                  <a:lnTo>
                    <a:pt x="1162" y="452"/>
                  </a:lnTo>
                  <a:lnTo>
                    <a:pt x="1211" y="389"/>
                  </a:lnTo>
                  <a:lnTo>
                    <a:pt x="1218" y="375"/>
                  </a:lnTo>
                  <a:lnTo>
                    <a:pt x="1239" y="320"/>
                  </a:lnTo>
                  <a:lnTo>
                    <a:pt x="1246" y="320"/>
                  </a:lnTo>
                  <a:lnTo>
                    <a:pt x="1260" y="257"/>
                  </a:lnTo>
                  <a:lnTo>
                    <a:pt x="1274" y="194"/>
                  </a:lnTo>
                  <a:lnTo>
                    <a:pt x="1274" y="187"/>
                  </a:lnTo>
                  <a:lnTo>
                    <a:pt x="1288" y="118"/>
                  </a:lnTo>
                  <a:lnTo>
                    <a:pt x="1288" y="34"/>
                  </a:lnTo>
                  <a:lnTo>
                    <a:pt x="1308" y="0"/>
                  </a:lnTo>
                  <a:lnTo>
                    <a:pt x="1336" y="27"/>
                  </a:lnTo>
                  <a:lnTo>
                    <a:pt x="1392" y="27"/>
                  </a:lnTo>
                  <a:lnTo>
                    <a:pt x="1434" y="34"/>
                  </a:lnTo>
                  <a:lnTo>
                    <a:pt x="1441" y="27"/>
                  </a:lnTo>
                  <a:lnTo>
                    <a:pt x="1454" y="34"/>
                  </a:lnTo>
                  <a:lnTo>
                    <a:pt x="1482" y="55"/>
                  </a:lnTo>
                  <a:lnTo>
                    <a:pt x="1545" y="34"/>
                  </a:lnTo>
                  <a:lnTo>
                    <a:pt x="1601" y="27"/>
                  </a:lnTo>
                  <a:lnTo>
                    <a:pt x="1649" y="34"/>
                  </a:lnTo>
                  <a:lnTo>
                    <a:pt x="1677" y="55"/>
                  </a:lnTo>
                  <a:lnTo>
                    <a:pt x="1607" y="153"/>
                  </a:lnTo>
                  <a:lnTo>
                    <a:pt x="1607" y="194"/>
                  </a:lnTo>
                  <a:lnTo>
                    <a:pt x="1607" y="208"/>
                  </a:lnTo>
                  <a:lnTo>
                    <a:pt x="1607" y="257"/>
                  </a:lnTo>
                  <a:lnTo>
                    <a:pt x="1642" y="382"/>
                  </a:lnTo>
                  <a:lnTo>
                    <a:pt x="1649" y="389"/>
                  </a:lnTo>
                  <a:lnTo>
                    <a:pt x="1566" y="514"/>
                  </a:lnTo>
                  <a:lnTo>
                    <a:pt x="1566" y="521"/>
                  </a:lnTo>
                  <a:lnTo>
                    <a:pt x="1468" y="653"/>
                  </a:lnTo>
                  <a:lnTo>
                    <a:pt x="1420" y="765"/>
                  </a:lnTo>
                  <a:lnTo>
                    <a:pt x="1413" y="786"/>
                  </a:lnTo>
                  <a:lnTo>
                    <a:pt x="1420" y="855"/>
                  </a:lnTo>
                  <a:lnTo>
                    <a:pt x="1482" y="918"/>
                  </a:lnTo>
                  <a:lnTo>
                    <a:pt x="1482" y="1043"/>
                  </a:lnTo>
                  <a:lnTo>
                    <a:pt x="1566" y="1106"/>
                  </a:lnTo>
                  <a:lnTo>
                    <a:pt x="1670" y="1147"/>
                  </a:lnTo>
                  <a:lnTo>
                    <a:pt x="1837" y="1147"/>
                  </a:lnTo>
                  <a:lnTo>
                    <a:pt x="1879" y="1141"/>
                  </a:lnTo>
                  <a:lnTo>
                    <a:pt x="1962" y="1210"/>
                  </a:lnTo>
                  <a:lnTo>
                    <a:pt x="1990" y="1273"/>
                  </a:lnTo>
                  <a:lnTo>
                    <a:pt x="2032" y="1314"/>
                  </a:lnTo>
                  <a:lnTo>
                    <a:pt x="2095" y="1356"/>
                  </a:lnTo>
                  <a:lnTo>
                    <a:pt x="2143" y="1391"/>
                  </a:lnTo>
                  <a:lnTo>
                    <a:pt x="2234" y="1433"/>
                  </a:lnTo>
                  <a:lnTo>
                    <a:pt x="2303" y="1447"/>
                  </a:lnTo>
                </a:path>
              </a:pathLst>
            </a:custGeom>
            <a:grpFill/>
            <a:ln w="9525" cap="flat" cmpd="sng">
              <a:solidFill>
                <a:schemeClr val="bg1"/>
              </a:solid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50" name="Freeform 47">
              <a:extLst>
                <a:ext uri="{FF2B5EF4-FFF2-40B4-BE49-F238E27FC236}">
                  <a16:creationId xmlns:a16="http://schemas.microsoft.com/office/drawing/2014/main" id="{A081E80A-A3D6-417D-9BD7-3C7DD0E57FD7}"/>
                </a:ext>
              </a:extLst>
            </p:cNvPr>
            <p:cNvSpPr>
              <a:spLocks noChangeArrowheads="1"/>
            </p:cNvSpPr>
            <p:nvPr/>
          </p:nvSpPr>
          <p:spPr bwMode="auto">
            <a:xfrm>
              <a:off x="20790987" y="9043851"/>
              <a:ext cx="10356" cy="10357"/>
            </a:xfrm>
            <a:custGeom>
              <a:avLst/>
              <a:gdLst>
                <a:gd name="T0" fmla="*/ 14 w 22"/>
                <a:gd name="T1" fmla="*/ 0 h 22"/>
                <a:gd name="T2" fmla="*/ 21 w 22"/>
                <a:gd name="T3" fmla="*/ 21 h 22"/>
                <a:gd name="T4" fmla="*/ 0 w 22"/>
                <a:gd name="T5" fmla="*/ 7 h 22"/>
                <a:gd name="T6" fmla="*/ 14 w 22"/>
                <a:gd name="T7" fmla="*/ 0 h 22"/>
              </a:gdLst>
              <a:ahLst/>
              <a:cxnLst>
                <a:cxn ang="0">
                  <a:pos x="T0" y="T1"/>
                </a:cxn>
                <a:cxn ang="0">
                  <a:pos x="T2" y="T3"/>
                </a:cxn>
                <a:cxn ang="0">
                  <a:pos x="T4" y="T5"/>
                </a:cxn>
                <a:cxn ang="0">
                  <a:pos x="T6" y="T7"/>
                </a:cxn>
              </a:cxnLst>
              <a:rect l="0" t="0" r="r" b="b"/>
              <a:pathLst>
                <a:path w="22" h="22">
                  <a:moveTo>
                    <a:pt x="14" y="0"/>
                  </a:moveTo>
                  <a:lnTo>
                    <a:pt x="21" y="21"/>
                  </a:lnTo>
                  <a:lnTo>
                    <a:pt x="0" y="7"/>
                  </a:lnTo>
                  <a:lnTo>
                    <a:pt x="14" y="0"/>
                  </a:lnTo>
                </a:path>
              </a:pathLst>
            </a:custGeom>
            <a:grpFill/>
            <a:ln w="9525" cap="flat" cmpd="sng">
              <a:solidFill>
                <a:schemeClr val="bg1"/>
              </a:solid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51" name="Freeform 48">
              <a:extLst>
                <a:ext uri="{FF2B5EF4-FFF2-40B4-BE49-F238E27FC236}">
                  <a16:creationId xmlns:a16="http://schemas.microsoft.com/office/drawing/2014/main" id="{A964090B-8FD0-4423-93DE-ADC0A7C2A289}"/>
                </a:ext>
              </a:extLst>
            </p:cNvPr>
            <p:cNvSpPr>
              <a:spLocks noChangeArrowheads="1"/>
            </p:cNvSpPr>
            <p:nvPr/>
          </p:nvSpPr>
          <p:spPr bwMode="auto">
            <a:xfrm>
              <a:off x="19788570" y="8654458"/>
              <a:ext cx="1186747" cy="1282101"/>
            </a:xfrm>
            <a:custGeom>
              <a:avLst/>
              <a:gdLst>
                <a:gd name="T0" fmla="*/ 1822 w 2526"/>
                <a:gd name="T1" fmla="*/ 2205 h 2728"/>
                <a:gd name="T2" fmla="*/ 1968 w 2526"/>
                <a:gd name="T3" fmla="*/ 2233 h 2728"/>
                <a:gd name="T4" fmla="*/ 2191 w 2526"/>
                <a:gd name="T5" fmla="*/ 2205 h 2728"/>
                <a:gd name="T6" fmla="*/ 2434 w 2526"/>
                <a:gd name="T7" fmla="*/ 1781 h 2728"/>
                <a:gd name="T8" fmla="*/ 2476 w 2526"/>
                <a:gd name="T9" fmla="*/ 1586 h 2728"/>
                <a:gd name="T10" fmla="*/ 2358 w 2526"/>
                <a:gd name="T11" fmla="*/ 1454 h 2728"/>
                <a:gd name="T12" fmla="*/ 2288 w 2526"/>
                <a:gd name="T13" fmla="*/ 1322 h 2728"/>
                <a:gd name="T14" fmla="*/ 2267 w 2526"/>
                <a:gd name="T15" fmla="*/ 1113 h 2728"/>
                <a:gd name="T16" fmla="*/ 2288 w 2526"/>
                <a:gd name="T17" fmla="*/ 926 h 2728"/>
                <a:gd name="T18" fmla="*/ 2163 w 2526"/>
                <a:gd name="T19" fmla="*/ 863 h 2728"/>
                <a:gd name="T20" fmla="*/ 2066 w 2526"/>
                <a:gd name="T21" fmla="*/ 821 h 2728"/>
                <a:gd name="T22" fmla="*/ 2031 w 2526"/>
                <a:gd name="T23" fmla="*/ 884 h 2728"/>
                <a:gd name="T24" fmla="*/ 1989 w 2526"/>
                <a:gd name="T25" fmla="*/ 884 h 2728"/>
                <a:gd name="T26" fmla="*/ 1927 w 2526"/>
                <a:gd name="T27" fmla="*/ 821 h 2728"/>
                <a:gd name="T28" fmla="*/ 1739 w 2526"/>
                <a:gd name="T29" fmla="*/ 898 h 2728"/>
                <a:gd name="T30" fmla="*/ 1495 w 2526"/>
                <a:gd name="T31" fmla="*/ 661 h 2728"/>
                <a:gd name="T32" fmla="*/ 1301 w 2526"/>
                <a:gd name="T33" fmla="*/ 529 h 2728"/>
                <a:gd name="T34" fmla="*/ 1113 w 2526"/>
                <a:gd name="T35" fmla="*/ 362 h 2728"/>
                <a:gd name="T36" fmla="*/ 1113 w 2526"/>
                <a:gd name="T37" fmla="*/ 167 h 2728"/>
                <a:gd name="T38" fmla="*/ 1022 w 2526"/>
                <a:gd name="T39" fmla="*/ 70 h 2728"/>
                <a:gd name="T40" fmla="*/ 904 w 2526"/>
                <a:gd name="T41" fmla="*/ 0 h 2728"/>
                <a:gd name="T42" fmla="*/ 820 w 2526"/>
                <a:gd name="T43" fmla="*/ 14 h 2728"/>
                <a:gd name="T44" fmla="*/ 716 w 2526"/>
                <a:gd name="T45" fmla="*/ 111 h 2728"/>
                <a:gd name="T46" fmla="*/ 549 w 2526"/>
                <a:gd name="T47" fmla="*/ 105 h 2728"/>
                <a:gd name="T48" fmla="*/ 347 w 2526"/>
                <a:gd name="T49" fmla="*/ 174 h 2728"/>
                <a:gd name="T50" fmla="*/ 382 w 2526"/>
                <a:gd name="T51" fmla="*/ 376 h 2728"/>
                <a:gd name="T52" fmla="*/ 229 w 2526"/>
                <a:gd name="T53" fmla="*/ 536 h 2728"/>
                <a:gd name="T54" fmla="*/ 118 w 2526"/>
                <a:gd name="T55" fmla="*/ 571 h 2728"/>
                <a:gd name="T56" fmla="*/ 62 w 2526"/>
                <a:gd name="T57" fmla="*/ 661 h 2728"/>
                <a:gd name="T58" fmla="*/ 69 w 2526"/>
                <a:gd name="T59" fmla="*/ 717 h 2728"/>
                <a:gd name="T60" fmla="*/ 90 w 2526"/>
                <a:gd name="T61" fmla="*/ 814 h 2728"/>
                <a:gd name="T62" fmla="*/ 201 w 2526"/>
                <a:gd name="T63" fmla="*/ 1009 h 2728"/>
                <a:gd name="T64" fmla="*/ 222 w 2526"/>
                <a:gd name="T65" fmla="*/ 1106 h 2728"/>
                <a:gd name="T66" fmla="*/ 320 w 2526"/>
                <a:gd name="T67" fmla="*/ 1245 h 2728"/>
                <a:gd name="T68" fmla="*/ 334 w 2526"/>
                <a:gd name="T69" fmla="*/ 1350 h 2728"/>
                <a:gd name="T70" fmla="*/ 417 w 2526"/>
                <a:gd name="T71" fmla="*/ 1517 h 2728"/>
                <a:gd name="T72" fmla="*/ 619 w 2526"/>
                <a:gd name="T73" fmla="*/ 1677 h 2728"/>
                <a:gd name="T74" fmla="*/ 647 w 2526"/>
                <a:gd name="T75" fmla="*/ 1802 h 2728"/>
                <a:gd name="T76" fmla="*/ 779 w 2526"/>
                <a:gd name="T77" fmla="*/ 1885 h 2728"/>
                <a:gd name="T78" fmla="*/ 751 w 2526"/>
                <a:gd name="T79" fmla="*/ 2011 h 2728"/>
                <a:gd name="T80" fmla="*/ 626 w 2526"/>
                <a:gd name="T81" fmla="*/ 2129 h 2728"/>
                <a:gd name="T82" fmla="*/ 521 w 2526"/>
                <a:gd name="T83" fmla="*/ 2324 h 2728"/>
                <a:gd name="T84" fmla="*/ 563 w 2526"/>
                <a:gd name="T85" fmla="*/ 2456 h 2728"/>
                <a:gd name="T86" fmla="*/ 695 w 2526"/>
                <a:gd name="T87" fmla="*/ 2658 h 2728"/>
                <a:gd name="T88" fmla="*/ 855 w 2526"/>
                <a:gd name="T89" fmla="*/ 2491 h 2728"/>
                <a:gd name="T90" fmla="*/ 1043 w 2526"/>
                <a:gd name="T91" fmla="*/ 2518 h 2728"/>
                <a:gd name="T92" fmla="*/ 1154 w 2526"/>
                <a:gd name="T93" fmla="*/ 2525 h 2728"/>
                <a:gd name="T94" fmla="*/ 1175 w 2526"/>
                <a:gd name="T95" fmla="*/ 2699 h 2728"/>
                <a:gd name="T96" fmla="*/ 1335 w 2526"/>
                <a:gd name="T97" fmla="*/ 2699 h 2728"/>
                <a:gd name="T98" fmla="*/ 1447 w 2526"/>
                <a:gd name="T99" fmla="*/ 2651 h 2728"/>
                <a:gd name="T100" fmla="*/ 1690 w 2526"/>
                <a:gd name="T101" fmla="*/ 2713 h 2728"/>
                <a:gd name="T102" fmla="*/ 1704 w 2526"/>
                <a:gd name="T103" fmla="*/ 2553 h 2728"/>
                <a:gd name="T104" fmla="*/ 1760 w 2526"/>
                <a:gd name="T105" fmla="*/ 2365 h 2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526" h="2728">
                  <a:moveTo>
                    <a:pt x="1760" y="2365"/>
                  </a:moveTo>
                  <a:lnTo>
                    <a:pt x="1774" y="2296"/>
                  </a:lnTo>
                  <a:lnTo>
                    <a:pt x="1774" y="2212"/>
                  </a:lnTo>
                  <a:lnTo>
                    <a:pt x="1794" y="2178"/>
                  </a:lnTo>
                  <a:lnTo>
                    <a:pt x="1822" y="2205"/>
                  </a:lnTo>
                  <a:lnTo>
                    <a:pt x="1878" y="2205"/>
                  </a:lnTo>
                  <a:lnTo>
                    <a:pt x="1920" y="2212"/>
                  </a:lnTo>
                  <a:lnTo>
                    <a:pt x="1927" y="2205"/>
                  </a:lnTo>
                  <a:lnTo>
                    <a:pt x="1940" y="2212"/>
                  </a:lnTo>
                  <a:lnTo>
                    <a:pt x="1968" y="2233"/>
                  </a:lnTo>
                  <a:lnTo>
                    <a:pt x="2031" y="2212"/>
                  </a:lnTo>
                  <a:lnTo>
                    <a:pt x="2087" y="2205"/>
                  </a:lnTo>
                  <a:lnTo>
                    <a:pt x="2135" y="2212"/>
                  </a:lnTo>
                  <a:lnTo>
                    <a:pt x="2163" y="2233"/>
                  </a:lnTo>
                  <a:lnTo>
                    <a:pt x="2191" y="2205"/>
                  </a:lnTo>
                  <a:lnTo>
                    <a:pt x="2226" y="2178"/>
                  </a:lnTo>
                  <a:lnTo>
                    <a:pt x="2316" y="2031"/>
                  </a:lnTo>
                  <a:lnTo>
                    <a:pt x="2365" y="1899"/>
                  </a:lnTo>
                  <a:lnTo>
                    <a:pt x="2379" y="1878"/>
                  </a:lnTo>
                  <a:lnTo>
                    <a:pt x="2434" y="1781"/>
                  </a:lnTo>
                  <a:lnTo>
                    <a:pt x="2455" y="1746"/>
                  </a:lnTo>
                  <a:lnTo>
                    <a:pt x="2525" y="1614"/>
                  </a:lnTo>
                  <a:lnTo>
                    <a:pt x="2511" y="1607"/>
                  </a:lnTo>
                  <a:lnTo>
                    <a:pt x="2490" y="1600"/>
                  </a:lnTo>
                  <a:lnTo>
                    <a:pt x="2476" y="1586"/>
                  </a:lnTo>
                  <a:lnTo>
                    <a:pt x="2448" y="1551"/>
                  </a:lnTo>
                  <a:lnTo>
                    <a:pt x="2427" y="1524"/>
                  </a:lnTo>
                  <a:lnTo>
                    <a:pt x="2400" y="1475"/>
                  </a:lnTo>
                  <a:lnTo>
                    <a:pt x="2365" y="1454"/>
                  </a:lnTo>
                  <a:lnTo>
                    <a:pt x="2358" y="1454"/>
                  </a:lnTo>
                  <a:lnTo>
                    <a:pt x="2323" y="1475"/>
                  </a:lnTo>
                  <a:lnTo>
                    <a:pt x="2288" y="1447"/>
                  </a:lnTo>
                  <a:lnTo>
                    <a:pt x="2316" y="1385"/>
                  </a:lnTo>
                  <a:lnTo>
                    <a:pt x="2288" y="1350"/>
                  </a:lnTo>
                  <a:lnTo>
                    <a:pt x="2288" y="1322"/>
                  </a:lnTo>
                  <a:lnTo>
                    <a:pt x="2260" y="1287"/>
                  </a:lnTo>
                  <a:lnTo>
                    <a:pt x="2281" y="1218"/>
                  </a:lnTo>
                  <a:lnTo>
                    <a:pt x="2267" y="1190"/>
                  </a:lnTo>
                  <a:lnTo>
                    <a:pt x="2295" y="1176"/>
                  </a:lnTo>
                  <a:lnTo>
                    <a:pt x="2267" y="1113"/>
                  </a:lnTo>
                  <a:lnTo>
                    <a:pt x="2295" y="981"/>
                  </a:lnTo>
                  <a:lnTo>
                    <a:pt x="2267" y="967"/>
                  </a:lnTo>
                  <a:lnTo>
                    <a:pt x="2246" y="953"/>
                  </a:lnTo>
                  <a:lnTo>
                    <a:pt x="2260" y="946"/>
                  </a:lnTo>
                  <a:lnTo>
                    <a:pt x="2288" y="926"/>
                  </a:lnTo>
                  <a:lnTo>
                    <a:pt x="2191" y="849"/>
                  </a:lnTo>
                  <a:lnTo>
                    <a:pt x="2191" y="877"/>
                  </a:lnTo>
                  <a:lnTo>
                    <a:pt x="2170" y="884"/>
                  </a:lnTo>
                  <a:lnTo>
                    <a:pt x="2170" y="863"/>
                  </a:lnTo>
                  <a:lnTo>
                    <a:pt x="2163" y="863"/>
                  </a:lnTo>
                  <a:lnTo>
                    <a:pt x="2149" y="863"/>
                  </a:lnTo>
                  <a:lnTo>
                    <a:pt x="2149" y="856"/>
                  </a:lnTo>
                  <a:lnTo>
                    <a:pt x="2128" y="849"/>
                  </a:lnTo>
                  <a:lnTo>
                    <a:pt x="2073" y="849"/>
                  </a:lnTo>
                  <a:lnTo>
                    <a:pt x="2066" y="821"/>
                  </a:lnTo>
                  <a:lnTo>
                    <a:pt x="2038" y="828"/>
                  </a:lnTo>
                  <a:lnTo>
                    <a:pt x="2038" y="856"/>
                  </a:lnTo>
                  <a:lnTo>
                    <a:pt x="2038" y="884"/>
                  </a:lnTo>
                  <a:lnTo>
                    <a:pt x="2038" y="863"/>
                  </a:lnTo>
                  <a:lnTo>
                    <a:pt x="2031" y="884"/>
                  </a:lnTo>
                  <a:lnTo>
                    <a:pt x="2017" y="835"/>
                  </a:lnTo>
                  <a:lnTo>
                    <a:pt x="1996" y="835"/>
                  </a:lnTo>
                  <a:lnTo>
                    <a:pt x="1989" y="849"/>
                  </a:lnTo>
                  <a:lnTo>
                    <a:pt x="1975" y="863"/>
                  </a:lnTo>
                  <a:lnTo>
                    <a:pt x="1989" y="884"/>
                  </a:lnTo>
                  <a:lnTo>
                    <a:pt x="1989" y="898"/>
                  </a:lnTo>
                  <a:lnTo>
                    <a:pt x="1954" y="884"/>
                  </a:lnTo>
                  <a:lnTo>
                    <a:pt x="1954" y="877"/>
                  </a:lnTo>
                  <a:lnTo>
                    <a:pt x="1954" y="856"/>
                  </a:lnTo>
                  <a:lnTo>
                    <a:pt x="1927" y="821"/>
                  </a:lnTo>
                  <a:lnTo>
                    <a:pt x="1906" y="856"/>
                  </a:lnTo>
                  <a:lnTo>
                    <a:pt x="1801" y="953"/>
                  </a:lnTo>
                  <a:lnTo>
                    <a:pt x="1774" y="953"/>
                  </a:lnTo>
                  <a:lnTo>
                    <a:pt x="1760" y="946"/>
                  </a:lnTo>
                  <a:lnTo>
                    <a:pt x="1739" y="898"/>
                  </a:lnTo>
                  <a:lnTo>
                    <a:pt x="1676" y="849"/>
                  </a:lnTo>
                  <a:lnTo>
                    <a:pt x="1634" y="793"/>
                  </a:lnTo>
                  <a:lnTo>
                    <a:pt x="1558" y="745"/>
                  </a:lnTo>
                  <a:lnTo>
                    <a:pt x="1516" y="668"/>
                  </a:lnTo>
                  <a:lnTo>
                    <a:pt x="1495" y="661"/>
                  </a:lnTo>
                  <a:lnTo>
                    <a:pt x="1468" y="564"/>
                  </a:lnTo>
                  <a:lnTo>
                    <a:pt x="1433" y="487"/>
                  </a:lnTo>
                  <a:lnTo>
                    <a:pt x="1384" y="459"/>
                  </a:lnTo>
                  <a:lnTo>
                    <a:pt x="1342" y="466"/>
                  </a:lnTo>
                  <a:lnTo>
                    <a:pt x="1301" y="529"/>
                  </a:lnTo>
                  <a:lnTo>
                    <a:pt x="1273" y="494"/>
                  </a:lnTo>
                  <a:lnTo>
                    <a:pt x="1134" y="425"/>
                  </a:lnTo>
                  <a:lnTo>
                    <a:pt x="1057" y="390"/>
                  </a:lnTo>
                  <a:lnTo>
                    <a:pt x="1050" y="362"/>
                  </a:lnTo>
                  <a:lnTo>
                    <a:pt x="1113" y="362"/>
                  </a:lnTo>
                  <a:lnTo>
                    <a:pt x="1147" y="292"/>
                  </a:lnTo>
                  <a:lnTo>
                    <a:pt x="1147" y="244"/>
                  </a:lnTo>
                  <a:lnTo>
                    <a:pt x="1168" y="237"/>
                  </a:lnTo>
                  <a:lnTo>
                    <a:pt x="1154" y="209"/>
                  </a:lnTo>
                  <a:lnTo>
                    <a:pt x="1113" y="167"/>
                  </a:lnTo>
                  <a:lnTo>
                    <a:pt x="1092" y="188"/>
                  </a:lnTo>
                  <a:lnTo>
                    <a:pt x="1071" y="139"/>
                  </a:lnTo>
                  <a:lnTo>
                    <a:pt x="1071" y="105"/>
                  </a:lnTo>
                  <a:lnTo>
                    <a:pt x="1022" y="98"/>
                  </a:lnTo>
                  <a:lnTo>
                    <a:pt x="1022" y="70"/>
                  </a:lnTo>
                  <a:lnTo>
                    <a:pt x="1001" y="56"/>
                  </a:lnTo>
                  <a:lnTo>
                    <a:pt x="980" y="63"/>
                  </a:lnTo>
                  <a:lnTo>
                    <a:pt x="939" y="28"/>
                  </a:lnTo>
                  <a:lnTo>
                    <a:pt x="918" y="35"/>
                  </a:lnTo>
                  <a:lnTo>
                    <a:pt x="904" y="0"/>
                  </a:lnTo>
                  <a:lnTo>
                    <a:pt x="883" y="0"/>
                  </a:lnTo>
                  <a:lnTo>
                    <a:pt x="876" y="7"/>
                  </a:lnTo>
                  <a:lnTo>
                    <a:pt x="855" y="7"/>
                  </a:lnTo>
                  <a:lnTo>
                    <a:pt x="848" y="28"/>
                  </a:lnTo>
                  <a:lnTo>
                    <a:pt x="820" y="14"/>
                  </a:lnTo>
                  <a:lnTo>
                    <a:pt x="813" y="42"/>
                  </a:lnTo>
                  <a:lnTo>
                    <a:pt x="779" y="56"/>
                  </a:lnTo>
                  <a:lnTo>
                    <a:pt x="779" y="63"/>
                  </a:lnTo>
                  <a:lnTo>
                    <a:pt x="772" y="98"/>
                  </a:lnTo>
                  <a:lnTo>
                    <a:pt x="716" y="111"/>
                  </a:lnTo>
                  <a:lnTo>
                    <a:pt x="688" y="98"/>
                  </a:lnTo>
                  <a:lnTo>
                    <a:pt x="661" y="91"/>
                  </a:lnTo>
                  <a:lnTo>
                    <a:pt x="653" y="105"/>
                  </a:lnTo>
                  <a:lnTo>
                    <a:pt x="577" y="111"/>
                  </a:lnTo>
                  <a:lnTo>
                    <a:pt x="549" y="105"/>
                  </a:lnTo>
                  <a:lnTo>
                    <a:pt x="528" y="105"/>
                  </a:lnTo>
                  <a:lnTo>
                    <a:pt x="494" y="91"/>
                  </a:lnTo>
                  <a:lnTo>
                    <a:pt x="396" y="98"/>
                  </a:lnTo>
                  <a:lnTo>
                    <a:pt x="347" y="139"/>
                  </a:lnTo>
                  <a:lnTo>
                    <a:pt x="347" y="174"/>
                  </a:lnTo>
                  <a:lnTo>
                    <a:pt x="354" y="188"/>
                  </a:lnTo>
                  <a:lnTo>
                    <a:pt x="368" y="244"/>
                  </a:lnTo>
                  <a:lnTo>
                    <a:pt x="396" y="320"/>
                  </a:lnTo>
                  <a:lnTo>
                    <a:pt x="382" y="369"/>
                  </a:lnTo>
                  <a:lnTo>
                    <a:pt x="382" y="376"/>
                  </a:lnTo>
                  <a:lnTo>
                    <a:pt x="334" y="452"/>
                  </a:lnTo>
                  <a:lnTo>
                    <a:pt x="334" y="473"/>
                  </a:lnTo>
                  <a:lnTo>
                    <a:pt x="320" y="494"/>
                  </a:lnTo>
                  <a:lnTo>
                    <a:pt x="264" y="522"/>
                  </a:lnTo>
                  <a:lnTo>
                    <a:pt x="229" y="536"/>
                  </a:lnTo>
                  <a:lnTo>
                    <a:pt x="229" y="584"/>
                  </a:lnTo>
                  <a:lnTo>
                    <a:pt x="215" y="592"/>
                  </a:lnTo>
                  <a:lnTo>
                    <a:pt x="187" y="571"/>
                  </a:lnTo>
                  <a:lnTo>
                    <a:pt x="118" y="564"/>
                  </a:lnTo>
                  <a:lnTo>
                    <a:pt x="118" y="571"/>
                  </a:lnTo>
                  <a:lnTo>
                    <a:pt x="69" y="564"/>
                  </a:lnTo>
                  <a:lnTo>
                    <a:pt x="41" y="557"/>
                  </a:lnTo>
                  <a:lnTo>
                    <a:pt x="41" y="584"/>
                  </a:lnTo>
                  <a:lnTo>
                    <a:pt x="69" y="599"/>
                  </a:lnTo>
                  <a:lnTo>
                    <a:pt x="62" y="661"/>
                  </a:lnTo>
                  <a:lnTo>
                    <a:pt x="34" y="661"/>
                  </a:lnTo>
                  <a:lnTo>
                    <a:pt x="0" y="661"/>
                  </a:lnTo>
                  <a:lnTo>
                    <a:pt x="34" y="689"/>
                  </a:lnTo>
                  <a:lnTo>
                    <a:pt x="41" y="703"/>
                  </a:lnTo>
                  <a:lnTo>
                    <a:pt x="69" y="717"/>
                  </a:lnTo>
                  <a:lnTo>
                    <a:pt x="55" y="745"/>
                  </a:lnTo>
                  <a:lnTo>
                    <a:pt x="90" y="751"/>
                  </a:lnTo>
                  <a:lnTo>
                    <a:pt x="90" y="800"/>
                  </a:lnTo>
                  <a:lnTo>
                    <a:pt x="97" y="814"/>
                  </a:lnTo>
                  <a:lnTo>
                    <a:pt x="90" y="814"/>
                  </a:lnTo>
                  <a:lnTo>
                    <a:pt x="76" y="877"/>
                  </a:lnTo>
                  <a:lnTo>
                    <a:pt x="90" y="911"/>
                  </a:lnTo>
                  <a:lnTo>
                    <a:pt x="132" y="932"/>
                  </a:lnTo>
                  <a:lnTo>
                    <a:pt x="173" y="981"/>
                  </a:lnTo>
                  <a:lnTo>
                    <a:pt x="201" y="1009"/>
                  </a:lnTo>
                  <a:lnTo>
                    <a:pt x="257" y="1016"/>
                  </a:lnTo>
                  <a:lnTo>
                    <a:pt x="264" y="1030"/>
                  </a:lnTo>
                  <a:lnTo>
                    <a:pt x="285" y="1051"/>
                  </a:lnTo>
                  <a:lnTo>
                    <a:pt x="236" y="1085"/>
                  </a:lnTo>
                  <a:lnTo>
                    <a:pt x="222" y="1106"/>
                  </a:lnTo>
                  <a:lnTo>
                    <a:pt x="215" y="1113"/>
                  </a:lnTo>
                  <a:lnTo>
                    <a:pt x="194" y="1155"/>
                  </a:lnTo>
                  <a:lnTo>
                    <a:pt x="236" y="1190"/>
                  </a:lnTo>
                  <a:lnTo>
                    <a:pt x="299" y="1224"/>
                  </a:lnTo>
                  <a:lnTo>
                    <a:pt x="320" y="1245"/>
                  </a:lnTo>
                  <a:lnTo>
                    <a:pt x="327" y="1238"/>
                  </a:lnTo>
                  <a:lnTo>
                    <a:pt x="334" y="1245"/>
                  </a:lnTo>
                  <a:lnTo>
                    <a:pt x="327" y="1259"/>
                  </a:lnTo>
                  <a:lnTo>
                    <a:pt x="347" y="1322"/>
                  </a:lnTo>
                  <a:lnTo>
                    <a:pt x="334" y="1350"/>
                  </a:lnTo>
                  <a:lnTo>
                    <a:pt x="354" y="1378"/>
                  </a:lnTo>
                  <a:lnTo>
                    <a:pt x="334" y="1405"/>
                  </a:lnTo>
                  <a:lnTo>
                    <a:pt x="334" y="1419"/>
                  </a:lnTo>
                  <a:lnTo>
                    <a:pt x="403" y="1468"/>
                  </a:lnTo>
                  <a:lnTo>
                    <a:pt x="417" y="1517"/>
                  </a:lnTo>
                  <a:lnTo>
                    <a:pt x="521" y="1586"/>
                  </a:lnTo>
                  <a:lnTo>
                    <a:pt x="542" y="1635"/>
                  </a:lnTo>
                  <a:lnTo>
                    <a:pt x="563" y="1621"/>
                  </a:lnTo>
                  <a:lnTo>
                    <a:pt x="577" y="1635"/>
                  </a:lnTo>
                  <a:lnTo>
                    <a:pt x="619" y="1677"/>
                  </a:lnTo>
                  <a:lnTo>
                    <a:pt x="612" y="1746"/>
                  </a:lnTo>
                  <a:lnTo>
                    <a:pt x="633" y="1774"/>
                  </a:lnTo>
                  <a:lnTo>
                    <a:pt x="633" y="1781"/>
                  </a:lnTo>
                  <a:lnTo>
                    <a:pt x="647" y="1781"/>
                  </a:lnTo>
                  <a:lnTo>
                    <a:pt x="647" y="1802"/>
                  </a:lnTo>
                  <a:lnTo>
                    <a:pt x="661" y="1816"/>
                  </a:lnTo>
                  <a:lnTo>
                    <a:pt x="716" y="1844"/>
                  </a:lnTo>
                  <a:lnTo>
                    <a:pt x="744" y="1851"/>
                  </a:lnTo>
                  <a:lnTo>
                    <a:pt x="779" y="1878"/>
                  </a:lnTo>
                  <a:lnTo>
                    <a:pt x="779" y="1885"/>
                  </a:lnTo>
                  <a:lnTo>
                    <a:pt x="772" y="1906"/>
                  </a:lnTo>
                  <a:lnTo>
                    <a:pt x="779" y="1941"/>
                  </a:lnTo>
                  <a:lnTo>
                    <a:pt x="751" y="1962"/>
                  </a:lnTo>
                  <a:lnTo>
                    <a:pt x="758" y="1997"/>
                  </a:lnTo>
                  <a:lnTo>
                    <a:pt x="751" y="2011"/>
                  </a:lnTo>
                  <a:lnTo>
                    <a:pt x="716" y="2031"/>
                  </a:lnTo>
                  <a:lnTo>
                    <a:pt x="653" y="2059"/>
                  </a:lnTo>
                  <a:lnTo>
                    <a:pt x="653" y="2073"/>
                  </a:lnTo>
                  <a:lnTo>
                    <a:pt x="626" y="2101"/>
                  </a:lnTo>
                  <a:lnTo>
                    <a:pt x="626" y="2129"/>
                  </a:lnTo>
                  <a:lnTo>
                    <a:pt x="612" y="2157"/>
                  </a:lnTo>
                  <a:lnTo>
                    <a:pt x="612" y="2212"/>
                  </a:lnTo>
                  <a:lnTo>
                    <a:pt x="612" y="2233"/>
                  </a:lnTo>
                  <a:lnTo>
                    <a:pt x="577" y="2296"/>
                  </a:lnTo>
                  <a:lnTo>
                    <a:pt x="521" y="2324"/>
                  </a:lnTo>
                  <a:lnTo>
                    <a:pt x="563" y="2358"/>
                  </a:lnTo>
                  <a:lnTo>
                    <a:pt x="563" y="2372"/>
                  </a:lnTo>
                  <a:lnTo>
                    <a:pt x="514" y="2400"/>
                  </a:lnTo>
                  <a:lnTo>
                    <a:pt x="556" y="2421"/>
                  </a:lnTo>
                  <a:lnTo>
                    <a:pt x="563" y="2456"/>
                  </a:lnTo>
                  <a:lnTo>
                    <a:pt x="584" y="2491"/>
                  </a:lnTo>
                  <a:lnTo>
                    <a:pt x="626" y="2532"/>
                  </a:lnTo>
                  <a:lnTo>
                    <a:pt x="661" y="2602"/>
                  </a:lnTo>
                  <a:lnTo>
                    <a:pt x="681" y="2637"/>
                  </a:lnTo>
                  <a:lnTo>
                    <a:pt x="695" y="2658"/>
                  </a:lnTo>
                  <a:lnTo>
                    <a:pt x="723" y="2616"/>
                  </a:lnTo>
                  <a:lnTo>
                    <a:pt x="730" y="2567"/>
                  </a:lnTo>
                  <a:lnTo>
                    <a:pt x="751" y="2560"/>
                  </a:lnTo>
                  <a:lnTo>
                    <a:pt x="807" y="2491"/>
                  </a:lnTo>
                  <a:lnTo>
                    <a:pt x="855" y="2491"/>
                  </a:lnTo>
                  <a:lnTo>
                    <a:pt x="883" y="2518"/>
                  </a:lnTo>
                  <a:lnTo>
                    <a:pt x="911" y="2504"/>
                  </a:lnTo>
                  <a:lnTo>
                    <a:pt x="925" y="2532"/>
                  </a:lnTo>
                  <a:lnTo>
                    <a:pt x="980" y="2491"/>
                  </a:lnTo>
                  <a:lnTo>
                    <a:pt x="1043" y="2518"/>
                  </a:lnTo>
                  <a:lnTo>
                    <a:pt x="1071" y="2525"/>
                  </a:lnTo>
                  <a:lnTo>
                    <a:pt x="1106" y="2518"/>
                  </a:lnTo>
                  <a:lnTo>
                    <a:pt x="1120" y="2498"/>
                  </a:lnTo>
                  <a:lnTo>
                    <a:pt x="1147" y="2504"/>
                  </a:lnTo>
                  <a:lnTo>
                    <a:pt x="1154" y="2525"/>
                  </a:lnTo>
                  <a:lnTo>
                    <a:pt x="1140" y="2539"/>
                  </a:lnTo>
                  <a:lnTo>
                    <a:pt x="1120" y="2567"/>
                  </a:lnTo>
                  <a:lnTo>
                    <a:pt x="1120" y="2623"/>
                  </a:lnTo>
                  <a:lnTo>
                    <a:pt x="1134" y="2651"/>
                  </a:lnTo>
                  <a:lnTo>
                    <a:pt x="1175" y="2699"/>
                  </a:lnTo>
                  <a:lnTo>
                    <a:pt x="1175" y="2727"/>
                  </a:lnTo>
                  <a:lnTo>
                    <a:pt x="1203" y="2720"/>
                  </a:lnTo>
                  <a:lnTo>
                    <a:pt x="1252" y="2699"/>
                  </a:lnTo>
                  <a:lnTo>
                    <a:pt x="1287" y="2699"/>
                  </a:lnTo>
                  <a:lnTo>
                    <a:pt x="1335" y="2699"/>
                  </a:lnTo>
                  <a:lnTo>
                    <a:pt x="1363" y="2671"/>
                  </a:lnTo>
                  <a:lnTo>
                    <a:pt x="1384" y="2685"/>
                  </a:lnTo>
                  <a:lnTo>
                    <a:pt x="1405" y="2692"/>
                  </a:lnTo>
                  <a:lnTo>
                    <a:pt x="1447" y="2720"/>
                  </a:lnTo>
                  <a:lnTo>
                    <a:pt x="1447" y="2651"/>
                  </a:lnTo>
                  <a:lnTo>
                    <a:pt x="1495" y="2658"/>
                  </a:lnTo>
                  <a:lnTo>
                    <a:pt x="1558" y="2637"/>
                  </a:lnTo>
                  <a:lnTo>
                    <a:pt x="1614" y="2651"/>
                  </a:lnTo>
                  <a:lnTo>
                    <a:pt x="1662" y="2699"/>
                  </a:lnTo>
                  <a:lnTo>
                    <a:pt x="1690" y="2713"/>
                  </a:lnTo>
                  <a:lnTo>
                    <a:pt x="1690" y="2671"/>
                  </a:lnTo>
                  <a:lnTo>
                    <a:pt x="1697" y="2665"/>
                  </a:lnTo>
                  <a:lnTo>
                    <a:pt x="1648" y="2630"/>
                  </a:lnTo>
                  <a:lnTo>
                    <a:pt x="1697" y="2567"/>
                  </a:lnTo>
                  <a:lnTo>
                    <a:pt x="1704" y="2553"/>
                  </a:lnTo>
                  <a:lnTo>
                    <a:pt x="1725" y="2498"/>
                  </a:lnTo>
                  <a:lnTo>
                    <a:pt x="1732" y="2498"/>
                  </a:lnTo>
                  <a:lnTo>
                    <a:pt x="1746" y="2435"/>
                  </a:lnTo>
                  <a:lnTo>
                    <a:pt x="1760" y="2372"/>
                  </a:lnTo>
                  <a:lnTo>
                    <a:pt x="1760" y="2365"/>
                  </a:lnTo>
                </a:path>
              </a:pathLst>
            </a:custGeom>
            <a:grpFill/>
            <a:ln w="9525" cap="flat" cmpd="sng">
              <a:solidFill>
                <a:schemeClr val="bg1"/>
              </a:solid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52" name="Freeform 49">
              <a:extLst>
                <a:ext uri="{FF2B5EF4-FFF2-40B4-BE49-F238E27FC236}">
                  <a16:creationId xmlns:a16="http://schemas.microsoft.com/office/drawing/2014/main" id="{0304BE32-2A7D-4B6F-BB31-6E929B49BA56}"/>
                </a:ext>
              </a:extLst>
            </p:cNvPr>
            <p:cNvSpPr>
              <a:spLocks noChangeArrowheads="1"/>
            </p:cNvSpPr>
            <p:nvPr/>
          </p:nvSpPr>
          <p:spPr bwMode="auto">
            <a:xfrm>
              <a:off x="19477904" y="7821818"/>
              <a:ext cx="2775286" cy="2218303"/>
            </a:xfrm>
            <a:custGeom>
              <a:avLst/>
              <a:gdLst>
                <a:gd name="T0" fmla="*/ 5565 w 5907"/>
                <a:gd name="T1" fmla="*/ 3429 h 4724"/>
                <a:gd name="T2" fmla="*/ 5822 w 5907"/>
                <a:gd name="T3" fmla="*/ 3784 h 4724"/>
                <a:gd name="T4" fmla="*/ 5843 w 5907"/>
                <a:gd name="T5" fmla="*/ 4097 h 4724"/>
                <a:gd name="T6" fmla="*/ 5711 w 5907"/>
                <a:gd name="T7" fmla="*/ 4347 h 4724"/>
                <a:gd name="T8" fmla="*/ 5669 w 5907"/>
                <a:gd name="T9" fmla="*/ 4716 h 4724"/>
                <a:gd name="T10" fmla="*/ 5481 w 5907"/>
                <a:gd name="T11" fmla="*/ 4625 h 4724"/>
                <a:gd name="T12" fmla="*/ 5085 w 5907"/>
                <a:gd name="T13" fmla="*/ 4340 h 4724"/>
                <a:gd name="T14" fmla="*/ 5008 w 5907"/>
                <a:gd name="T15" fmla="*/ 4145 h 4724"/>
                <a:gd name="T16" fmla="*/ 4995 w 5907"/>
                <a:gd name="T17" fmla="*/ 3944 h 4724"/>
                <a:gd name="T18" fmla="*/ 4883 w 5907"/>
                <a:gd name="T19" fmla="*/ 3700 h 4724"/>
                <a:gd name="T20" fmla="*/ 4417 w 5907"/>
                <a:gd name="T21" fmla="*/ 3610 h 4724"/>
                <a:gd name="T22" fmla="*/ 4090 w 5907"/>
                <a:gd name="T23" fmla="*/ 3540 h 4724"/>
                <a:gd name="T24" fmla="*/ 3874 w 5907"/>
                <a:gd name="T25" fmla="*/ 3429 h 4724"/>
                <a:gd name="T26" fmla="*/ 3826 w 5907"/>
                <a:gd name="T27" fmla="*/ 3283 h 4724"/>
                <a:gd name="T28" fmla="*/ 3388 w 5907"/>
                <a:gd name="T29" fmla="*/ 3185 h 4724"/>
                <a:gd name="T30" fmla="*/ 3109 w 5907"/>
                <a:gd name="T31" fmla="*/ 3324 h 4724"/>
                <a:gd name="T32" fmla="*/ 2949 w 5907"/>
                <a:gd name="T33" fmla="*/ 3220 h 4724"/>
                <a:gd name="T34" fmla="*/ 2928 w 5907"/>
                <a:gd name="T35" fmla="*/ 2963 h 4724"/>
                <a:gd name="T36" fmla="*/ 2921 w 5907"/>
                <a:gd name="T37" fmla="*/ 2719 h 4724"/>
                <a:gd name="T38" fmla="*/ 2824 w 5907"/>
                <a:gd name="T39" fmla="*/ 2636 h 4724"/>
                <a:gd name="T40" fmla="*/ 2699 w 5907"/>
                <a:gd name="T41" fmla="*/ 2601 h 4724"/>
                <a:gd name="T42" fmla="*/ 2657 w 5907"/>
                <a:gd name="T43" fmla="*/ 2608 h 4724"/>
                <a:gd name="T44" fmla="*/ 2615 w 5907"/>
                <a:gd name="T45" fmla="*/ 2650 h 4724"/>
                <a:gd name="T46" fmla="*/ 2421 w 5907"/>
                <a:gd name="T47" fmla="*/ 2719 h 4724"/>
                <a:gd name="T48" fmla="*/ 2156 w 5907"/>
                <a:gd name="T49" fmla="*/ 2434 h 4724"/>
                <a:gd name="T50" fmla="*/ 1934 w 5907"/>
                <a:gd name="T51" fmla="*/ 2267 h 4724"/>
                <a:gd name="T52" fmla="*/ 1808 w 5907"/>
                <a:gd name="T53" fmla="*/ 2017 h 4724"/>
                <a:gd name="T54" fmla="*/ 1732 w 5907"/>
                <a:gd name="T55" fmla="*/ 1878 h 4724"/>
                <a:gd name="T56" fmla="*/ 1579 w 5907"/>
                <a:gd name="T57" fmla="*/ 1808 h 4724"/>
                <a:gd name="T58" fmla="*/ 1481 w 5907"/>
                <a:gd name="T59" fmla="*/ 1787 h 4724"/>
                <a:gd name="T60" fmla="*/ 1349 w 5907"/>
                <a:gd name="T61" fmla="*/ 1871 h 4724"/>
                <a:gd name="T62" fmla="*/ 1155 w 5907"/>
                <a:gd name="T63" fmla="*/ 1864 h 4724"/>
                <a:gd name="T64" fmla="*/ 862 w 5907"/>
                <a:gd name="T65" fmla="*/ 1905 h 4724"/>
                <a:gd name="T66" fmla="*/ 598 w 5907"/>
                <a:gd name="T67" fmla="*/ 1871 h 4724"/>
                <a:gd name="T68" fmla="*/ 473 w 5907"/>
                <a:gd name="T69" fmla="*/ 1766 h 4724"/>
                <a:gd name="T70" fmla="*/ 570 w 5907"/>
                <a:gd name="T71" fmla="*/ 1544 h 4724"/>
                <a:gd name="T72" fmla="*/ 361 w 5907"/>
                <a:gd name="T73" fmla="*/ 1460 h 4724"/>
                <a:gd name="T74" fmla="*/ 222 w 5907"/>
                <a:gd name="T75" fmla="*/ 1308 h 4724"/>
                <a:gd name="T76" fmla="*/ 271 w 5907"/>
                <a:gd name="T77" fmla="*/ 1127 h 4724"/>
                <a:gd name="T78" fmla="*/ 125 w 5907"/>
                <a:gd name="T79" fmla="*/ 1002 h 4724"/>
                <a:gd name="T80" fmla="*/ 28 w 5907"/>
                <a:gd name="T81" fmla="*/ 793 h 4724"/>
                <a:gd name="T82" fmla="*/ 104 w 5907"/>
                <a:gd name="T83" fmla="*/ 696 h 4724"/>
                <a:gd name="T84" fmla="*/ 264 w 5907"/>
                <a:gd name="T85" fmla="*/ 605 h 4724"/>
                <a:gd name="T86" fmla="*/ 368 w 5907"/>
                <a:gd name="T87" fmla="*/ 522 h 4724"/>
                <a:gd name="T88" fmla="*/ 292 w 5907"/>
                <a:gd name="T89" fmla="*/ 355 h 4724"/>
                <a:gd name="T90" fmla="*/ 334 w 5907"/>
                <a:gd name="T91" fmla="*/ 63 h 4724"/>
                <a:gd name="T92" fmla="*/ 716 w 5907"/>
                <a:gd name="T93" fmla="*/ 98 h 4724"/>
                <a:gd name="T94" fmla="*/ 1468 w 5907"/>
                <a:gd name="T95" fmla="*/ 49 h 4724"/>
                <a:gd name="T96" fmla="*/ 1941 w 5907"/>
                <a:gd name="T97" fmla="*/ 42 h 4724"/>
                <a:gd name="T98" fmla="*/ 2045 w 5907"/>
                <a:gd name="T99" fmla="*/ 202 h 4724"/>
                <a:gd name="T100" fmla="*/ 2038 w 5907"/>
                <a:gd name="T101" fmla="*/ 397 h 4724"/>
                <a:gd name="T102" fmla="*/ 1829 w 5907"/>
                <a:gd name="T103" fmla="*/ 585 h 4724"/>
                <a:gd name="T104" fmla="*/ 1718 w 5907"/>
                <a:gd name="T105" fmla="*/ 1093 h 4724"/>
                <a:gd name="T106" fmla="*/ 2462 w 5907"/>
                <a:gd name="T107" fmla="*/ 1474 h 4724"/>
                <a:gd name="T108" fmla="*/ 2748 w 5907"/>
                <a:gd name="T109" fmla="*/ 1620 h 4724"/>
                <a:gd name="T110" fmla="*/ 3151 w 5907"/>
                <a:gd name="T111" fmla="*/ 1773 h 4724"/>
                <a:gd name="T112" fmla="*/ 3596 w 5907"/>
                <a:gd name="T113" fmla="*/ 1961 h 4724"/>
                <a:gd name="T114" fmla="*/ 3909 w 5907"/>
                <a:gd name="T115" fmla="*/ 2191 h 4724"/>
                <a:gd name="T116" fmla="*/ 4522 w 5907"/>
                <a:gd name="T117" fmla="*/ 2587 h 4724"/>
                <a:gd name="T118" fmla="*/ 4946 w 5907"/>
                <a:gd name="T119" fmla="*/ 2768 h 4724"/>
                <a:gd name="T120" fmla="*/ 4946 w 5907"/>
                <a:gd name="T121" fmla="*/ 2865 h 4724"/>
                <a:gd name="T122" fmla="*/ 5071 w 5907"/>
                <a:gd name="T123" fmla="*/ 2858 h 4724"/>
                <a:gd name="T124" fmla="*/ 5175 w 5907"/>
                <a:gd name="T125" fmla="*/ 3081 h 4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907" h="4724">
                  <a:moveTo>
                    <a:pt x="5217" y="3130"/>
                  </a:moveTo>
                  <a:lnTo>
                    <a:pt x="5287" y="3199"/>
                  </a:lnTo>
                  <a:lnTo>
                    <a:pt x="5412" y="3262"/>
                  </a:lnTo>
                  <a:lnTo>
                    <a:pt x="5502" y="3359"/>
                  </a:lnTo>
                  <a:lnTo>
                    <a:pt x="5551" y="3415"/>
                  </a:lnTo>
                  <a:lnTo>
                    <a:pt x="5565" y="3429"/>
                  </a:lnTo>
                  <a:lnTo>
                    <a:pt x="5669" y="3547"/>
                  </a:lnTo>
                  <a:lnTo>
                    <a:pt x="5739" y="3617"/>
                  </a:lnTo>
                  <a:lnTo>
                    <a:pt x="5767" y="3651"/>
                  </a:lnTo>
                  <a:lnTo>
                    <a:pt x="5774" y="3672"/>
                  </a:lnTo>
                  <a:lnTo>
                    <a:pt x="5781" y="3707"/>
                  </a:lnTo>
                  <a:lnTo>
                    <a:pt x="5822" y="3784"/>
                  </a:lnTo>
                  <a:lnTo>
                    <a:pt x="5808" y="3839"/>
                  </a:lnTo>
                  <a:lnTo>
                    <a:pt x="5857" y="3937"/>
                  </a:lnTo>
                  <a:lnTo>
                    <a:pt x="5906" y="3971"/>
                  </a:lnTo>
                  <a:lnTo>
                    <a:pt x="5892" y="3999"/>
                  </a:lnTo>
                  <a:lnTo>
                    <a:pt x="5906" y="4041"/>
                  </a:lnTo>
                  <a:lnTo>
                    <a:pt x="5843" y="4097"/>
                  </a:lnTo>
                  <a:lnTo>
                    <a:pt x="5836" y="4173"/>
                  </a:lnTo>
                  <a:lnTo>
                    <a:pt x="5774" y="4208"/>
                  </a:lnTo>
                  <a:lnTo>
                    <a:pt x="5767" y="4264"/>
                  </a:lnTo>
                  <a:lnTo>
                    <a:pt x="5746" y="4264"/>
                  </a:lnTo>
                  <a:lnTo>
                    <a:pt x="5725" y="4326"/>
                  </a:lnTo>
                  <a:lnTo>
                    <a:pt x="5711" y="4347"/>
                  </a:lnTo>
                  <a:lnTo>
                    <a:pt x="5697" y="4472"/>
                  </a:lnTo>
                  <a:lnTo>
                    <a:pt x="5704" y="4493"/>
                  </a:lnTo>
                  <a:lnTo>
                    <a:pt x="5704" y="4563"/>
                  </a:lnTo>
                  <a:lnTo>
                    <a:pt x="5697" y="4570"/>
                  </a:lnTo>
                  <a:lnTo>
                    <a:pt x="5697" y="4653"/>
                  </a:lnTo>
                  <a:lnTo>
                    <a:pt x="5669" y="4716"/>
                  </a:lnTo>
                  <a:lnTo>
                    <a:pt x="5662" y="4723"/>
                  </a:lnTo>
                  <a:lnTo>
                    <a:pt x="5648" y="4716"/>
                  </a:lnTo>
                  <a:lnTo>
                    <a:pt x="5628" y="4723"/>
                  </a:lnTo>
                  <a:lnTo>
                    <a:pt x="5579" y="4688"/>
                  </a:lnTo>
                  <a:lnTo>
                    <a:pt x="5530" y="4653"/>
                  </a:lnTo>
                  <a:lnTo>
                    <a:pt x="5481" y="4625"/>
                  </a:lnTo>
                  <a:lnTo>
                    <a:pt x="5433" y="4625"/>
                  </a:lnTo>
                  <a:lnTo>
                    <a:pt x="5370" y="4598"/>
                  </a:lnTo>
                  <a:lnTo>
                    <a:pt x="5287" y="4563"/>
                  </a:lnTo>
                  <a:lnTo>
                    <a:pt x="5189" y="4486"/>
                  </a:lnTo>
                  <a:lnTo>
                    <a:pt x="5127" y="4403"/>
                  </a:lnTo>
                  <a:lnTo>
                    <a:pt x="5085" y="4340"/>
                  </a:lnTo>
                  <a:lnTo>
                    <a:pt x="5078" y="4333"/>
                  </a:lnTo>
                  <a:lnTo>
                    <a:pt x="5043" y="4271"/>
                  </a:lnTo>
                  <a:lnTo>
                    <a:pt x="5057" y="4271"/>
                  </a:lnTo>
                  <a:lnTo>
                    <a:pt x="5085" y="4215"/>
                  </a:lnTo>
                  <a:lnTo>
                    <a:pt x="5050" y="4159"/>
                  </a:lnTo>
                  <a:lnTo>
                    <a:pt x="5008" y="4145"/>
                  </a:lnTo>
                  <a:lnTo>
                    <a:pt x="5022" y="4131"/>
                  </a:lnTo>
                  <a:lnTo>
                    <a:pt x="5071" y="4069"/>
                  </a:lnTo>
                  <a:lnTo>
                    <a:pt x="5057" y="4013"/>
                  </a:lnTo>
                  <a:lnTo>
                    <a:pt x="5050" y="4006"/>
                  </a:lnTo>
                  <a:lnTo>
                    <a:pt x="5029" y="3971"/>
                  </a:lnTo>
                  <a:lnTo>
                    <a:pt x="4995" y="3944"/>
                  </a:lnTo>
                  <a:lnTo>
                    <a:pt x="4960" y="3888"/>
                  </a:lnTo>
                  <a:lnTo>
                    <a:pt x="4918" y="3832"/>
                  </a:lnTo>
                  <a:lnTo>
                    <a:pt x="4925" y="3770"/>
                  </a:lnTo>
                  <a:lnTo>
                    <a:pt x="4890" y="3721"/>
                  </a:lnTo>
                  <a:lnTo>
                    <a:pt x="4911" y="3735"/>
                  </a:lnTo>
                  <a:lnTo>
                    <a:pt x="4883" y="3700"/>
                  </a:lnTo>
                  <a:lnTo>
                    <a:pt x="4848" y="3672"/>
                  </a:lnTo>
                  <a:lnTo>
                    <a:pt x="4828" y="3651"/>
                  </a:lnTo>
                  <a:lnTo>
                    <a:pt x="4786" y="3645"/>
                  </a:lnTo>
                  <a:lnTo>
                    <a:pt x="4661" y="3617"/>
                  </a:lnTo>
                  <a:lnTo>
                    <a:pt x="4598" y="3610"/>
                  </a:lnTo>
                  <a:lnTo>
                    <a:pt x="4417" y="3610"/>
                  </a:lnTo>
                  <a:lnTo>
                    <a:pt x="4236" y="3617"/>
                  </a:lnTo>
                  <a:lnTo>
                    <a:pt x="4236" y="3603"/>
                  </a:lnTo>
                  <a:lnTo>
                    <a:pt x="4174" y="3575"/>
                  </a:lnTo>
                  <a:lnTo>
                    <a:pt x="4160" y="3568"/>
                  </a:lnTo>
                  <a:lnTo>
                    <a:pt x="4111" y="3540"/>
                  </a:lnTo>
                  <a:lnTo>
                    <a:pt x="4090" y="3540"/>
                  </a:lnTo>
                  <a:lnTo>
                    <a:pt x="4041" y="3526"/>
                  </a:lnTo>
                  <a:lnTo>
                    <a:pt x="4035" y="3512"/>
                  </a:lnTo>
                  <a:lnTo>
                    <a:pt x="3965" y="3478"/>
                  </a:lnTo>
                  <a:lnTo>
                    <a:pt x="3944" y="3478"/>
                  </a:lnTo>
                  <a:lnTo>
                    <a:pt x="3909" y="3450"/>
                  </a:lnTo>
                  <a:lnTo>
                    <a:pt x="3874" y="3429"/>
                  </a:lnTo>
                  <a:lnTo>
                    <a:pt x="3868" y="3429"/>
                  </a:lnTo>
                  <a:lnTo>
                    <a:pt x="3791" y="3380"/>
                  </a:lnTo>
                  <a:lnTo>
                    <a:pt x="3749" y="3373"/>
                  </a:lnTo>
                  <a:lnTo>
                    <a:pt x="3742" y="3352"/>
                  </a:lnTo>
                  <a:lnTo>
                    <a:pt x="3798" y="3338"/>
                  </a:lnTo>
                  <a:lnTo>
                    <a:pt x="3826" y="3283"/>
                  </a:lnTo>
                  <a:lnTo>
                    <a:pt x="3777" y="3220"/>
                  </a:lnTo>
                  <a:lnTo>
                    <a:pt x="3707" y="3220"/>
                  </a:lnTo>
                  <a:lnTo>
                    <a:pt x="3701" y="3178"/>
                  </a:lnTo>
                  <a:lnTo>
                    <a:pt x="3617" y="3130"/>
                  </a:lnTo>
                  <a:lnTo>
                    <a:pt x="3506" y="3130"/>
                  </a:lnTo>
                  <a:lnTo>
                    <a:pt x="3388" y="3185"/>
                  </a:lnTo>
                  <a:lnTo>
                    <a:pt x="3255" y="3297"/>
                  </a:lnTo>
                  <a:lnTo>
                    <a:pt x="3186" y="3387"/>
                  </a:lnTo>
                  <a:lnTo>
                    <a:pt x="3172" y="3380"/>
                  </a:lnTo>
                  <a:lnTo>
                    <a:pt x="3151" y="3373"/>
                  </a:lnTo>
                  <a:lnTo>
                    <a:pt x="3137" y="3359"/>
                  </a:lnTo>
                  <a:lnTo>
                    <a:pt x="3109" y="3324"/>
                  </a:lnTo>
                  <a:lnTo>
                    <a:pt x="3088" y="3297"/>
                  </a:lnTo>
                  <a:lnTo>
                    <a:pt x="3061" y="3248"/>
                  </a:lnTo>
                  <a:lnTo>
                    <a:pt x="3026" y="3227"/>
                  </a:lnTo>
                  <a:lnTo>
                    <a:pt x="3019" y="3227"/>
                  </a:lnTo>
                  <a:lnTo>
                    <a:pt x="2984" y="3248"/>
                  </a:lnTo>
                  <a:lnTo>
                    <a:pt x="2949" y="3220"/>
                  </a:lnTo>
                  <a:lnTo>
                    <a:pt x="2977" y="3158"/>
                  </a:lnTo>
                  <a:lnTo>
                    <a:pt x="2949" y="3123"/>
                  </a:lnTo>
                  <a:lnTo>
                    <a:pt x="2949" y="3095"/>
                  </a:lnTo>
                  <a:lnTo>
                    <a:pt x="2921" y="3060"/>
                  </a:lnTo>
                  <a:lnTo>
                    <a:pt x="2942" y="2991"/>
                  </a:lnTo>
                  <a:lnTo>
                    <a:pt x="2928" y="2963"/>
                  </a:lnTo>
                  <a:lnTo>
                    <a:pt x="2956" y="2949"/>
                  </a:lnTo>
                  <a:lnTo>
                    <a:pt x="2928" y="2886"/>
                  </a:lnTo>
                  <a:lnTo>
                    <a:pt x="2956" y="2754"/>
                  </a:lnTo>
                  <a:lnTo>
                    <a:pt x="2928" y="2740"/>
                  </a:lnTo>
                  <a:lnTo>
                    <a:pt x="2907" y="2726"/>
                  </a:lnTo>
                  <a:lnTo>
                    <a:pt x="2921" y="2719"/>
                  </a:lnTo>
                  <a:lnTo>
                    <a:pt x="2949" y="2699"/>
                  </a:lnTo>
                  <a:lnTo>
                    <a:pt x="2852" y="2622"/>
                  </a:lnTo>
                  <a:lnTo>
                    <a:pt x="2852" y="2650"/>
                  </a:lnTo>
                  <a:lnTo>
                    <a:pt x="2831" y="2657"/>
                  </a:lnTo>
                  <a:lnTo>
                    <a:pt x="2831" y="2636"/>
                  </a:lnTo>
                  <a:lnTo>
                    <a:pt x="2824" y="2636"/>
                  </a:lnTo>
                  <a:lnTo>
                    <a:pt x="2810" y="2636"/>
                  </a:lnTo>
                  <a:lnTo>
                    <a:pt x="2810" y="2629"/>
                  </a:lnTo>
                  <a:lnTo>
                    <a:pt x="2789" y="2622"/>
                  </a:lnTo>
                  <a:lnTo>
                    <a:pt x="2734" y="2622"/>
                  </a:lnTo>
                  <a:lnTo>
                    <a:pt x="2727" y="2594"/>
                  </a:lnTo>
                  <a:lnTo>
                    <a:pt x="2699" y="2601"/>
                  </a:lnTo>
                  <a:lnTo>
                    <a:pt x="2699" y="2629"/>
                  </a:lnTo>
                  <a:lnTo>
                    <a:pt x="2699" y="2657"/>
                  </a:lnTo>
                  <a:lnTo>
                    <a:pt x="2699" y="2636"/>
                  </a:lnTo>
                  <a:lnTo>
                    <a:pt x="2692" y="2657"/>
                  </a:lnTo>
                  <a:lnTo>
                    <a:pt x="2678" y="2608"/>
                  </a:lnTo>
                  <a:lnTo>
                    <a:pt x="2657" y="2608"/>
                  </a:lnTo>
                  <a:lnTo>
                    <a:pt x="2650" y="2622"/>
                  </a:lnTo>
                  <a:lnTo>
                    <a:pt x="2636" y="2636"/>
                  </a:lnTo>
                  <a:lnTo>
                    <a:pt x="2650" y="2657"/>
                  </a:lnTo>
                  <a:lnTo>
                    <a:pt x="2650" y="2671"/>
                  </a:lnTo>
                  <a:lnTo>
                    <a:pt x="2615" y="2657"/>
                  </a:lnTo>
                  <a:lnTo>
                    <a:pt x="2615" y="2650"/>
                  </a:lnTo>
                  <a:lnTo>
                    <a:pt x="2615" y="2629"/>
                  </a:lnTo>
                  <a:lnTo>
                    <a:pt x="2588" y="2594"/>
                  </a:lnTo>
                  <a:lnTo>
                    <a:pt x="2567" y="2629"/>
                  </a:lnTo>
                  <a:lnTo>
                    <a:pt x="2462" y="2726"/>
                  </a:lnTo>
                  <a:lnTo>
                    <a:pt x="2435" y="2726"/>
                  </a:lnTo>
                  <a:lnTo>
                    <a:pt x="2421" y="2719"/>
                  </a:lnTo>
                  <a:lnTo>
                    <a:pt x="2400" y="2671"/>
                  </a:lnTo>
                  <a:lnTo>
                    <a:pt x="2337" y="2622"/>
                  </a:lnTo>
                  <a:lnTo>
                    <a:pt x="2295" y="2566"/>
                  </a:lnTo>
                  <a:lnTo>
                    <a:pt x="2219" y="2518"/>
                  </a:lnTo>
                  <a:lnTo>
                    <a:pt x="2177" y="2441"/>
                  </a:lnTo>
                  <a:lnTo>
                    <a:pt x="2156" y="2434"/>
                  </a:lnTo>
                  <a:lnTo>
                    <a:pt x="2129" y="2337"/>
                  </a:lnTo>
                  <a:lnTo>
                    <a:pt x="2094" y="2260"/>
                  </a:lnTo>
                  <a:lnTo>
                    <a:pt x="2045" y="2232"/>
                  </a:lnTo>
                  <a:lnTo>
                    <a:pt x="2003" y="2239"/>
                  </a:lnTo>
                  <a:lnTo>
                    <a:pt x="1962" y="2302"/>
                  </a:lnTo>
                  <a:lnTo>
                    <a:pt x="1934" y="2267"/>
                  </a:lnTo>
                  <a:lnTo>
                    <a:pt x="1795" y="2198"/>
                  </a:lnTo>
                  <a:lnTo>
                    <a:pt x="1718" y="2163"/>
                  </a:lnTo>
                  <a:lnTo>
                    <a:pt x="1711" y="2135"/>
                  </a:lnTo>
                  <a:lnTo>
                    <a:pt x="1774" y="2135"/>
                  </a:lnTo>
                  <a:lnTo>
                    <a:pt x="1808" y="2065"/>
                  </a:lnTo>
                  <a:lnTo>
                    <a:pt x="1808" y="2017"/>
                  </a:lnTo>
                  <a:lnTo>
                    <a:pt x="1829" y="2010"/>
                  </a:lnTo>
                  <a:lnTo>
                    <a:pt x="1815" y="1982"/>
                  </a:lnTo>
                  <a:lnTo>
                    <a:pt x="1774" y="1940"/>
                  </a:lnTo>
                  <a:lnTo>
                    <a:pt x="1753" y="1961"/>
                  </a:lnTo>
                  <a:lnTo>
                    <a:pt x="1732" y="1912"/>
                  </a:lnTo>
                  <a:lnTo>
                    <a:pt x="1732" y="1878"/>
                  </a:lnTo>
                  <a:lnTo>
                    <a:pt x="1683" y="1871"/>
                  </a:lnTo>
                  <a:lnTo>
                    <a:pt x="1683" y="1843"/>
                  </a:lnTo>
                  <a:lnTo>
                    <a:pt x="1662" y="1829"/>
                  </a:lnTo>
                  <a:lnTo>
                    <a:pt x="1641" y="1836"/>
                  </a:lnTo>
                  <a:lnTo>
                    <a:pt x="1600" y="1801"/>
                  </a:lnTo>
                  <a:lnTo>
                    <a:pt x="1579" y="1808"/>
                  </a:lnTo>
                  <a:lnTo>
                    <a:pt x="1565" y="1773"/>
                  </a:lnTo>
                  <a:lnTo>
                    <a:pt x="1544" y="1773"/>
                  </a:lnTo>
                  <a:lnTo>
                    <a:pt x="1537" y="1780"/>
                  </a:lnTo>
                  <a:lnTo>
                    <a:pt x="1516" y="1780"/>
                  </a:lnTo>
                  <a:lnTo>
                    <a:pt x="1509" y="1801"/>
                  </a:lnTo>
                  <a:lnTo>
                    <a:pt x="1481" y="1787"/>
                  </a:lnTo>
                  <a:lnTo>
                    <a:pt x="1474" y="1815"/>
                  </a:lnTo>
                  <a:lnTo>
                    <a:pt x="1440" y="1829"/>
                  </a:lnTo>
                  <a:lnTo>
                    <a:pt x="1440" y="1836"/>
                  </a:lnTo>
                  <a:lnTo>
                    <a:pt x="1433" y="1871"/>
                  </a:lnTo>
                  <a:lnTo>
                    <a:pt x="1377" y="1884"/>
                  </a:lnTo>
                  <a:lnTo>
                    <a:pt x="1349" y="1871"/>
                  </a:lnTo>
                  <a:lnTo>
                    <a:pt x="1322" y="1864"/>
                  </a:lnTo>
                  <a:lnTo>
                    <a:pt x="1314" y="1878"/>
                  </a:lnTo>
                  <a:lnTo>
                    <a:pt x="1238" y="1884"/>
                  </a:lnTo>
                  <a:lnTo>
                    <a:pt x="1210" y="1878"/>
                  </a:lnTo>
                  <a:lnTo>
                    <a:pt x="1189" y="1878"/>
                  </a:lnTo>
                  <a:lnTo>
                    <a:pt x="1155" y="1864"/>
                  </a:lnTo>
                  <a:lnTo>
                    <a:pt x="1057" y="1871"/>
                  </a:lnTo>
                  <a:lnTo>
                    <a:pt x="1008" y="1912"/>
                  </a:lnTo>
                  <a:lnTo>
                    <a:pt x="1008" y="1947"/>
                  </a:lnTo>
                  <a:lnTo>
                    <a:pt x="995" y="1947"/>
                  </a:lnTo>
                  <a:lnTo>
                    <a:pt x="897" y="1905"/>
                  </a:lnTo>
                  <a:lnTo>
                    <a:pt x="862" y="1905"/>
                  </a:lnTo>
                  <a:lnTo>
                    <a:pt x="800" y="1864"/>
                  </a:lnTo>
                  <a:lnTo>
                    <a:pt x="765" y="1843"/>
                  </a:lnTo>
                  <a:lnTo>
                    <a:pt x="723" y="1884"/>
                  </a:lnTo>
                  <a:lnTo>
                    <a:pt x="695" y="1878"/>
                  </a:lnTo>
                  <a:lnTo>
                    <a:pt x="626" y="1843"/>
                  </a:lnTo>
                  <a:lnTo>
                    <a:pt x="598" y="1871"/>
                  </a:lnTo>
                  <a:lnTo>
                    <a:pt x="584" y="1864"/>
                  </a:lnTo>
                  <a:lnTo>
                    <a:pt x="549" y="1843"/>
                  </a:lnTo>
                  <a:lnTo>
                    <a:pt x="549" y="1829"/>
                  </a:lnTo>
                  <a:lnTo>
                    <a:pt x="501" y="1766"/>
                  </a:lnTo>
                  <a:lnTo>
                    <a:pt x="501" y="1773"/>
                  </a:lnTo>
                  <a:lnTo>
                    <a:pt x="473" y="1766"/>
                  </a:lnTo>
                  <a:lnTo>
                    <a:pt x="459" y="1732"/>
                  </a:lnTo>
                  <a:lnTo>
                    <a:pt x="487" y="1676"/>
                  </a:lnTo>
                  <a:lnTo>
                    <a:pt x="549" y="1641"/>
                  </a:lnTo>
                  <a:lnTo>
                    <a:pt x="521" y="1578"/>
                  </a:lnTo>
                  <a:lnTo>
                    <a:pt x="521" y="1558"/>
                  </a:lnTo>
                  <a:lnTo>
                    <a:pt x="570" y="1544"/>
                  </a:lnTo>
                  <a:lnTo>
                    <a:pt x="521" y="1481"/>
                  </a:lnTo>
                  <a:lnTo>
                    <a:pt x="473" y="1488"/>
                  </a:lnTo>
                  <a:lnTo>
                    <a:pt x="466" y="1474"/>
                  </a:lnTo>
                  <a:lnTo>
                    <a:pt x="452" y="1460"/>
                  </a:lnTo>
                  <a:lnTo>
                    <a:pt x="452" y="1446"/>
                  </a:lnTo>
                  <a:lnTo>
                    <a:pt x="361" y="1460"/>
                  </a:lnTo>
                  <a:lnTo>
                    <a:pt x="334" y="1446"/>
                  </a:lnTo>
                  <a:lnTo>
                    <a:pt x="340" y="1439"/>
                  </a:lnTo>
                  <a:lnTo>
                    <a:pt x="320" y="1406"/>
                  </a:lnTo>
                  <a:lnTo>
                    <a:pt x="327" y="1378"/>
                  </a:lnTo>
                  <a:lnTo>
                    <a:pt x="229" y="1350"/>
                  </a:lnTo>
                  <a:lnTo>
                    <a:pt x="222" y="1308"/>
                  </a:lnTo>
                  <a:lnTo>
                    <a:pt x="208" y="1259"/>
                  </a:lnTo>
                  <a:lnTo>
                    <a:pt x="236" y="1225"/>
                  </a:lnTo>
                  <a:lnTo>
                    <a:pt x="271" y="1218"/>
                  </a:lnTo>
                  <a:lnTo>
                    <a:pt x="257" y="1176"/>
                  </a:lnTo>
                  <a:lnTo>
                    <a:pt x="271" y="1155"/>
                  </a:lnTo>
                  <a:lnTo>
                    <a:pt x="271" y="1127"/>
                  </a:lnTo>
                  <a:lnTo>
                    <a:pt x="194" y="1099"/>
                  </a:lnTo>
                  <a:lnTo>
                    <a:pt x="181" y="1078"/>
                  </a:lnTo>
                  <a:lnTo>
                    <a:pt x="167" y="1086"/>
                  </a:lnTo>
                  <a:lnTo>
                    <a:pt x="167" y="1058"/>
                  </a:lnTo>
                  <a:lnTo>
                    <a:pt x="139" y="1023"/>
                  </a:lnTo>
                  <a:lnTo>
                    <a:pt x="125" y="1002"/>
                  </a:lnTo>
                  <a:lnTo>
                    <a:pt x="48" y="932"/>
                  </a:lnTo>
                  <a:lnTo>
                    <a:pt x="28" y="926"/>
                  </a:lnTo>
                  <a:lnTo>
                    <a:pt x="7" y="884"/>
                  </a:lnTo>
                  <a:lnTo>
                    <a:pt x="14" y="856"/>
                  </a:lnTo>
                  <a:lnTo>
                    <a:pt x="28" y="828"/>
                  </a:lnTo>
                  <a:lnTo>
                    <a:pt x="28" y="793"/>
                  </a:lnTo>
                  <a:lnTo>
                    <a:pt x="28" y="738"/>
                  </a:lnTo>
                  <a:lnTo>
                    <a:pt x="0" y="717"/>
                  </a:lnTo>
                  <a:lnTo>
                    <a:pt x="34" y="668"/>
                  </a:lnTo>
                  <a:lnTo>
                    <a:pt x="48" y="661"/>
                  </a:lnTo>
                  <a:lnTo>
                    <a:pt x="97" y="689"/>
                  </a:lnTo>
                  <a:lnTo>
                    <a:pt x="104" y="696"/>
                  </a:lnTo>
                  <a:lnTo>
                    <a:pt x="132" y="717"/>
                  </a:lnTo>
                  <a:lnTo>
                    <a:pt x="160" y="717"/>
                  </a:lnTo>
                  <a:lnTo>
                    <a:pt x="167" y="682"/>
                  </a:lnTo>
                  <a:lnTo>
                    <a:pt x="181" y="682"/>
                  </a:lnTo>
                  <a:lnTo>
                    <a:pt x="194" y="640"/>
                  </a:lnTo>
                  <a:lnTo>
                    <a:pt x="264" y="605"/>
                  </a:lnTo>
                  <a:lnTo>
                    <a:pt x="264" y="592"/>
                  </a:lnTo>
                  <a:lnTo>
                    <a:pt x="278" y="599"/>
                  </a:lnTo>
                  <a:lnTo>
                    <a:pt x="292" y="571"/>
                  </a:lnTo>
                  <a:lnTo>
                    <a:pt x="320" y="557"/>
                  </a:lnTo>
                  <a:lnTo>
                    <a:pt x="375" y="529"/>
                  </a:lnTo>
                  <a:lnTo>
                    <a:pt x="368" y="522"/>
                  </a:lnTo>
                  <a:lnTo>
                    <a:pt x="320" y="494"/>
                  </a:lnTo>
                  <a:lnTo>
                    <a:pt x="278" y="432"/>
                  </a:lnTo>
                  <a:lnTo>
                    <a:pt x="306" y="432"/>
                  </a:lnTo>
                  <a:lnTo>
                    <a:pt x="278" y="397"/>
                  </a:lnTo>
                  <a:lnTo>
                    <a:pt x="278" y="376"/>
                  </a:lnTo>
                  <a:lnTo>
                    <a:pt x="292" y="355"/>
                  </a:lnTo>
                  <a:lnTo>
                    <a:pt x="299" y="299"/>
                  </a:lnTo>
                  <a:lnTo>
                    <a:pt x="278" y="265"/>
                  </a:lnTo>
                  <a:lnTo>
                    <a:pt x="278" y="258"/>
                  </a:lnTo>
                  <a:lnTo>
                    <a:pt x="306" y="202"/>
                  </a:lnTo>
                  <a:lnTo>
                    <a:pt x="340" y="146"/>
                  </a:lnTo>
                  <a:lnTo>
                    <a:pt x="334" y="63"/>
                  </a:lnTo>
                  <a:lnTo>
                    <a:pt x="340" y="42"/>
                  </a:lnTo>
                  <a:lnTo>
                    <a:pt x="494" y="63"/>
                  </a:lnTo>
                  <a:lnTo>
                    <a:pt x="626" y="63"/>
                  </a:lnTo>
                  <a:lnTo>
                    <a:pt x="647" y="63"/>
                  </a:lnTo>
                  <a:lnTo>
                    <a:pt x="682" y="70"/>
                  </a:lnTo>
                  <a:lnTo>
                    <a:pt x="716" y="98"/>
                  </a:lnTo>
                  <a:lnTo>
                    <a:pt x="890" y="98"/>
                  </a:lnTo>
                  <a:lnTo>
                    <a:pt x="1120" y="42"/>
                  </a:lnTo>
                  <a:lnTo>
                    <a:pt x="1203" y="63"/>
                  </a:lnTo>
                  <a:lnTo>
                    <a:pt x="1273" y="70"/>
                  </a:lnTo>
                  <a:lnTo>
                    <a:pt x="1322" y="70"/>
                  </a:lnTo>
                  <a:lnTo>
                    <a:pt x="1468" y="49"/>
                  </a:lnTo>
                  <a:lnTo>
                    <a:pt x="1641" y="28"/>
                  </a:lnTo>
                  <a:lnTo>
                    <a:pt x="1739" y="0"/>
                  </a:lnTo>
                  <a:lnTo>
                    <a:pt x="1829" y="0"/>
                  </a:lnTo>
                  <a:lnTo>
                    <a:pt x="1899" y="14"/>
                  </a:lnTo>
                  <a:lnTo>
                    <a:pt x="1913" y="35"/>
                  </a:lnTo>
                  <a:lnTo>
                    <a:pt x="1941" y="42"/>
                  </a:lnTo>
                  <a:lnTo>
                    <a:pt x="1982" y="70"/>
                  </a:lnTo>
                  <a:lnTo>
                    <a:pt x="2010" y="98"/>
                  </a:lnTo>
                  <a:lnTo>
                    <a:pt x="2045" y="132"/>
                  </a:lnTo>
                  <a:lnTo>
                    <a:pt x="2059" y="132"/>
                  </a:lnTo>
                  <a:lnTo>
                    <a:pt x="2066" y="140"/>
                  </a:lnTo>
                  <a:lnTo>
                    <a:pt x="2045" y="202"/>
                  </a:lnTo>
                  <a:lnTo>
                    <a:pt x="2073" y="244"/>
                  </a:lnTo>
                  <a:lnTo>
                    <a:pt x="2080" y="265"/>
                  </a:lnTo>
                  <a:lnTo>
                    <a:pt x="2080" y="299"/>
                  </a:lnTo>
                  <a:lnTo>
                    <a:pt x="2073" y="355"/>
                  </a:lnTo>
                  <a:lnTo>
                    <a:pt x="2045" y="397"/>
                  </a:lnTo>
                  <a:lnTo>
                    <a:pt x="2038" y="397"/>
                  </a:lnTo>
                  <a:lnTo>
                    <a:pt x="2031" y="404"/>
                  </a:lnTo>
                  <a:lnTo>
                    <a:pt x="2031" y="411"/>
                  </a:lnTo>
                  <a:lnTo>
                    <a:pt x="1968" y="459"/>
                  </a:lnTo>
                  <a:lnTo>
                    <a:pt x="1899" y="508"/>
                  </a:lnTo>
                  <a:lnTo>
                    <a:pt x="1871" y="557"/>
                  </a:lnTo>
                  <a:lnTo>
                    <a:pt x="1829" y="585"/>
                  </a:lnTo>
                  <a:lnTo>
                    <a:pt x="1662" y="682"/>
                  </a:lnTo>
                  <a:lnTo>
                    <a:pt x="1586" y="738"/>
                  </a:lnTo>
                  <a:lnTo>
                    <a:pt x="1579" y="793"/>
                  </a:lnTo>
                  <a:lnTo>
                    <a:pt x="1607" y="926"/>
                  </a:lnTo>
                  <a:lnTo>
                    <a:pt x="1635" y="995"/>
                  </a:lnTo>
                  <a:lnTo>
                    <a:pt x="1718" y="1093"/>
                  </a:lnTo>
                  <a:lnTo>
                    <a:pt x="1801" y="1141"/>
                  </a:lnTo>
                  <a:lnTo>
                    <a:pt x="2080" y="1280"/>
                  </a:lnTo>
                  <a:lnTo>
                    <a:pt x="2101" y="1287"/>
                  </a:lnTo>
                  <a:lnTo>
                    <a:pt x="2198" y="1357"/>
                  </a:lnTo>
                  <a:lnTo>
                    <a:pt x="2351" y="1406"/>
                  </a:lnTo>
                  <a:lnTo>
                    <a:pt x="2462" y="1474"/>
                  </a:lnTo>
                  <a:lnTo>
                    <a:pt x="2497" y="1502"/>
                  </a:lnTo>
                  <a:lnTo>
                    <a:pt x="2525" y="1516"/>
                  </a:lnTo>
                  <a:lnTo>
                    <a:pt x="2594" y="1537"/>
                  </a:lnTo>
                  <a:lnTo>
                    <a:pt x="2650" y="1571"/>
                  </a:lnTo>
                  <a:lnTo>
                    <a:pt x="2657" y="1571"/>
                  </a:lnTo>
                  <a:lnTo>
                    <a:pt x="2748" y="1620"/>
                  </a:lnTo>
                  <a:lnTo>
                    <a:pt x="2817" y="1648"/>
                  </a:lnTo>
                  <a:lnTo>
                    <a:pt x="2880" y="1669"/>
                  </a:lnTo>
                  <a:lnTo>
                    <a:pt x="2963" y="1704"/>
                  </a:lnTo>
                  <a:lnTo>
                    <a:pt x="3061" y="1745"/>
                  </a:lnTo>
                  <a:lnTo>
                    <a:pt x="3137" y="1780"/>
                  </a:lnTo>
                  <a:lnTo>
                    <a:pt x="3151" y="1773"/>
                  </a:lnTo>
                  <a:lnTo>
                    <a:pt x="3179" y="1787"/>
                  </a:lnTo>
                  <a:lnTo>
                    <a:pt x="3193" y="1773"/>
                  </a:lnTo>
                  <a:lnTo>
                    <a:pt x="3207" y="1808"/>
                  </a:lnTo>
                  <a:lnTo>
                    <a:pt x="3339" y="1864"/>
                  </a:lnTo>
                  <a:lnTo>
                    <a:pt x="3464" y="1898"/>
                  </a:lnTo>
                  <a:lnTo>
                    <a:pt x="3596" y="1961"/>
                  </a:lnTo>
                  <a:lnTo>
                    <a:pt x="3645" y="1996"/>
                  </a:lnTo>
                  <a:lnTo>
                    <a:pt x="3707" y="2031"/>
                  </a:lnTo>
                  <a:lnTo>
                    <a:pt x="3735" y="2065"/>
                  </a:lnTo>
                  <a:lnTo>
                    <a:pt x="3826" y="2107"/>
                  </a:lnTo>
                  <a:lnTo>
                    <a:pt x="3833" y="2114"/>
                  </a:lnTo>
                  <a:lnTo>
                    <a:pt x="3909" y="2191"/>
                  </a:lnTo>
                  <a:lnTo>
                    <a:pt x="3972" y="2267"/>
                  </a:lnTo>
                  <a:lnTo>
                    <a:pt x="4041" y="2309"/>
                  </a:lnTo>
                  <a:lnTo>
                    <a:pt x="4139" y="2392"/>
                  </a:lnTo>
                  <a:lnTo>
                    <a:pt x="4174" y="2427"/>
                  </a:lnTo>
                  <a:lnTo>
                    <a:pt x="4257" y="2476"/>
                  </a:lnTo>
                  <a:lnTo>
                    <a:pt x="4522" y="2587"/>
                  </a:lnTo>
                  <a:lnTo>
                    <a:pt x="4626" y="2650"/>
                  </a:lnTo>
                  <a:lnTo>
                    <a:pt x="4709" y="2691"/>
                  </a:lnTo>
                  <a:lnTo>
                    <a:pt x="4723" y="2699"/>
                  </a:lnTo>
                  <a:lnTo>
                    <a:pt x="4723" y="2719"/>
                  </a:lnTo>
                  <a:lnTo>
                    <a:pt x="4821" y="2761"/>
                  </a:lnTo>
                  <a:lnTo>
                    <a:pt x="4946" y="2768"/>
                  </a:lnTo>
                  <a:lnTo>
                    <a:pt x="4988" y="2817"/>
                  </a:lnTo>
                  <a:lnTo>
                    <a:pt x="5008" y="2817"/>
                  </a:lnTo>
                  <a:lnTo>
                    <a:pt x="4995" y="2824"/>
                  </a:lnTo>
                  <a:lnTo>
                    <a:pt x="4988" y="2824"/>
                  </a:lnTo>
                  <a:lnTo>
                    <a:pt x="4960" y="2851"/>
                  </a:lnTo>
                  <a:lnTo>
                    <a:pt x="4946" y="2865"/>
                  </a:lnTo>
                  <a:lnTo>
                    <a:pt x="4974" y="2858"/>
                  </a:lnTo>
                  <a:lnTo>
                    <a:pt x="4974" y="2865"/>
                  </a:lnTo>
                  <a:lnTo>
                    <a:pt x="4988" y="2851"/>
                  </a:lnTo>
                  <a:lnTo>
                    <a:pt x="5050" y="2838"/>
                  </a:lnTo>
                  <a:lnTo>
                    <a:pt x="5057" y="2831"/>
                  </a:lnTo>
                  <a:lnTo>
                    <a:pt x="5071" y="2858"/>
                  </a:lnTo>
                  <a:lnTo>
                    <a:pt x="5085" y="2858"/>
                  </a:lnTo>
                  <a:lnTo>
                    <a:pt x="5085" y="2900"/>
                  </a:lnTo>
                  <a:lnTo>
                    <a:pt x="5120" y="2963"/>
                  </a:lnTo>
                  <a:lnTo>
                    <a:pt x="5113" y="3025"/>
                  </a:lnTo>
                  <a:lnTo>
                    <a:pt x="5127" y="3046"/>
                  </a:lnTo>
                  <a:lnTo>
                    <a:pt x="5175" y="3081"/>
                  </a:lnTo>
                  <a:lnTo>
                    <a:pt x="5217" y="3130"/>
                  </a:lnTo>
                </a:path>
              </a:pathLst>
            </a:custGeom>
            <a:grpFill/>
            <a:ln w="9525" cap="flat" cmpd="sng">
              <a:solidFill>
                <a:schemeClr val="bg1"/>
              </a:solid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53" name="Freeform 50">
              <a:extLst>
                <a:ext uri="{FF2B5EF4-FFF2-40B4-BE49-F238E27FC236}">
                  <a16:creationId xmlns:a16="http://schemas.microsoft.com/office/drawing/2014/main" id="{52CFB24E-841A-4EBF-8368-8B6B3564BFBD}"/>
                </a:ext>
              </a:extLst>
            </p:cNvPr>
            <p:cNvSpPr>
              <a:spLocks noChangeArrowheads="1"/>
            </p:cNvSpPr>
            <p:nvPr/>
          </p:nvSpPr>
          <p:spPr bwMode="auto">
            <a:xfrm>
              <a:off x="19906625" y="7639548"/>
              <a:ext cx="10354" cy="20712"/>
            </a:xfrm>
            <a:custGeom>
              <a:avLst/>
              <a:gdLst>
                <a:gd name="T0" fmla="*/ 0 w 22"/>
                <a:gd name="T1" fmla="*/ 35 h 42"/>
                <a:gd name="T2" fmla="*/ 14 w 22"/>
                <a:gd name="T3" fmla="*/ 0 h 42"/>
                <a:gd name="T4" fmla="*/ 21 w 22"/>
                <a:gd name="T5" fmla="*/ 7 h 42"/>
                <a:gd name="T6" fmla="*/ 0 w 22"/>
                <a:gd name="T7" fmla="*/ 41 h 42"/>
                <a:gd name="T8" fmla="*/ 0 w 22"/>
                <a:gd name="T9" fmla="*/ 35 h 42"/>
              </a:gdLst>
              <a:ahLst/>
              <a:cxnLst>
                <a:cxn ang="0">
                  <a:pos x="T0" y="T1"/>
                </a:cxn>
                <a:cxn ang="0">
                  <a:pos x="T2" y="T3"/>
                </a:cxn>
                <a:cxn ang="0">
                  <a:pos x="T4" y="T5"/>
                </a:cxn>
                <a:cxn ang="0">
                  <a:pos x="T6" y="T7"/>
                </a:cxn>
                <a:cxn ang="0">
                  <a:pos x="T8" y="T9"/>
                </a:cxn>
              </a:cxnLst>
              <a:rect l="0" t="0" r="r" b="b"/>
              <a:pathLst>
                <a:path w="22" h="42">
                  <a:moveTo>
                    <a:pt x="0" y="35"/>
                  </a:moveTo>
                  <a:lnTo>
                    <a:pt x="14" y="0"/>
                  </a:lnTo>
                  <a:lnTo>
                    <a:pt x="21" y="7"/>
                  </a:lnTo>
                  <a:lnTo>
                    <a:pt x="0" y="41"/>
                  </a:lnTo>
                  <a:lnTo>
                    <a:pt x="0" y="35"/>
                  </a:lnTo>
                </a:path>
              </a:pathLst>
            </a:custGeom>
            <a:grpFill/>
            <a:ln w="9525" cap="flat" cmpd="sng">
              <a:solidFill>
                <a:schemeClr val="bg1"/>
              </a:solid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54" name="Freeform 51">
              <a:extLst>
                <a:ext uri="{FF2B5EF4-FFF2-40B4-BE49-F238E27FC236}">
                  <a16:creationId xmlns:a16="http://schemas.microsoft.com/office/drawing/2014/main" id="{4D768293-BB2C-4E8F-A342-4A7EC9277408}"/>
                </a:ext>
              </a:extLst>
            </p:cNvPr>
            <p:cNvSpPr>
              <a:spLocks noChangeArrowheads="1"/>
            </p:cNvSpPr>
            <p:nvPr/>
          </p:nvSpPr>
          <p:spPr bwMode="auto">
            <a:xfrm>
              <a:off x="19921122" y="7629191"/>
              <a:ext cx="10356" cy="14498"/>
            </a:xfrm>
            <a:custGeom>
              <a:avLst/>
              <a:gdLst>
                <a:gd name="T0" fmla="*/ 0 w 22"/>
                <a:gd name="T1" fmla="*/ 28 h 29"/>
                <a:gd name="T2" fmla="*/ 21 w 22"/>
                <a:gd name="T3" fmla="*/ 0 h 29"/>
                <a:gd name="T4" fmla="*/ 14 w 22"/>
                <a:gd name="T5" fmla="*/ 0 h 29"/>
                <a:gd name="T6" fmla="*/ 0 w 22"/>
                <a:gd name="T7" fmla="*/ 28 h 29"/>
              </a:gdLst>
              <a:ahLst/>
              <a:cxnLst>
                <a:cxn ang="0">
                  <a:pos x="T0" y="T1"/>
                </a:cxn>
                <a:cxn ang="0">
                  <a:pos x="T2" y="T3"/>
                </a:cxn>
                <a:cxn ang="0">
                  <a:pos x="T4" y="T5"/>
                </a:cxn>
                <a:cxn ang="0">
                  <a:pos x="T6" y="T7"/>
                </a:cxn>
              </a:cxnLst>
              <a:rect l="0" t="0" r="r" b="b"/>
              <a:pathLst>
                <a:path w="22" h="29">
                  <a:moveTo>
                    <a:pt x="0" y="28"/>
                  </a:moveTo>
                  <a:lnTo>
                    <a:pt x="21" y="0"/>
                  </a:lnTo>
                  <a:lnTo>
                    <a:pt x="14" y="0"/>
                  </a:lnTo>
                  <a:lnTo>
                    <a:pt x="0" y="28"/>
                  </a:lnTo>
                </a:path>
              </a:pathLst>
            </a:custGeom>
            <a:grpFill/>
            <a:ln w="9525" cap="flat" cmpd="sng">
              <a:solidFill>
                <a:schemeClr val="bg1"/>
              </a:solid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55" name="Freeform 52">
              <a:extLst>
                <a:ext uri="{FF2B5EF4-FFF2-40B4-BE49-F238E27FC236}">
                  <a16:creationId xmlns:a16="http://schemas.microsoft.com/office/drawing/2014/main" id="{D660DD1D-282A-4400-B1DF-AC8B4AF41DCA}"/>
                </a:ext>
              </a:extLst>
            </p:cNvPr>
            <p:cNvSpPr>
              <a:spLocks noChangeArrowheads="1"/>
            </p:cNvSpPr>
            <p:nvPr/>
          </p:nvSpPr>
          <p:spPr bwMode="auto">
            <a:xfrm>
              <a:off x="19925264" y="7620908"/>
              <a:ext cx="6214" cy="10356"/>
            </a:xfrm>
            <a:custGeom>
              <a:avLst/>
              <a:gdLst>
                <a:gd name="T0" fmla="*/ 0 w 15"/>
                <a:gd name="T1" fmla="*/ 14 h 22"/>
                <a:gd name="T2" fmla="*/ 14 w 15"/>
                <a:gd name="T3" fmla="*/ 0 h 22"/>
                <a:gd name="T4" fmla="*/ 0 w 15"/>
                <a:gd name="T5" fmla="*/ 21 h 22"/>
                <a:gd name="T6" fmla="*/ 0 w 15"/>
                <a:gd name="T7" fmla="*/ 14 h 22"/>
              </a:gdLst>
              <a:ahLst/>
              <a:cxnLst>
                <a:cxn ang="0">
                  <a:pos x="T0" y="T1"/>
                </a:cxn>
                <a:cxn ang="0">
                  <a:pos x="T2" y="T3"/>
                </a:cxn>
                <a:cxn ang="0">
                  <a:pos x="T4" y="T5"/>
                </a:cxn>
                <a:cxn ang="0">
                  <a:pos x="T6" y="T7"/>
                </a:cxn>
              </a:cxnLst>
              <a:rect l="0" t="0" r="r" b="b"/>
              <a:pathLst>
                <a:path w="15" h="22">
                  <a:moveTo>
                    <a:pt x="0" y="14"/>
                  </a:moveTo>
                  <a:lnTo>
                    <a:pt x="14" y="0"/>
                  </a:lnTo>
                  <a:lnTo>
                    <a:pt x="0" y="21"/>
                  </a:lnTo>
                  <a:lnTo>
                    <a:pt x="0" y="14"/>
                  </a:lnTo>
                </a:path>
              </a:pathLst>
            </a:custGeom>
            <a:grpFill/>
            <a:ln w="9525" cap="flat" cmpd="sng">
              <a:solidFill>
                <a:schemeClr val="bg1"/>
              </a:solid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56" name="Freeform 53">
              <a:extLst>
                <a:ext uri="{FF2B5EF4-FFF2-40B4-BE49-F238E27FC236}">
                  <a16:creationId xmlns:a16="http://schemas.microsoft.com/office/drawing/2014/main" id="{09B62EC6-490B-4FBB-A528-A88712DC2436}"/>
                </a:ext>
              </a:extLst>
            </p:cNvPr>
            <p:cNvSpPr>
              <a:spLocks noChangeArrowheads="1"/>
            </p:cNvSpPr>
            <p:nvPr/>
          </p:nvSpPr>
          <p:spPr bwMode="auto">
            <a:xfrm>
              <a:off x="20122020" y="7521487"/>
              <a:ext cx="4142" cy="6213"/>
            </a:xfrm>
            <a:custGeom>
              <a:avLst/>
              <a:gdLst>
                <a:gd name="T0" fmla="*/ 0 w 8"/>
                <a:gd name="T1" fmla="*/ 0 h 15"/>
                <a:gd name="T2" fmla="*/ 7 w 8"/>
                <a:gd name="T3" fmla="*/ 0 h 15"/>
                <a:gd name="T4" fmla="*/ 0 w 8"/>
                <a:gd name="T5" fmla="*/ 14 h 15"/>
                <a:gd name="T6" fmla="*/ 0 w 8"/>
                <a:gd name="T7" fmla="*/ 0 h 15"/>
              </a:gdLst>
              <a:ahLst/>
              <a:cxnLst>
                <a:cxn ang="0">
                  <a:pos x="T0" y="T1"/>
                </a:cxn>
                <a:cxn ang="0">
                  <a:pos x="T2" y="T3"/>
                </a:cxn>
                <a:cxn ang="0">
                  <a:pos x="T4" y="T5"/>
                </a:cxn>
                <a:cxn ang="0">
                  <a:pos x="T6" y="T7"/>
                </a:cxn>
              </a:cxnLst>
              <a:rect l="0" t="0" r="r" b="b"/>
              <a:pathLst>
                <a:path w="8" h="15">
                  <a:moveTo>
                    <a:pt x="0" y="0"/>
                  </a:moveTo>
                  <a:lnTo>
                    <a:pt x="7" y="0"/>
                  </a:lnTo>
                  <a:lnTo>
                    <a:pt x="0" y="14"/>
                  </a:lnTo>
                  <a:lnTo>
                    <a:pt x="0" y="0"/>
                  </a:lnTo>
                </a:path>
              </a:pathLst>
            </a:custGeom>
            <a:grpFill/>
            <a:ln w="9525" cap="flat" cmpd="sng">
              <a:solidFill>
                <a:schemeClr val="bg1"/>
              </a:solid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57" name="Freeform 54">
              <a:extLst>
                <a:ext uri="{FF2B5EF4-FFF2-40B4-BE49-F238E27FC236}">
                  <a16:creationId xmlns:a16="http://schemas.microsoft.com/office/drawing/2014/main" id="{E06ACED5-5590-400D-B590-3E6AC258DF9D}"/>
                </a:ext>
              </a:extLst>
            </p:cNvPr>
            <p:cNvSpPr>
              <a:spLocks noChangeArrowheads="1"/>
            </p:cNvSpPr>
            <p:nvPr/>
          </p:nvSpPr>
          <p:spPr bwMode="auto">
            <a:xfrm>
              <a:off x="21807903" y="9775002"/>
              <a:ext cx="10354" cy="4142"/>
            </a:xfrm>
            <a:custGeom>
              <a:avLst/>
              <a:gdLst>
                <a:gd name="T0" fmla="*/ 0 w 22"/>
                <a:gd name="T1" fmla="*/ 7 h 8"/>
                <a:gd name="T2" fmla="*/ 21 w 22"/>
                <a:gd name="T3" fmla="*/ 0 h 8"/>
                <a:gd name="T4" fmla="*/ 0 w 22"/>
                <a:gd name="T5" fmla="*/ 7 h 8"/>
              </a:gdLst>
              <a:ahLst/>
              <a:cxnLst>
                <a:cxn ang="0">
                  <a:pos x="T0" y="T1"/>
                </a:cxn>
                <a:cxn ang="0">
                  <a:pos x="T2" y="T3"/>
                </a:cxn>
                <a:cxn ang="0">
                  <a:pos x="T4" y="T5"/>
                </a:cxn>
              </a:cxnLst>
              <a:rect l="0" t="0" r="r" b="b"/>
              <a:pathLst>
                <a:path w="22" h="8">
                  <a:moveTo>
                    <a:pt x="0" y="7"/>
                  </a:moveTo>
                  <a:lnTo>
                    <a:pt x="21" y="0"/>
                  </a:lnTo>
                  <a:lnTo>
                    <a:pt x="0" y="7"/>
                  </a:lnTo>
                </a:path>
              </a:pathLst>
            </a:custGeom>
            <a:grpFill/>
            <a:ln w="9525" cap="flat" cmpd="sng">
              <a:solidFill>
                <a:schemeClr val="bg1"/>
              </a:solid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58" name="Freeform 55">
              <a:extLst>
                <a:ext uri="{FF2B5EF4-FFF2-40B4-BE49-F238E27FC236}">
                  <a16:creationId xmlns:a16="http://schemas.microsoft.com/office/drawing/2014/main" id="{B77C631A-303D-45CA-8AF0-318350326985}"/>
                </a:ext>
              </a:extLst>
            </p:cNvPr>
            <p:cNvSpPr>
              <a:spLocks noChangeArrowheads="1"/>
            </p:cNvSpPr>
            <p:nvPr/>
          </p:nvSpPr>
          <p:spPr bwMode="auto">
            <a:xfrm>
              <a:off x="21188641" y="9354539"/>
              <a:ext cx="14498" cy="14499"/>
            </a:xfrm>
            <a:custGeom>
              <a:avLst/>
              <a:gdLst>
                <a:gd name="T0" fmla="*/ 28 w 29"/>
                <a:gd name="T1" fmla="*/ 0 h 29"/>
                <a:gd name="T2" fmla="*/ 28 w 29"/>
                <a:gd name="T3" fmla="*/ 28 h 29"/>
                <a:gd name="T4" fmla="*/ 0 w 29"/>
                <a:gd name="T5" fmla="*/ 21 h 29"/>
                <a:gd name="T6" fmla="*/ 28 w 29"/>
                <a:gd name="T7" fmla="*/ 0 h 29"/>
              </a:gdLst>
              <a:ahLst/>
              <a:cxnLst>
                <a:cxn ang="0">
                  <a:pos x="T0" y="T1"/>
                </a:cxn>
                <a:cxn ang="0">
                  <a:pos x="T2" y="T3"/>
                </a:cxn>
                <a:cxn ang="0">
                  <a:pos x="T4" y="T5"/>
                </a:cxn>
                <a:cxn ang="0">
                  <a:pos x="T6" y="T7"/>
                </a:cxn>
              </a:cxnLst>
              <a:rect l="0" t="0" r="r" b="b"/>
              <a:pathLst>
                <a:path w="29" h="29">
                  <a:moveTo>
                    <a:pt x="28" y="0"/>
                  </a:moveTo>
                  <a:lnTo>
                    <a:pt x="28" y="28"/>
                  </a:lnTo>
                  <a:lnTo>
                    <a:pt x="0" y="21"/>
                  </a:lnTo>
                  <a:lnTo>
                    <a:pt x="28" y="0"/>
                  </a:lnTo>
                </a:path>
              </a:pathLst>
            </a:custGeom>
            <a:grpFill/>
            <a:ln w="9525" cap="flat" cmpd="sng">
              <a:solidFill>
                <a:schemeClr val="bg1"/>
              </a:solid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59" name="Freeform 56">
              <a:extLst>
                <a:ext uri="{FF2B5EF4-FFF2-40B4-BE49-F238E27FC236}">
                  <a16:creationId xmlns:a16="http://schemas.microsoft.com/office/drawing/2014/main" id="{F04B34E5-AC95-4F49-A0EA-A3DC9AB3BE13}"/>
                </a:ext>
              </a:extLst>
            </p:cNvPr>
            <p:cNvSpPr>
              <a:spLocks noChangeArrowheads="1"/>
            </p:cNvSpPr>
            <p:nvPr/>
          </p:nvSpPr>
          <p:spPr bwMode="auto">
            <a:xfrm>
              <a:off x="18297372" y="9004499"/>
              <a:ext cx="22783" cy="10356"/>
            </a:xfrm>
            <a:custGeom>
              <a:avLst/>
              <a:gdLst>
                <a:gd name="T0" fmla="*/ 49 w 50"/>
                <a:gd name="T1" fmla="*/ 0 h 21"/>
                <a:gd name="T2" fmla="*/ 49 w 50"/>
                <a:gd name="T3" fmla="*/ 6 h 21"/>
                <a:gd name="T4" fmla="*/ 0 w 50"/>
                <a:gd name="T5" fmla="*/ 20 h 21"/>
                <a:gd name="T6" fmla="*/ 28 w 50"/>
                <a:gd name="T7" fmla="*/ 6 h 21"/>
                <a:gd name="T8" fmla="*/ 49 w 50"/>
                <a:gd name="T9" fmla="*/ 0 h 21"/>
              </a:gdLst>
              <a:ahLst/>
              <a:cxnLst>
                <a:cxn ang="0">
                  <a:pos x="T0" y="T1"/>
                </a:cxn>
                <a:cxn ang="0">
                  <a:pos x="T2" y="T3"/>
                </a:cxn>
                <a:cxn ang="0">
                  <a:pos x="T4" y="T5"/>
                </a:cxn>
                <a:cxn ang="0">
                  <a:pos x="T6" y="T7"/>
                </a:cxn>
                <a:cxn ang="0">
                  <a:pos x="T8" y="T9"/>
                </a:cxn>
              </a:cxnLst>
              <a:rect l="0" t="0" r="r" b="b"/>
              <a:pathLst>
                <a:path w="50" h="21">
                  <a:moveTo>
                    <a:pt x="49" y="0"/>
                  </a:moveTo>
                  <a:lnTo>
                    <a:pt x="49" y="6"/>
                  </a:lnTo>
                  <a:lnTo>
                    <a:pt x="0" y="20"/>
                  </a:lnTo>
                  <a:lnTo>
                    <a:pt x="28" y="6"/>
                  </a:lnTo>
                  <a:lnTo>
                    <a:pt x="49" y="0"/>
                  </a:lnTo>
                </a:path>
              </a:pathLst>
            </a:custGeom>
            <a:grpFill/>
            <a:ln w="9525" cap="flat" cmpd="sng">
              <a:solidFill>
                <a:schemeClr val="bg1"/>
              </a:solid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60" name="Freeform 57">
              <a:extLst>
                <a:ext uri="{FF2B5EF4-FFF2-40B4-BE49-F238E27FC236}">
                  <a16:creationId xmlns:a16="http://schemas.microsoft.com/office/drawing/2014/main" id="{99F66AFF-948F-47C7-8FB2-D7DE08A636C4}"/>
                </a:ext>
              </a:extLst>
            </p:cNvPr>
            <p:cNvSpPr>
              <a:spLocks noChangeArrowheads="1"/>
            </p:cNvSpPr>
            <p:nvPr/>
          </p:nvSpPr>
          <p:spPr bwMode="auto">
            <a:xfrm>
              <a:off x="18330509" y="9012784"/>
              <a:ext cx="10356" cy="4142"/>
            </a:xfrm>
            <a:custGeom>
              <a:avLst/>
              <a:gdLst>
                <a:gd name="T0" fmla="*/ 14 w 22"/>
                <a:gd name="T1" fmla="*/ 0 h 7"/>
                <a:gd name="T2" fmla="*/ 21 w 22"/>
                <a:gd name="T3" fmla="*/ 6 h 7"/>
                <a:gd name="T4" fmla="*/ 0 w 22"/>
                <a:gd name="T5" fmla="*/ 6 h 7"/>
                <a:gd name="T6" fmla="*/ 14 w 22"/>
                <a:gd name="T7" fmla="*/ 0 h 7"/>
              </a:gdLst>
              <a:ahLst/>
              <a:cxnLst>
                <a:cxn ang="0">
                  <a:pos x="T0" y="T1"/>
                </a:cxn>
                <a:cxn ang="0">
                  <a:pos x="T2" y="T3"/>
                </a:cxn>
                <a:cxn ang="0">
                  <a:pos x="T4" y="T5"/>
                </a:cxn>
                <a:cxn ang="0">
                  <a:pos x="T6" y="T7"/>
                </a:cxn>
              </a:cxnLst>
              <a:rect l="0" t="0" r="r" b="b"/>
              <a:pathLst>
                <a:path w="22" h="7">
                  <a:moveTo>
                    <a:pt x="14" y="0"/>
                  </a:moveTo>
                  <a:lnTo>
                    <a:pt x="21" y="6"/>
                  </a:lnTo>
                  <a:lnTo>
                    <a:pt x="0" y="6"/>
                  </a:lnTo>
                  <a:lnTo>
                    <a:pt x="14" y="0"/>
                  </a:lnTo>
                </a:path>
              </a:pathLst>
            </a:custGeom>
            <a:grpFill/>
            <a:ln w="9525" cap="flat" cmpd="sng">
              <a:solidFill>
                <a:schemeClr val="bg1"/>
              </a:solid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61" name="Freeform 58">
              <a:extLst>
                <a:ext uri="{FF2B5EF4-FFF2-40B4-BE49-F238E27FC236}">
                  <a16:creationId xmlns:a16="http://schemas.microsoft.com/office/drawing/2014/main" id="{CE2994CB-817F-4817-B94B-A01141A5EBE3}"/>
                </a:ext>
              </a:extLst>
            </p:cNvPr>
            <p:cNvSpPr>
              <a:spLocks noChangeArrowheads="1"/>
            </p:cNvSpPr>
            <p:nvPr/>
          </p:nvSpPr>
          <p:spPr bwMode="auto">
            <a:xfrm>
              <a:off x="18572830" y="8273348"/>
              <a:ext cx="1582327" cy="1557576"/>
            </a:xfrm>
            <a:custGeom>
              <a:avLst/>
              <a:gdLst>
                <a:gd name="T0" fmla="*/ 2448 w 3368"/>
                <a:gd name="T1" fmla="*/ 521 h 3318"/>
                <a:gd name="T2" fmla="*/ 2386 w 3368"/>
                <a:gd name="T3" fmla="*/ 772 h 3318"/>
                <a:gd name="T4" fmla="*/ 2511 w 3368"/>
                <a:gd name="T5" fmla="*/ 904 h 3318"/>
                <a:gd name="T6" fmla="*/ 2727 w 3368"/>
                <a:gd name="T7" fmla="*/ 904 h 3318"/>
                <a:gd name="T8" fmla="*/ 2956 w 3368"/>
                <a:gd name="T9" fmla="*/ 1057 h 3318"/>
                <a:gd name="T10" fmla="*/ 2908 w 3368"/>
                <a:gd name="T11" fmla="*/ 1307 h 3318"/>
                <a:gd name="T12" fmla="*/ 2706 w 3368"/>
                <a:gd name="T13" fmla="*/ 1377 h 3318"/>
                <a:gd name="T14" fmla="*/ 2650 w 3368"/>
                <a:gd name="T15" fmla="*/ 1474 h 3318"/>
                <a:gd name="T16" fmla="*/ 2643 w 3368"/>
                <a:gd name="T17" fmla="*/ 1558 h 3318"/>
                <a:gd name="T18" fmla="*/ 2678 w 3368"/>
                <a:gd name="T19" fmla="*/ 1724 h 3318"/>
                <a:gd name="T20" fmla="*/ 2873 w 3368"/>
                <a:gd name="T21" fmla="*/ 1864 h 3318"/>
                <a:gd name="T22" fmla="*/ 2887 w 3368"/>
                <a:gd name="T23" fmla="*/ 2037 h 3318"/>
                <a:gd name="T24" fmla="*/ 2922 w 3368"/>
                <a:gd name="T25" fmla="*/ 2163 h 3318"/>
                <a:gd name="T26" fmla="*/ 3109 w 3368"/>
                <a:gd name="T27" fmla="*/ 2399 h 3318"/>
                <a:gd name="T28" fmla="*/ 3221 w 3368"/>
                <a:gd name="T29" fmla="*/ 2587 h 3318"/>
                <a:gd name="T30" fmla="*/ 3332 w 3368"/>
                <a:gd name="T31" fmla="*/ 2664 h 3318"/>
                <a:gd name="T32" fmla="*/ 3346 w 3368"/>
                <a:gd name="T33" fmla="*/ 2810 h 3318"/>
                <a:gd name="T34" fmla="*/ 3214 w 3368"/>
                <a:gd name="T35" fmla="*/ 2942 h 3318"/>
                <a:gd name="T36" fmla="*/ 3151 w 3368"/>
                <a:gd name="T37" fmla="*/ 3171 h 3318"/>
                <a:gd name="T38" fmla="*/ 2984 w 3368"/>
                <a:gd name="T39" fmla="*/ 3137 h 3318"/>
                <a:gd name="T40" fmla="*/ 2741 w 3368"/>
                <a:gd name="T41" fmla="*/ 3311 h 3318"/>
                <a:gd name="T42" fmla="*/ 2490 w 3368"/>
                <a:gd name="T43" fmla="*/ 3241 h 3318"/>
                <a:gd name="T44" fmla="*/ 2351 w 3368"/>
                <a:gd name="T45" fmla="*/ 3025 h 3318"/>
                <a:gd name="T46" fmla="*/ 2066 w 3368"/>
                <a:gd name="T47" fmla="*/ 2886 h 3318"/>
                <a:gd name="T48" fmla="*/ 1941 w 3368"/>
                <a:gd name="T49" fmla="*/ 2698 h 3318"/>
                <a:gd name="T50" fmla="*/ 1934 w 3368"/>
                <a:gd name="T51" fmla="*/ 2239 h 3318"/>
                <a:gd name="T52" fmla="*/ 1600 w 3368"/>
                <a:gd name="T53" fmla="*/ 1836 h 3318"/>
                <a:gd name="T54" fmla="*/ 1405 w 3368"/>
                <a:gd name="T55" fmla="*/ 1905 h 3318"/>
                <a:gd name="T56" fmla="*/ 1238 w 3368"/>
                <a:gd name="T57" fmla="*/ 1954 h 3318"/>
                <a:gd name="T58" fmla="*/ 1043 w 3368"/>
                <a:gd name="T59" fmla="*/ 2003 h 3318"/>
                <a:gd name="T60" fmla="*/ 960 w 3368"/>
                <a:gd name="T61" fmla="*/ 1933 h 3318"/>
                <a:gd name="T62" fmla="*/ 1057 w 3368"/>
                <a:gd name="T63" fmla="*/ 1878 h 3318"/>
                <a:gd name="T64" fmla="*/ 1134 w 3368"/>
                <a:gd name="T65" fmla="*/ 1662 h 3318"/>
                <a:gd name="T66" fmla="*/ 925 w 3368"/>
                <a:gd name="T67" fmla="*/ 1502 h 3318"/>
                <a:gd name="T68" fmla="*/ 848 w 3368"/>
                <a:gd name="T69" fmla="*/ 1467 h 3318"/>
                <a:gd name="T70" fmla="*/ 821 w 3368"/>
                <a:gd name="T71" fmla="*/ 1467 h 3318"/>
                <a:gd name="T72" fmla="*/ 751 w 3368"/>
                <a:gd name="T73" fmla="*/ 1502 h 3318"/>
                <a:gd name="T74" fmla="*/ 661 w 3368"/>
                <a:gd name="T75" fmla="*/ 1558 h 3318"/>
                <a:gd name="T76" fmla="*/ 522 w 3368"/>
                <a:gd name="T77" fmla="*/ 1495 h 3318"/>
                <a:gd name="T78" fmla="*/ 487 w 3368"/>
                <a:gd name="T79" fmla="*/ 1578 h 3318"/>
                <a:gd name="T80" fmla="*/ 368 w 3368"/>
                <a:gd name="T81" fmla="*/ 1189 h 3318"/>
                <a:gd name="T82" fmla="*/ 0 w 3368"/>
                <a:gd name="T83" fmla="*/ 625 h 3318"/>
                <a:gd name="T84" fmla="*/ 132 w 3368"/>
                <a:gd name="T85" fmla="*/ 542 h 3318"/>
                <a:gd name="T86" fmla="*/ 215 w 3368"/>
                <a:gd name="T87" fmla="*/ 418 h 3318"/>
                <a:gd name="T88" fmla="*/ 174 w 3368"/>
                <a:gd name="T89" fmla="*/ 230 h 3318"/>
                <a:gd name="T90" fmla="*/ 271 w 3368"/>
                <a:gd name="T91" fmla="*/ 153 h 3318"/>
                <a:gd name="T92" fmla="*/ 445 w 3368"/>
                <a:gd name="T93" fmla="*/ 216 h 3318"/>
                <a:gd name="T94" fmla="*/ 577 w 3368"/>
                <a:gd name="T95" fmla="*/ 251 h 3318"/>
                <a:gd name="T96" fmla="*/ 584 w 3368"/>
                <a:gd name="T97" fmla="*/ 21 h 3318"/>
                <a:gd name="T98" fmla="*/ 786 w 3368"/>
                <a:gd name="T99" fmla="*/ 35 h 3318"/>
                <a:gd name="T100" fmla="*/ 974 w 3368"/>
                <a:gd name="T101" fmla="*/ 133 h 3318"/>
                <a:gd name="T102" fmla="*/ 1141 w 3368"/>
                <a:gd name="T103" fmla="*/ 181 h 3318"/>
                <a:gd name="T104" fmla="*/ 1301 w 3368"/>
                <a:gd name="T105" fmla="*/ 285 h 3318"/>
                <a:gd name="T106" fmla="*/ 1475 w 3368"/>
                <a:gd name="T107" fmla="*/ 251 h 3318"/>
                <a:gd name="T108" fmla="*/ 1648 w 3368"/>
                <a:gd name="T109" fmla="*/ 202 h 3318"/>
                <a:gd name="T110" fmla="*/ 1864 w 3368"/>
                <a:gd name="T111" fmla="*/ 133 h 3318"/>
                <a:gd name="T112" fmla="*/ 2094 w 3368"/>
                <a:gd name="T113" fmla="*/ 98 h 3318"/>
                <a:gd name="T114" fmla="*/ 2184 w 3368"/>
                <a:gd name="T115" fmla="*/ 216 h 3318"/>
                <a:gd name="T116" fmla="*/ 2254 w 3368"/>
                <a:gd name="T117" fmla="*/ 418 h 3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368" h="3318">
                  <a:moveTo>
                    <a:pt x="2288" y="500"/>
                  </a:moveTo>
                  <a:lnTo>
                    <a:pt x="2379" y="486"/>
                  </a:lnTo>
                  <a:lnTo>
                    <a:pt x="2379" y="500"/>
                  </a:lnTo>
                  <a:lnTo>
                    <a:pt x="2393" y="514"/>
                  </a:lnTo>
                  <a:lnTo>
                    <a:pt x="2400" y="528"/>
                  </a:lnTo>
                  <a:lnTo>
                    <a:pt x="2448" y="521"/>
                  </a:lnTo>
                  <a:lnTo>
                    <a:pt x="2497" y="584"/>
                  </a:lnTo>
                  <a:lnTo>
                    <a:pt x="2448" y="598"/>
                  </a:lnTo>
                  <a:lnTo>
                    <a:pt x="2448" y="618"/>
                  </a:lnTo>
                  <a:lnTo>
                    <a:pt x="2476" y="681"/>
                  </a:lnTo>
                  <a:lnTo>
                    <a:pt x="2414" y="716"/>
                  </a:lnTo>
                  <a:lnTo>
                    <a:pt x="2386" y="772"/>
                  </a:lnTo>
                  <a:lnTo>
                    <a:pt x="2400" y="806"/>
                  </a:lnTo>
                  <a:lnTo>
                    <a:pt x="2428" y="813"/>
                  </a:lnTo>
                  <a:lnTo>
                    <a:pt x="2428" y="806"/>
                  </a:lnTo>
                  <a:lnTo>
                    <a:pt x="2476" y="869"/>
                  </a:lnTo>
                  <a:lnTo>
                    <a:pt x="2476" y="883"/>
                  </a:lnTo>
                  <a:lnTo>
                    <a:pt x="2511" y="904"/>
                  </a:lnTo>
                  <a:lnTo>
                    <a:pt x="2525" y="911"/>
                  </a:lnTo>
                  <a:lnTo>
                    <a:pt x="2553" y="883"/>
                  </a:lnTo>
                  <a:lnTo>
                    <a:pt x="2622" y="918"/>
                  </a:lnTo>
                  <a:lnTo>
                    <a:pt x="2650" y="924"/>
                  </a:lnTo>
                  <a:lnTo>
                    <a:pt x="2692" y="883"/>
                  </a:lnTo>
                  <a:lnTo>
                    <a:pt x="2727" y="904"/>
                  </a:lnTo>
                  <a:lnTo>
                    <a:pt x="2789" y="945"/>
                  </a:lnTo>
                  <a:lnTo>
                    <a:pt x="2824" y="945"/>
                  </a:lnTo>
                  <a:lnTo>
                    <a:pt x="2922" y="987"/>
                  </a:lnTo>
                  <a:lnTo>
                    <a:pt x="2935" y="987"/>
                  </a:lnTo>
                  <a:lnTo>
                    <a:pt x="2942" y="1001"/>
                  </a:lnTo>
                  <a:lnTo>
                    <a:pt x="2956" y="1057"/>
                  </a:lnTo>
                  <a:lnTo>
                    <a:pt x="2984" y="1133"/>
                  </a:lnTo>
                  <a:lnTo>
                    <a:pt x="2970" y="1182"/>
                  </a:lnTo>
                  <a:lnTo>
                    <a:pt x="2970" y="1189"/>
                  </a:lnTo>
                  <a:lnTo>
                    <a:pt x="2922" y="1265"/>
                  </a:lnTo>
                  <a:lnTo>
                    <a:pt x="2922" y="1286"/>
                  </a:lnTo>
                  <a:lnTo>
                    <a:pt x="2908" y="1307"/>
                  </a:lnTo>
                  <a:lnTo>
                    <a:pt x="2852" y="1335"/>
                  </a:lnTo>
                  <a:lnTo>
                    <a:pt x="2817" y="1349"/>
                  </a:lnTo>
                  <a:lnTo>
                    <a:pt x="2817" y="1397"/>
                  </a:lnTo>
                  <a:lnTo>
                    <a:pt x="2803" y="1405"/>
                  </a:lnTo>
                  <a:lnTo>
                    <a:pt x="2775" y="1384"/>
                  </a:lnTo>
                  <a:lnTo>
                    <a:pt x="2706" y="1377"/>
                  </a:lnTo>
                  <a:lnTo>
                    <a:pt x="2706" y="1384"/>
                  </a:lnTo>
                  <a:lnTo>
                    <a:pt x="2657" y="1377"/>
                  </a:lnTo>
                  <a:lnTo>
                    <a:pt x="2629" y="1370"/>
                  </a:lnTo>
                  <a:lnTo>
                    <a:pt x="2629" y="1397"/>
                  </a:lnTo>
                  <a:lnTo>
                    <a:pt x="2657" y="1412"/>
                  </a:lnTo>
                  <a:lnTo>
                    <a:pt x="2650" y="1474"/>
                  </a:lnTo>
                  <a:lnTo>
                    <a:pt x="2622" y="1474"/>
                  </a:lnTo>
                  <a:lnTo>
                    <a:pt x="2588" y="1474"/>
                  </a:lnTo>
                  <a:lnTo>
                    <a:pt x="2622" y="1502"/>
                  </a:lnTo>
                  <a:lnTo>
                    <a:pt x="2629" y="1516"/>
                  </a:lnTo>
                  <a:lnTo>
                    <a:pt x="2657" y="1530"/>
                  </a:lnTo>
                  <a:lnTo>
                    <a:pt x="2643" y="1558"/>
                  </a:lnTo>
                  <a:lnTo>
                    <a:pt x="2678" y="1564"/>
                  </a:lnTo>
                  <a:lnTo>
                    <a:pt x="2678" y="1613"/>
                  </a:lnTo>
                  <a:lnTo>
                    <a:pt x="2685" y="1627"/>
                  </a:lnTo>
                  <a:lnTo>
                    <a:pt x="2678" y="1627"/>
                  </a:lnTo>
                  <a:lnTo>
                    <a:pt x="2664" y="1690"/>
                  </a:lnTo>
                  <a:lnTo>
                    <a:pt x="2678" y="1724"/>
                  </a:lnTo>
                  <a:lnTo>
                    <a:pt x="2720" y="1745"/>
                  </a:lnTo>
                  <a:lnTo>
                    <a:pt x="2761" y="1794"/>
                  </a:lnTo>
                  <a:lnTo>
                    <a:pt x="2789" y="1822"/>
                  </a:lnTo>
                  <a:lnTo>
                    <a:pt x="2845" y="1829"/>
                  </a:lnTo>
                  <a:lnTo>
                    <a:pt x="2852" y="1843"/>
                  </a:lnTo>
                  <a:lnTo>
                    <a:pt x="2873" y="1864"/>
                  </a:lnTo>
                  <a:lnTo>
                    <a:pt x="2824" y="1898"/>
                  </a:lnTo>
                  <a:lnTo>
                    <a:pt x="2810" y="1919"/>
                  </a:lnTo>
                  <a:lnTo>
                    <a:pt x="2803" y="1926"/>
                  </a:lnTo>
                  <a:lnTo>
                    <a:pt x="2782" y="1968"/>
                  </a:lnTo>
                  <a:lnTo>
                    <a:pt x="2824" y="2003"/>
                  </a:lnTo>
                  <a:lnTo>
                    <a:pt x="2887" y="2037"/>
                  </a:lnTo>
                  <a:lnTo>
                    <a:pt x="2908" y="2058"/>
                  </a:lnTo>
                  <a:lnTo>
                    <a:pt x="2915" y="2051"/>
                  </a:lnTo>
                  <a:lnTo>
                    <a:pt x="2922" y="2058"/>
                  </a:lnTo>
                  <a:lnTo>
                    <a:pt x="2915" y="2072"/>
                  </a:lnTo>
                  <a:lnTo>
                    <a:pt x="2935" y="2135"/>
                  </a:lnTo>
                  <a:lnTo>
                    <a:pt x="2922" y="2163"/>
                  </a:lnTo>
                  <a:lnTo>
                    <a:pt x="2942" y="2191"/>
                  </a:lnTo>
                  <a:lnTo>
                    <a:pt x="2922" y="2218"/>
                  </a:lnTo>
                  <a:lnTo>
                    <a:pt x="2922" y="2232"/>
                  </a:lnTo>
                  <a:lnTo>
                    <a:pt x="2991" y="2281"/>
                  </a:lnTo>
                  <a:lnTo>
                    <a:pt x="3005" y="2330"/>
                  </a:lnTo>
                  <a:lnTo>
                    <a:pt x="3109" y="2399"/>
                  </a:lnTo>
                  <a:lnTo>
                    <a:pt x="3130" y="2448"/>
                  </a:lnTo>
                  <a:lnTo>
                    <a:pt x="3151" y="2434"/>
                  </a:lnTo>
                  <a:lnTo>
                    <a:pt x="3165" y="2448"/>
                  </a:lnTo>
                  <a:lnTo>
                    <a:pt x="3207" y="2490"/>
                  </a:lnTo>
                  <a:lnTo>
                    <a:pt x="3200" y="2559"/>
                  </a:lnTo>
                  <a:lnTo>
                    <a:pt x="3221" y="2587"/>
                  </a:lnTo>
                  <a:lnTo>
                    <a:pt x="3221" y="2594"/>
                  </a:lnTo>
                  <a:lnTo>
                    <a:pt x="3235" y="2594"/>
                  </a:lnTo>
                  <a:lnTo>
                    <a:pt x="3235" y="2615"/>
                  </a:lnTo>
                  <a:lnTo>
                    <a:pt x="3249" y="2629"/>
                  </a:lnTo>
                  <a:lnTo>
                    <a:pt x="3304" y="2657"/>
                  </a:lnTo>
                  <a:lnTo>
                    <a:pt x="3332" y="2664"/>
                  </a:lnTo>
                  <a:lnTo>
                    <a:pt x="3367" y="2691"/>
                  </a:lnTo>
                  <a:lnTo>
                    <a:pt x="3367" y="2698"/>
                  </a:lnTo>
                  <a:lnTo>
                    <a:pt x="3360" y="2719"/>
                  </a:lnTo>
                  <a:lnTo>
                    <a:pt x="3367" y="2754"/>
                  </a:lnTo>
                  <a:lnTo>
                    <a:pt x="3339" y="2775"/>
                  </a:lnTo>
                  <a:lnTo>
                    <a:pt x="3346" y="2810"/>
                  </a:lnTo>
                  <a:lnTo>
                    <a:pt x="3339" y="2824"/>
                  </a:lnTo>
                  <a:lnTo>
                    <a:pt x="3304" y="2844"/>
                  </a:lnTo>
                  <a:lnTo>
                    <a:pt x="3241" y="2872"/>
                  </a:lnTo>
                  <a:lnTo>
                    <a:pt x="3241" y="2886"/>
                  </a:lnTo>
                  <a:lnTo>
                    <a:pt x="3214" y="2914"/>
                  </a:lnTo>
                  <a:lnTo>
                    <a:pt x="3214" y="2942"/>
                  </a:lnTo>
                  <a:lnTo>
                    <a:pt x="3200" y="2970"/>
                  </a:lnTo>
                  <a:lnTo>
                    <a:pt x="3200" y="3025"/>
                  </a:lnTo>
                  <a:lnTo>
                    <a:pt x="3200" y="3046"/>
                  </a:lnTo>
                  <a:lnTo>
                    <a:pt x="3165" y="3109"/>
                  </a:lnTo>
                  <a:lnTo>
                    <a:pt x="3109" y="3137"/>
                  </a:lnTo>
                  <a:lnTo>
                    <a:pt x="3151" y="3171"/>
                  </a:lnTo>
                  <a:lnTo>
                    <a:pt x="3151" y="3185"/>
                  </a:lnTo>
                  <a:lnTo>
                    <a:pt x="3102" y="3213"/>
                  </a:lnTo>
                  <a:lnTo>
                    <a:pt x="3074" y="3185"/>
                  </a:lnTo>
                  <a:lnTo>
                    <a:pt x="3074" y="3150"/>
                  </a:lnTo>
                  <a:lnTo>
                    <a:pt x="3054" y="3158"/>
                  </a:lnTo>
                  <a:lnTo>
                    <a:pt x="2984" y="3137"/>
                  </a:lnTo>
                  <a:lnTo>
                    <a:pt x="2915" y="3144"/>
                  </a:lnTo>
                  <a:lnTo>
                    <a:pt x="2859" y="3178"/>
                  </a:lnTo>
                  <a:lnTo>
                    <a:pt x="2845" y="3206"/>
                  </a:lnTo>
                  <a:lnTo>
                    <a:pt x="2824" y="3220"/>
                  </a:lnTo>
                  <a:lnTo>
                    <a:pt x="2775" y="3269"/>
                  </a:lnTo>
                  <a:lnTo>
                    <a:pt x="2741" y="3311"/>
                  </a:lnTo>
                  <a:lnTo>
                    <a:pt x="2720" y="3317"/>
                  </a:lnTo>
                  <a:lnTo>
                    <a:pt x="2678" y="3311"/>
                  </a:lnTo>
                  <a:lnTo>
                    <a:pt x="2629" y="3311"/>
                  </a:lnTo>
                  <a:lnTo>
                    <a:pt x="2553" y="3241"/>
                  </a:lnTo>
                  <a:lnTo>
                    <a:pt x="2483" y="3255"/>
                  </a:lnTo>
                  <a:lnTo>
                    <a:pt x="2490" y="3241"/>
                  </a:lnTo>
                  <a:lnTo>
                    <a:pt x="2511" y="3234"/>
                  </a:lnTo>
                  <a:lnTo>
                    <a:pt x="2490" y="3158"/>
                  </a:lnTo>
                  <a:lnTo>
                    <a:pt x="2455" y="3116"/>
                  </a:lnTo>
                  <a:lnTo>
                    <a:pt x="2393" y="3053"/>
                  </a:lnTo>
                  <a:lnTo>
                    <a:pt x="2358" y="3025"/>
                  </a:lnTo>
                  <a:lnTo>
                    <a:pt x="2351" y="3025"/>
                  </a:lnTo>
                  <a:lnTo>
                    <a:pt x="2282" y="2956"/>
                  </a:lnTo>
                  <a:lnTo>
                    <a:pt x="2254" y="2921"/>
                  </a:lnTo>
                  <a:lnTo>
                    <a:pt x="2191" y="2921"/>
                  </a:lnTo>
                  <a:lnTo>
                    <a:pt x="2156" y="2942"/>
                  </a:lnTo>
                  <a:lnTo>
                    <a:pt x="2094" y="2921"/>
                  </a:lnTo>
                  <a:lnTo>
                    <a:pt x="2066" y="2886"/>
                  </a:lnTo>
                  <a:lnTo>
                    <a:pt x="2052" y="2852"/>
                  </a:lnTo>
                  <a:lnTo>
                    <a:pt x="2017" y="2824"/>
                  </a:lnTo>
                  <a:lnTo>
                    <a:pt x="1961" y="2796"/>
                  </a:lnTo>
                  <a:lnTo>
                    <a:pt x="1934" y="2796"/>
                  </a:lnTo>
                  <a:lnTo>
                    <a:pt x="1878" y="2754"/>
                  </a:lnTo>
                  <a:lnTo>
                    <a:pt x="1941" y="2698"/>
                  </a:lnTo>
                  <a:lnTo>
                    <a:pt x="1941" y="2615"/>
                  </a:lnTo>
                  <a:lnTo>
                    <a:pt x="1961" y="2559"/>
                  </a:lnTo>
                  <a:lnTo>
                    <a:pt x="2024" y="2525"/>
                  </a:lnTo>
                  <a:lnTo>
                    <a:pt x="2038" y="2469"/>
                  </a:lnTo>
                  <a:lnTo>
                    <a:pt x="2031" y="2434"/>
                  </a:lnTo>
                  <a:lnTo>
                    <a:pt x="1934" y="2239"/>
                  </a:lnTo>
                  <a:lnTo>
                    <a:pt x="1892" y="2107"/>
                  </a:lnTo>
                  <a:lnTo>
                    <a:pt x="1843" y="2037"/>
                  </a:lnTo>
                  <a:lnTo>
                    <a:pt x="1774" y="1933"/>
                  </a:lnTo>
                  <a:lnTo>
                    <a:pt x="1739" y="1898"/>
                  </a:lnTo>
                  <a:lnTo>
                    <a:pt x="1642" y="1822"/>
                  </a:lnTo>
                  <a:lnTo>
                    <a:pt x="1600" y="1836"/>
                  </a:lnTo>
                  <a:lnTo>
                    <a:pt x="1565" y="1864"/>
                  </a:lnTo>
                  <a:lnTo>
                    <a:pt x="1544" y="1891"/>
                  </a:lnTo>
                  <a:lnTo>
                    <a:pt x="1530" y="1919"/>
                  </a:lnTo>
                  <a:lnTo>
                    <a:pt x="1440" y="1878"/>
                  </a:lnTo>
                  <a:lnTo>
                    <a:pt x="1419" y="1878"/>
                  </a:lnTo>
                  <a:lnTo>
                    <a:pt x="1405" y="1905"/>
                  </a:lnTo>
                  <a:lnTo>
                    <a:pt x="1398" y="1919"/>
                  </a:lnTo>
                  <a:lnTo>
                    <a:pt x="1342" y="1954"/>
                  </a:lnTo>
                  <a:lnTo>
                    <a:pt x="1308" y="1961"/>
                  </a:lnTo>
                  <a:lnTo>
                    <a:pt x="1280" y="1961"/>
                  </a:lnTo>
                  <a:lnTo>
                    <a:pt x="1273" y="1968"/>
                  </a:lnTo>
                  <a:lnTo>
                    <a:pt x="1238" y="1954"/>
                  </a:lnTo>
                  <a:lnTo>
                    <a:pt x="1210" y="1933"/>
                  </a:lnTo>
                  <a:lnTo>
                    <a:pt x="1168" y="1940"/>
                  </a:lnTo>
                  <a:lnTo>
                    <a:pt x="1134" y="1954"/>
                  </a:lnTo>
                  <a:lnTo>
                    <a:pt x="1085" y="1968"/>
                  </a:lnTo>
                  <a:lnTo>
                    <a:pt x="1057" y="1996"/>
                  </a:lnTo>
                  <a:lnTo>
                    <a:pt x="1043" y="2003"/>
                  </a:lnTo>
                  <a:lnTo>
                    <a:pt x="960" y="2037"/>
                  </a:lnTo>
                  <a:lnTo>
                    <a:pt x="946" y="2051"/>
                  </a:lnTo>
                  <a:lnTo>
                    <a:pt x="939" y="2058"/>
                  </a:lnTo>
                  <a:lnTo>
                    <a:pt x="925" y="2024"/>
                  </a:lnTo>
                  <a:lnTo>
                    <a:pt x="953" y="1940"/>
                  </a:lnTo>
                  <a:lnTo>
                    <a:pt x="960" y="1933"/>
                  </a:lnTo>
                  <a:lnTo>
                    <a:pt x="974" y="1919"/>
                  </a:lnTo>
                  <a:lnTo>
                    <a:pt x="1015" y="1926"/>
                  </a:lnTo>
                  <a:lnTo>
                    <a:pt x="1036" y="1919"/>
                  </a:lnTo>
                  <a:lnTo>
                    <a:pt x="1050" y="1905"/>
                  </a:lnTo>
                  <a:lnTo>
                    <a:pt x="1057" y="1898"/>
                  </a:lnTo>
                  <a:lnTo>
                    <a:pt x="1057" y="1878"/>
                  </a:lnTo>
                  <a:lnTo>
                    <a:pt x="1057" y="1871"/>
                  </a:lnTo>
                  <a:lnTo>
                    <a:pt x="1078" y="1857"/>
                  </a:lnTo>
                  <a:lnTo>
                    <a:pt x="1120" y="1808"/>
                  </a:lnTo>
                  <a:lnTo>
                    <a:pt x="1175" y="1780"/>
                  </a:lnTo>
                  <a:lnTo>
                    <a:pt x="1168" y="1704"/>
                  </a:lnTo>
                  <a:lnTo>
                    <a:pt x="1134" y="1662"/>
                  </a:lnTo>
                  <a:lnTo>
                    <a:pt x="1120" y="1662"/>
                  </a:lnTo>
                  <a:lnTo>
                    <a:pt x="1092" y="1662"/>
                  </a:lnTo>
                  <a:lnTo>
                    <a:pt x="1071" y="1648"/>
                  </a:lnTo>
                  <a:lnTo>
                    <a:pt x="981" y="1572"/>
                  </a:lnTo>
                  <a:lnTo>
                    <a:pt x="953" y="1544"/>
                  </a:lnTo>
                  <a:lnTo>
                    <a:pt x="925" y="1502"/>
                  </a:lnTo>
                  <a:lnTo>
                    <a:pt x="918" y="1509"/>
                  </a:lnTo>
                  <a:lnTo>
                    <a:pt x="876" y="1474"/>
                  </a:lnTo>
                  <a:lnTo>
                    <a:pt x="862" y="1474"/>
                  </a:lnTo>
                  <a:lnTo>
                    <a:pt x="862" y="1467"/>
                  </a:lnTo>
                  <a:lnTo>
                    <a:pt x="855" y="1467"/>
                  </a:lnTo>
                  <a:lnTo>
                    <a:pt x="848" y="1467"/>
                  </a:lnTo>
                  <a:lnTo>
                    <a:pt x="848" y="1460"/>
                  </a:lnTo>
                  <a:lnTo>
                    <a:pt x="841" y="1467"/>
                  </a:lnTo>
                  <a:lnTo>
                    <a:pt x="841" y="1460"/>
                  </a:lnTo>
                  <a:lnTo>
                    <a:pt x="841" y="1467"/>
                  </a:lnTo>
                  <a:lnTo>
                    <a:pt x="828" y="1460"/>
                  </a:lnTo>
                  <a:lnTo>
                    <a:pt x="821" y="1467"/>
                  </a:lnTo>
                  <a:lnTo>
                    <a:pt x="814" y="1474"/>
                  </a:lnTo>
                  <a:lnTo>
                    <a:pt x="807" y="1481"/>
                  </a:lnTo>
                  <a:lnTo>
                    <a:pt x="807" y="1495"/>
                  </a:lnTo>
                  <a:lnTo>
                    <a:pt x="807" y="1481"/>
                  </a:lnTo>
                  <a:lnTo>
                    <a:pt x="779" y="1481"/>
                  </a:lnTo>
                  <a:lnTo>
                    <a:pt x="751" y="1502"/>
                  </a:lnTo>
                  <a:lnTo>
                    <a:pt x="730" y="1516"/>
                  </a:lnTo>
                  <a:lnTo>
                    <a:pt x="730" y="1544"/>
                  </a:lnTo>
                  <a:lnTo>
                    <a:pt x="695" y="1564"/>
                  </a:lnTo>
                  <a:lnTo>
                    <a:pt x="689" y="1558"/>
                  </a:lnTo>
                  <a:lnTo>
                    <a:pt x="681" y="1558"/>
                  </a:lnTo>
                  <a:lnTo>
                    <a:pt x="661" y="1558"/>
                  </a:lnTo>
                  <a:lnTo>
                    <a:pt x="674" y="1544"/>
                  </a:lnTo>
                  <a:lnTo>
                    <a:pt x="661" y="1516"/>
                  </a:lnTo>
                  <a:lnTo>
                    <a:pt x="654" y="1509"/>
                  </a:lnTo>
                  <a:lnTo>
                    <a:pt x="584" y="1502"/>
                  </a:lnTo>
                  <a:lnTo>
                    <a:pt x="584" y="1495"/>
                  </a:lnTo>
                  <a:lnTo>
                    <a:pt x="522" y="1495"/>
                  </a:lnTo>
                  <a:lnTo>
                    <a:pt x="522" y="1516"/>
                  </a:lnTo>
                  <a:lnTo>
                    <a:pt x="528" y="1572"/>
                  </a:lnTo>
                  <a:lnTo>
                    <a:pt x="522" y="1578"/>
                  </a:lnTo>
                  <a:lnTo>
                    <a:pt x="542" y="1599"/>
                  </a:lnTo>
                  <a:lnTo>
                    <a:pt x="494" y="1572"/>
                  </a:lnTo>
                  <a:lnTo>
                    <a:pt x="487" y="1578"/>
                  </a:lnTo>
                  <a:lnTo>
                    <a:pt x="459" y="1558"/>
                  </a:lnTo>
                  <a:lnTo>
                    <a:pt x="466" y="1530"/>
                  </a:lnTo>
                  <a:lnTo>
                    <a:pt x="466" y="1460"/>
                  </a:lnTo>
                  <a:lnTo>
                    <a:pt x="459" y="1377"/>
                  </a:lnTo>
                  <a:lnTo>
                    <a:pt x="445" y="1335"/>
                  </a:lnTo>
                  <a:lnTo>
                    <a:pt x="368" y="1189"/>
                  </a:lnTo>
                  <a:lnTo>
                    <a:pt x="271" y="1078"/>
                  </a:lnTo>
                  <a:lnTo>
                    <a:pt x="229" y="952"/>
                  </a:lnTo>
                  <a:lnTo>
                    <a:pt x="153" y="813"/>
                  </a:lnTo>
                  <a:lnTo>
                    <a:pt x="132" y="772"/>
                  </a:lnTo>
                  <a:lnTo>
                    <a:pt x="90" y="716"/>
                  </a:lnTo>
                  <a:lnTo>
                    <a:pt x="0" y="625"/>
                  </a:lnTo>
                  <a:lnTo>
                    <a:pt x="21" y="584"/>
                  </a:lnTo>
                  <a:lnTo>
                    <a:pt x="69" y="577"/>
                  </a:lnTo>
                  <a:lnTo>
                    <a:pt x="97" y="577"/>
                  </a:lnTo>
                  <a:lnTo>
                    <a:pt x="118" y="556"/>
                  </a:lnTo>
                  <a:lnTo>
                    <a:pt x="118" y="542"/>
                  </a:lnTo>
                  <a:lnTo>
                    <a:pt x="132" y="542"/>
                  </a:lnTo>
                  <a:lnTo>
                    <a:pt x="104" y="521"/>
                  </a:lnTo>
                  <a:lnTo>
                    <a:pt x="104" y="493"/>
                  </a:lnTo>
                  <a:lnTo>
                    <a:pt x="153" y="479"/>
                  </a:lnTo>
                  <a:lnTo>
                    <a:pt x="167" y="479"/>
                  </a:lnTo>
                  <a:lnTo>
                    <a:pt x="215" y="460"/>
                  </a:lnTo>
                  <a:lnTo>
                    <a:pt x="215" y="418"/>
                  </a:lnTo>
                  <a:lnTo>
                    <a:pt x="188" y="369"/>
                  </a:lnTo>
                  <a:lnTo>
                    <a:pt x="188" y="327"/>
                  </a:lnTo>
                  <a:lnTo>
                    <a:pt x="188" y="293"/>
                  </a:lnTo>
                  <a:lnTo>
                    <a:pt x="201" y="265"/>
                  </a:lnTo>
                  <a:lnTo>
                    <a:pt x="188" y="251"/>
                  </a:lnTo>
                  <a:lnTo>
                    <a:pt x="174" y="230"/>
                  </a:lnTo>
                  <a:lnTo>
                    <a:pt x="167" y="216"/>
                  </a:lnTo>
                  <a:lnTo>
                    <a:pt x="167" y="202"/>
                  </a:lnTo>
                  <a:lnTo>
                    <a:pt x="215" y="181"/>
                  </a:lnTo>
                  <a:lnTo>
                    <a:pt x="229" y="181"/>
                  </a:lnTo>
                  <a:lnTo>
                    <a:pt x="236" y="181"/>
                  </a:lnTo>
                  <a:lnTo>
                    <a:pt x="271" y="153"/>
                  </a:lnTo>
                  <a:lnTo>
                    <a:pt x="334" y="98"/>
                  </a:lnTo>
                  <a:lnTo>
                    <a:pt x="355" y="98"/>
                  </a:lnTo>
                  <a:lnTo>
                    <a:pt x="403" y="133"/>
                  </a:lnTo>
                  <a:lnTo>
                    <a:pt x="403" y="153"/>
                  </a:lnTo>
                  <a:lnTo>
                    <a:pt x="389" y="167"/>
                  </a:lnTo>
                  <a:lnTo>
                    <a:pt x="445" y="216"/>
                  </a:lnTo>
                  <a:lnTo>
                    <a:pt x="452" y="230"/>
                  </a:lnTo>
                  <a:lnTo>
                    <a:pt x="459" y="258"/>
                  </a:lnTo>
                  <a:lnTo>
                    <a:pt x="542" y="237"/>
                  </a:lnTo>
                  <a:lnTo>
                    <a:pt x="577" y="265"/>
                  </a:lnTo>
                  <a:lnTo>
                    <a:pt x="584" y="265"/>
                  </a:lnTo>
                  <a:lnTo>
                    <a:pt x="577" y="251"/>
                  </a:lnTo>
                  <a:lnTo>
                    <a:pt x="563" y="195"/>
                  </a:lnTo>
                  <a:lnTo>
                    <a:pt x="522" y="133"/>
                  </a:lnTo>
                  <a:lnTo>
                    <a:pt x="542" y="105"/>
                  </a:lnTo>
                  <a:lnTo>
                    <a:pt x="528" y="105"/>
                  </a:lnTo>
                  <a:lnTo>
                    <a:pt x="563" y="56"/>
                  </a:lnTo>
                  <a:lnTo>
                    <a:pt x="584" y="21"/>
                  </a:lnTo>
                  <a:lnTo>
                    <a:pt x="598" y="0"/>
                  </a:lnTo>
                  <a:lnTo>
                    <a:pt x="661" y="63"/>
                  </a:lnTo>
                  <a:lnTo>
                    <a:pt x="681" y="21"/>
                  </a:lnTo>
                  <a:lnTo>
                    <a:pt x="716" y="21"/>
                  </a:lnTo>
                  <a:lnTo>
                    <a:pt x="751" y="28"/>
                  </a:lnTo>
                  <a:lnTo>
                    <a:pt x="786" y="35"/>
                  </a:lnTo>
                  <a:lnTo>
                    <a:pt x="814" y="56"/>
                  </a:lnTo>
                  <a:lnTo>
                    <a:pt x="848" y="56"/>
                  </a:lnTo>
                  <a:lnTo>
                    <a:pt x="862" y="63"/>
                  </a:lnTo>
                  <a:lnTo>
                    <a:pt x="855" y="84"/>
                  </a:lnTo>
                  <a:lnTo>
                    <a:pt x="946" y="126"/>
                  </a:lnTo>
                  <a:lnTo>
                    <a:pt x="974" y="133"/>
                  </a:lnTo>
                  <a:lnTo>
                    <a:pt x="1015" y="139"/>
                  </a:lnTo>
                  <a:lnTo>
                    <a:pt x="1050" y="160"/>
                  </a:lnTo>
                  <a:lnTo>
                    <a:pt x="1071" y="153"/>
                  </a:lnTo>
                  <a:lnTo>
                    <a:pt x="1078" y="160"/>
                  </a:lnTo>
                  <a:lnTo>
                    <a:pt x="1092" y="167"/>
                  </a:lnTo>
                  <a:lnTo>
                    <a:pt x="1141" y="181"/>
                  </a:lnTo>
                  <a:lnTo>
                    <a:pt x="1175" y="195"/>
                  </a:lnTo>
                  <a:lnTo>
                    <a:pt x="1175" y="223"/>
                  </a:lnTo>
                  <a:lnTo>
                    <a:pt x="1182" y="230"/>
                  </a:lnTo>
                  <a:lnTo>
                    <a:pt x="1217" y="272"/>
                  </a:lnTo>
                  <a:lnTo>
                    <a:pt x="1266" y="272"/>
                  </a:lnTo>
                  <a:lnTo>
                    <a:pt x="1301" y="285"/>
                  </a:lnTo>
                  <a:lnTo>
                    <a:pt x="1329" y="258"/>
                  </a:lnTo>
                  <a:lnTo>
                    <a:pt x="1363" y="293"/>
                  </a:lnTo>
                  <a:lnTo>
                    <a:pt x="1363" y="299"/>
                  </a:lnTo>
                  <a:lnTo>
                    <a:pt x="1384" y="320"/>
                  </a:lnTo>
                  <a:lnTo>
                    <a:pt x="1405" y="313"/>
                  </a:lnTo>
                  <a:lnTo>
                    <a:pt x="1475" y="251"/>
                  </a:lnTo>
                  <a:lnTo>
                    <a:pt x="1481" y="258"/>
                  </a:lnTo>
                  <a:lnTo>
                    <a:pt x="1495" y="223"/>
                  </a:lnTo>
                  <a:lnTo>
                    <a:pt x="1544" y="216"/>
                  </a:lnTo>
                  <a:lnTo>
                    <a:pt x="1565" y="237"/>
                  </a:lnTo>
                  <a:lnTo>
                    <a:pt x="1642" y="202"/>
                  </a:lnTo>
                  <a:lnTo>
                    <a:pt x="1648" y="202"/>
                  </a:lnTo>
                  <a:lnTo>
                    <a:pt x="1669" y="139"/>
                  </a:lnTo>
                  <a:lnTo>
                    <a:pt x="1697" y="126"/>
                  </a:lnTo>
                  <a:lnTo>
                    <a:pt x="1802" y="188"/>
                  </a:lnTo>
                  <a:lnTo>
                    <a:pt x="1808" y="181"/>
                  </a:lnTo>
                  <a:lnTo>
                    <a:pt x="1829" y="167"/>
                  </a:lnTo>
                  <a:lnTo>
                    <a:pt x="1864" y="133"/>
                  </a:lnTo>
                  <a:lnTo>
                    <a:pt x="1961" y="105"/>
                  </a:lnTo>
                  <a:lnTo>
                    <a:pt x="2003" y="91"/>
                  </a:lnTo>
                  <a:lnTo>
                    <a:pt x="2017" y="63"/>
                  </a:lnTo>
                  <a:lnTo>
                    <a:pt x="2052" y="42"/>
                  </a:lnTo>
                  <a:lnTo>
                    <a:pt x="2066" y="63"/>
                  </a:lnTo>
                  <a:lnTo>
                    <a:pt x="2094" y="98"/>
                  </a:lnTo>
                  <a:lnTo>
                    <a:pt x="2094" y="126"/>
                  </a:lnTo>
                  <a:lnTo>
                    <a:pt x="2108" y="118"/>
                  </a:lnTo>
                  <a:lnTo>
                    <a:pt x="2121" y="139"/>
                  </a:lnTo>
                  <a:lnTo>
                    <a:pt x="2198" y="167"/>
                  </a:lnTo>
                  <a:lnTo>
                    <a:pt x="2198" y="195"/>
                  </a:lnTo>
                  <a:lnTo>
                    <a:pt x="2184" y="216"/>
                  </a:lnTo>
                  <a:lnTo>
                    <a:pt x="2198" y="258"/>
                  </a:lnTo>
                  <a:lnTo>
                    <a:pt x="2163" y="265"/>
                  </a:lnTo>
                  <a:lnTo>
                    <a:pt x="2135" y="299"/>
                  </a:lnTo>
                  <a:lnTo>
                    <a:pt x="2149" y="348"/>
                  </a:lnTo>
                  <a:lnTo>
                    <a:pt x="2156" y="390"/>
                  </a:lnTo>
                  <a:lnTo>
                    <a:pt x="2254" y="418"/>
                  </a:lnTo>
                  <a:lnTo>
                    <a:pt x="2247" y="446"/>
                  </a:lnTo>
                  <a:lnTo>
                    <a:pt x="2267" y="479"/>
                  </a:lnTo>
                  <a:lnTo>
                    <a:pt x="2261" y="486"/>
                  </a:lnTo>
                  <a:lnTo>
                    <a:pt x="2288" y="500"/>
                  </a:lnTo>
                </a:path>
              </a:pathLst>
            </a:custGeom>
            <a:grpFill/>
            <a:ln w="9525" cap="flat" cmpd="sng">
              <a:solidFill>
                <a:schemeClr val="bg1"/>
              </a:solidFill>
              <a:bevel/>
              <a:headEnd/>
              <a:tailEnd/>
            </a:ln>
            <a:effectLst/>
          </p:spPr>
          <p:txBody>
            <a:bodyPr wrap="none" anchor="ctr"/>
            <a:lstStyle/>
            <a:p>
              <a:endParaRPr lang="en-US" dirty="0">
                <a:latin typeface="Open Sans Regular" charset="0"/>
              </a:endParaRPr>
            </a:p>
          </p:txBody>
        </p:sp>
        <p:sp>
          <p:nvSpPr>
            <p:cNvPr id="62" name="Freeform 59">
              <a:extLst>
                <a:ext uri="{FF2B5EF4-FFF2-40B4-BE49-F238E27FC236}">
                  <a16:creationId xmlns:a16="http://schemas.microsoft.com/office/drawing/2014/main" id="{4BBF933A-E779-436A-8069-77620E40B408}"/>
                </a:ext>
              </a:extLst>
            </p:cNvPr>
            <p:cNvSpPr>
              <a:spLocks noChangeArrowheads="1"/>
            </p:cNvSpPr>
            <p:nvPr/>
          </p:nvSpPr>
          <p:spPr bwMode="auto">
            <a:xfrm>
              <a:off x="18645318" y="9043851"/>
              <a:ext cx="84916" cy="66280"/>
            </a:xfrm>
            <a:custGeom>
              <a:avLst/>
              <a:gdLst>
                <a:gd name="T0" fmla="*/ 76 w 182"/>
                <a:gd name="T1" fmla="*/ 125 h 140"/>
                <a:gd name="T2" fmla="*/ 118 w 182"/>
                <a:gd name="T3" fmla="*/ 132 h 140"/>
                <a:gd name="T4" fmla="*/ 153 w 182"/>
                <a:gd name="T5" fmla="*/ 118 h 140"/>
                <a:gd name="T6" fmla="*/ 167 w 182"/>
                <a:gd name="T7" fmla="*/ 125 h 140"/>
                <a:gd name="T8" fmla="*/ 167 w 182"/>
                <a:gd name="T9" fmla="*/ 118 h 140"/>
                <a:gd name="T10" fmla="*/ 181 w 182"/>
                <a:gd name="T11" fmla="*/ 90 h 140"/>
                <a:gd name="T12" fmla="*/ 181 w 182"/>
                <a:gd name="T13" fmla="*/ 63 h 140"/>
                <a:gd name="T14" fmla="*/ 139 w 182"/>
                <a:gd name="T15" fmla="*/ 28 h 140"/>
                <a:gd name="T16" fmla="*/ 132 w 182"/>
                <a:gd name="T17" fmla="*/ 28 h 140"/>
                <a:gd name="T18" fmla="*/ 69 w 182"/>
                <a:gd name="T19" fmla="*/ 7 h 140"/>
                <a:gd name="T20" fmla="*/ 48 w 182"/>
                <a:gd name="T21" fmla="*/ 0 h 140"/>
                <a:gd name="T22" fmla="*/ 42 w 182"/>
                <a:gd name="T23" fmla="*/ 0 h 140"/>
                <a:gd name="T24" fmla="*/ 14 w 182"/>
                <a:gd name="T25" fmla="*/ 0 h 140"/>
                <a:gd name="T26" fmla="*/ 7 w 182"/>
                <a:gd name="T27" fmla="*/ 49 h 140"/>
                <a:gd name="T28" fmla="*/ 0 w 182"/>
                <a:gd name="T29" fmla="*/ 98 h 140"/>
                <a:gd name="T30" fmla="*/ 14 w 182"/>
                <a:gd name="T31" fmla="*/ 125 h 140"/>
                <a:gd name="T32" fmla="*/ 42 w 182"/>
                <a:gd name="T33" fmla="*/ 132 h 140"/>
                <a:gd name="T34" fmla="*/ 62 w 182"/>
                <a:gd name="T35" fmla="*/ 139 h 140"/>
                <a:gd name="T36" fmla="*/ 76 w 182"/>
                <a:gd name="T37" fmla="*/ 125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2" h="140">
                  <a:moveTo>
                    <a:pt x="76" y="125"/>
                  </a:moveTo>
                  <a:lnTo>
                    <a:pt x="118" y="132"/>
                  </a:lnTo>
                  <a:lnTo>
                    <a:pt x="153" y="118"/>
                  </a:lnTo>
                  <a:lnTo>
                    <a:pt x="167" y="125"/>
                  </a:lnTo>
                  <a:lnTo>
                    <a:pt x="167" y="118"/>
                  </a:lnTo>
                  <a:lnTo>
                    <a:pt x="181" y="90"/>
                  </a:lnTo>
                  <a:lnTo>
                    <a:pt x="181" y="63"/>
                  </a:lnTo>
                  <a:lnTo>
                    <a:pt x="139" y="28"/>
                  </a:lnTo>
                  <a:lnTo>
                    <a:pt x="132" y="28"/>
                  </a:lnTo>
                  <a:lnTo>
                    <a:pt x="69" y="7"/>
                  </a:lnTo>
                  <a:lnTo>
                    <a:pt x="48" y="0"/>
                  </a:lnTo>
                  <a:lnTo>
                    <a:pt x="42" y="0"/>
                  </a:lnTo>
                  <a:lnTo>
                    <a:pt x="14" y="0"/>
                  </a:lnTo>
                  <a:lnTo>
                    <a:pt x="7" y="49"/>
                  </a:lnTo>
                  <a:lnTo>
                    <a:pt x="0" y="98"/>
                  </a:lnTo>
                  <a:lnTo>
                    <a:pt x="14" y="125"/>
                  </a:lnTo>
                  <a:lnTo>
                    <a:pt x="42" y="132"/>
                  </a:lnTo>
                  <a:lnTo>
                    <a:pt x="62" y="139"/>
                  </a:lnTo>
                  <a:lnTo>
                    <a:pt x="76" y="125"/>
                  </a:lnTo>
                </a:path>
              </a:pathLst>
            </a:custGeom>
            <a:grpFill/>
            <a:ln w="9525" cap="flat" cmpd="sng">
              <a:solidFill>
                <a:schemeClr val="bg1"/>
              </a:solid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63" name="Freeform 60">
              <a:extLst>
                <a:ext uri="{FF2B5EF4-FFF2-40B4-BE49-F238E27FC236}">
                  <a16:creationId xmlns:a16="http://schemas.microsoft.com/office/drawing/2014/main" id="{3E14A8DC-7BDA-443C-9A8E-B2A91163802D}"/>
                </a:ext>
              </a:extLst>
            </p:cNvPr>
            <p:cNvSpPr>
              <a:spLocks noChangeArrowheads="1"/>
            </p:cNvSpPr>
            <p:nvPr/>
          </p:nvSpPr>
          <p:spPr bwMode="auto">
            <a:xfrm>
              <a:off x="18908351" y="9246833"/>
              <a:ext cx="53848" cy="26927"/>
            </a:xfrm>
            <a:custGeom>
              <a:avLst/>
              <a:gdLst>
                <a:gd name="T0" fmla="*/ 35 w 113"/>
                <a:gd name="T1" fmla="*/ 0 h 57"/>
                <a:gd name="T2" fmla="*/ 0 w 113"/>
                <a:gd name="T3" fmla="*/ 14 h 57"/>
                <a:gd name="T4" fmla="*/ 7 w 113"/>
                <a:gd name="T5" fmla="*/ 56 h 57"/>
                <a:gd name="T6" fmla="*/ 56 w 113"/>
                <a:gd name="T7" fmla="*/ 49 h 57"/>
                <a:gd name="T8" fmla="*/ 98 w 113"/>
                <a:gd name="T9" fmla="*/ 49 h 57"/>
                <a:gd name="T10" fmla="*/ 112 w 113"/>
                <a:gd name="T11" fmla="*/ 0 h 57"/>
                <a:gd name="T12" fmla="*/ 56 w 113"/>
                <a:gd name="T13" fmla="*/ 14 h 57"/>
                <a:gd name="T14" fmla="*/ 35 w 113"/>
                <a:gd name="T15" fmla="*/ 0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3" h="57">
                  <a:moveTo>
                    <a:pt x="35" y="0"/>
                  </a:moveTo>
                  <a:lnTo>
                    <a:pt x="0" y="14"/>
                  </a:lnTo>
                  <a:lnTo>
                    <a:pt x="7" y="56"/>
                  </a:lnTo>
                  <a:lnTo>
                    <a:pt x="56" y="49"/>
                  </a:lnTo>
                  <a:lnTo>
                    <a:pt x="98" y="49"/>
                  </a:lnTo>
                  <a:lnTo>
                    <a:pt x="112" y="0"/>
                  </a:lnTo>
                  <a:lnTo>
                    <a:pt x="56" y="14"/>
                  </a:lnTo>
                  <a:lnTo>
                    <a:pt x="35" y="0"/>
                  </a:lnTo>
                </a:path>
              </a:pathLst>
            </a:custGeom>
            <a:grpFill/>
            <a:ln w="9525" cap="flat" cmpd="sng">
              <a:solidFill>
                <a:schemeClr val="bg1"/>
              </a:solid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64" name="Freeform 61">
              <a:extLst>
                <a:ext uri="{FF2B5EF4-FFF2-40B4-BE49-F238E27FC236}">
                  <a16:creationId xmlns:a16="http://schemas.microsoft.com/office/drawing/2014/main" id="{E832CC53-8577-405D-A1A8-E61374A29D70}"/>
                </a:ext>
              </a:extLst>
            </p:cNvPr>
            <p:cNvSpPr>
              <a:spLocks noChangeArrowheads="1"/>
            </p:cNvSpPr>
            <p:nvPr/>
          </p:nvSpPr>
          <p:spPr bwMode="auto">
            <a:xfrm>
              <a:off x="18753016" y="9037638"/>
              <a:ext cx="33137" cy="22783"/>
            </a:xfrm>
            <a:custGeom>
              <a:avLst/>
              <a:gdLst>
                <a:gd name="T0" fmla="*/ 35 w 71"/>
                <a:gd name="T1" fmla="*/ 42 h 50"/>
                <a:gd name="T2" fmla="*/ 35 w 71"/>
                <a:gd name="T3" fmla="*/ 49 h 50"/>
                <a:gd name="T4" fmla="*/ 21 w 71"/>
                <a:gd name="T5" fmla="*/ 49 h 50"/>
                <a:gd name="T6" fmla="*/ 7 w 71"/>
                <a:gd name="T7" fmla="*/ 42 h 50"/>
                <a:gd name="T8" fmla="*/ 0 w 71"/>
                <a:gd name="T9" fmla="*/ 49 h 50"/>
                <a:gd name="T10" fmla="*/ 7 w 71"/>
                <a:gd name="T11" fmla="*/ 35 h 50"/>
                <a:gd name="T12" fmla="*/ 21 w 71"/>
                <a:gd name="T13" fmla="*/ 0 h 50"/>
                <a:gd name="T14" fmla="*/ 70 w 71"/>
                <a:gd name="T15" fmla="*/ 0 h 50"/>
                <a:gd name="T16" fmla="*/ 70 w 71"/>
                <a:gd name="T17" fmla="*/ 14 h 50"/>
                <a:gd name="T18" fmla="*/ 42 w 71"/>
                <a:gd name="T19" fmla="*/ 21 h 50"/>
                <a:gd name="T20" fmla="*/ 35 w 71"/>
                <a:gd name="T21" fmla="*/ 4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1" h="50">
                  <a:moveTo>
                    <a:pt x="35" y="42"/>
                  </a:moveTo>
                  <a:lnTo>
                    <a:pt x="35" y="49"/>
                  </a:lnTo>
                  <a:lnTo>
                    <a:pt x="21" y="49"/>
                  </a:lnTo>
                  <a:lnTo>
                    <a:pt x="7" y="42"/>
                  </a:lnTo>
                  <a:lnTo>
                    <a:pt x="0" y="49"/>
                  </a:lnTo>
                  <a:lnTo>
                    <a:pt x="7" y="35"/>
                  </a:lnTo>
                  <a:lnTo>
                    <a:pt x="21" y="0"/>
                  </a:lnTo>
                  <a:lnTo>
                    <a:pt x="70" y="0"/>
                  </a:lnTo>
                  <a:lnTo>
                    <a:pt x="70" y="14"/>
                  </a:lnTo>
                  <a:lnTo>
                    <a:pt x="42" y="21"/>
                  </a:lnTo>
                  <a:lnTo>
                    <a:pt x="35" y="42"/>
                  </a:lnTo>
                </a:path>
              </a:pathLst>
            </a:custGeom>
            <a:grpFill/>
            <a:ln w="9525" cap="flat" cmpd="sng">
              <a:solidFill>
                <a:schemeClr val="bg1"/>
              </a:solid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65" name="Freeform 62">
              <a:extLst>
                <a:ext uri="{FF2B5EF4-FFF2-40B4-BE49-F238E27FC236}">
                  <a16:creationId xmlns:a16="http://schemas.microsoft.com/office/drawing/2014/main" id="{632FDD85-F326-452A-AAFA-F2648CA3227F}"/>
                </a:ext>
              </a:extLst>
            </p:cNvPr>
            <p:cNvSpPr>
              <a:spLocks noChangeArrowheads="1"/>
            </p:cNvSpPr>
            <p:nvPr/>
          </p:nvSpPr>
          <p:spPr bwMode="auto">
            <a:xfrm>
              <a:off x="18709523" y="7691330"/>
              <a:ext cx="944426" cy="733220"/>
            </a:xfrm>
            <a:custGeom>
              <a:avLst/>
              <a:gdLst>
                <a:gd name="T0" fmla="*/ 974 w 2011"/>
                <a:gd name="T1" fmla="*/ 605 h 1559"/>
                <a:gd name="T2" fmla="*/ 1078 w 2011"/>
                <a:gd name="T3" fmla="*/ 501 h 1559"/>
                <a:gd name="T4" fmla="*/ 1120 w 2011"/>
                <a:gd name="T5" fmla="*/ 404 h 1559"/>
                <a:gd name="T6" fmla="*/ 1189 w 2011"/>
                <a:gd name="T7" fmla="*/ 327 h 1559"/>
                <a:gd name="T8" fmla="*/ 1273 w 2011"/>
                <a:gd name="T9" fmla="*/ 181 h 1559"/>
                <a:gd name="T10" fmla="*/ 1377 w 2011"/>
                <a:gd name="T11" fmla="*/ 77 h 1559"/>
                <a:gd name="T12" fmla="*/ 1579 w 2011"/>
                <a:gd name="T13" fmla="*/ 118 h 1559"/>
                <a:gd name="T14" fmla="*/ 1878 w 2011"/>
                <a:gd name="T15" fmla="*/ 292 h 1559"/>
                <a:gd name="T16" fmla="*/ 1941 w 2011"/>
                <a:gd name="T17" fmla="*/ 480 h 1559"/>
                <a:gd name="T18" fmla="*/ 1927 w 2011"/>
                <a:gd name="T19" fmla="*/ 633 h 1559"/>
                <a:gd name="T20" fmla="*/ 1913 w 2011"/>
                <a:gd name="T21" fmla="*/ 710 h 1559"/>
                <a:gd name="T22" fmla="*/ 1955 w 2011"/>
                <a:gd name="T23" fmla="*/ 835 h 1559"/>
                <a:gd name="T24" fmla="*/ 1899 w 2011"/>
                <a:gd name="T25" fmla="*/ 883 h 1559"/>
                <a:gd name="T26" fmla="*/ 1795 w 2011"/>
                <a:gd name="T27" fmla="*/ 995 h 1559"/>
                <a:gd name="T28" fmla="*/ 1683 w 2011"/>
                <a:gd name="T29" fmla="*/ 939 h 1559"/>
                <a:gd name="T30" fmla="*/ 1663 w 2011"/>
                <a:gd name="T31" fmla="*/ 1071 h 1559"/>
                <a:gd name="T32" fmla="*/ 1663 w 2011"/>
                <a:gd name="T33" fmla="*/ 1204 h 1559"/>
                <a:gd name="T34" fmla="*/ 1711 w 2011"/>
                <a:gd name="T35" fmla="*/ 1329 h 1559"/>
                <a:gd name="T36" fmla="*/ 1516 w 2011"/>
                <a:gd name="T37" fmla="*/ 1419 h 1559"/>
                <a:gd name="T38" fmla="*/ 1356 w 2011"/>
                <a:gd name="T39" fmla="*/ 1440 h 1559"/>
                <a:gd name="T40" fmla="*/ 1203 w 2011"/>
                <a:gd name="T41" fmla="*/ 1461 h 1559"/>
                <a:gd name="T42" fmla="*/ 1092 w 2011"/>
                <a:gd name="T43" fmla="*/ 1558 h 1559"/>
                <a:gd name="T44" fmla="*/ 1009 w 2011"/>
                <a:gd name="T45" fmla="*/ 1523 h 1559"/>
                <a:gd name="T46" fmla="*/ 883 w 2011"/>
                <a:gd name="T47" fmla="*/ 1461 h 1559"/>
                <a:gd name="T48" fmla="*/ 786 w 2011"/>
                <a:gd name="T49" fmla="*/ 1398 h 1559"/>
                <a:gd name="T50" fmla="*/ 682 w 2011"/>
                <a:gd name="T51" fmla="*/ 1371 h 1559"/>
                <a:gd name="T52" fmla="*/ 556 w 2011"/>
                <a:gd name="T53" fmla="*/ 1294 h 1559"/>
                <a:gd name="T54" fmla="*/ 424 w 2011"/>
                <a:gd name="T55" fmla="*/ 1259 h 1559"/>
                <a:gd name="T56" fmla="*/ 292 w 2011"/>
                <a:gd name="T57" fmla="*/ 1259 h 1559"/>
                <a:gd name="T58" fmla="*/ 230 w 2011"/>
                <a:gd name="T59" fmla="*/ 1371 h 1559"/>
                <a:gd name="T60" fmla="*/ 285 w 2011"/>
                <a:gd name="T61" fmla="*/ 1503 h 1559"/>
                <a:gd name="T62" fmla="*/ 153 w 2011"/>
                <a:gd name="T63" fmla="*/ 1454 h 1559"/>
                <a:gd name="T64" fmla="*/ 63 w 2011"/>
                <a:gd name="T65" fmla="*/ 1336 h 1559"/>
                <a:gd name="T66" fmla="*/ 90 w 2011"/>
                <a:gd name="T67" fmla="*/ 1231 h 1559"/>
                <a:gd name="T68" fmla="*/ 132 w 2011"/>
                <a:gd name="T69" fmla="*/ 1162 h 1559"/>
                <a:gd name="T70" fmla="*/ 111 w 2011"/>
                <a:gd name="T71" fmla="*/ 1064 h 1559"/>
                <a:gd name="T72" fmla="*/ 76 w 2011"/>
                <a:gd name="T73" fmla="*/ 918 h 1559"/>
                <a:gd name="T74" fmla="*/ 132 w 2011"/>
                <a:gd name="T75" fmla="*/ 863 h 1559"/>
                <a:gd name="T76" fmla="*/ 209 w 2011"/>
                <a:gd name="T77" fmla="*/ 737 h 1559"/>
                <a:gd name="T78" fmla="*/ 292 w 2011"/>
                <a:gd name="T79" fmla="*/ 744 h 1559"/>
                <a:gd name="T80" fmla="*/ 382 w 2011"/>
                <a:gd name="T81" fmla="*/ 675 h 1559"/>
                <a:gd name="T82" fmla="*/ 424 w 2011"/>
                <a:gd name="T83" fmla="*/ 654 h 1559"/>
                <a:gd name="T84" fmla="*/ 355 w 2011"/>
                <a:gd name="T85" fmla="*/ 515 h 1559"/>
                <a:gd name="T86" fmla="*/ 431 w 2011"/>
                <a:gd name="T87" fmla="*/ 487 h 1559"/>
                <a:gd name="T88" fmla="*/ 515 w 2011"/>
                <a:gd name="T89" fmla="*/ 404 h 1559"/>
                <a:gd name="T90" fmla="*/ 598 w 2011"/>
                <a:gd name="T91" fmla="*/ 404 h 1559"/>
                <a:gd name="T92" fmla="*/ 695 w 2011"/>
                <a:gd name="T93" fmla="*/ 438 h 1559"/>
                <a:gd name="T94" fmla="*/ 800 w 2011"/>
                <a:gd name="T95" fmla="*/ 480 h 1559"/>
                <a:gd name="T96" fmla="*/ 849 w 2011"/>
                <a:gd name="T97" fmla="*/ 557 h 1559"/>
                <a:gd name="T98" fmla="*/ 883 w 2011"/>
                <a:gd name="T99" fmla="*/ 682 h 15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1" h="1559">
                  <a:moveTo>
                    <a:pt x="897" y="689"/>
                  </a:moveTo>
                  <a:lnTo>
                    <a:pt x="939" y="654"/>
                  </a:lnTo>
                  <a:lnTo>
                    <a:pt x="974" y="633"/>
                  </a:lnTo>
                  <a:lnTo>
                    <a:pt x="974" y="605"/>
                  </a:lnTo>
                  <a:lnTo>
                    <a:pt x="995" y="577"/>
                  </a:lnTo>
                  <a:lnTo>
                    <a:pt x="1043" y="557"/>
                  </a:lnTo>
                  <a:lnTo>
                    <a:pt x="1043" y="550"/>
                  </a:lnTo>
                  <a:lnTo>
                    <a:pt x="1078" y="501"/>
                  </a:lnTo>
                  <a:lnTo>
                    <a:pt x="1092" y="445"/>
                  </a:lnTo>
                  <a:lnTo>
                    <a:pt x="1113" y="418"/>
                  </a:lnTo>
                  <a:lnTo>
                    <a:pt x="1113" y="410"/>
                  </a:lnTo>
                  <a:lnTo>
                    <a:pt x="1120" y="404"/>
                  </a:lnTo>
                  <a:lnTo>
                    <a:pt x="1155" y="362"/>
                  </a:lnTo>
                  <a:lnTo>
                    <a:pt x="1176" y="376"/>
                  </a:lnTo>
                  <a:lnTo>
                    <a:pt x="1189" y="348"/>
                  </a:lnTo>
                  <a:lnTo>
                    <a:pt x="1189" y="327"/>
                  </a:lnTo>
                  <a:lnTo>
                    <a:pt x="1189" y="320"/>
                  </a:lnTo>
                  <a:lnTo>
                    <a:pt x="1210" y="271"/>
                  </a:lnTo>
                  <a:lnTo>
                    <a:pt x="1252" y="209"/>
                  </a:lnTo>
                  <a:lnTo>
                    <a:pt x="1273" y="181"/>
                  </a:lnTo>
                  <a:lnTo>
                    <a:pt x="1301" y="160"/>
                  </a:lnTo>
                  <a:lnTo>
                    <a:pt x="1343" y="125"/>
                  </a:lnTo>
                  <a:lnTo>
                    <a:pt x="1384" y="97"/>
                  </a:lnTo>
                  <a:lnTo>
                    <a:pt x="1377" y="77"/>
                  </a:lnTo>
                  <a:lnTo>
                    <a:pt x="1356" y="63"/>
                  </a:lnTo>
                  <a:lnTo>
                    <a:pt x="1384" y="0"/>
                  </a:lnTo>
                  <a:lnTo>
                    <a:pt x="1468" y="56"/>
                  </a:lnTo>
                  <a:lnTo>
                    <a:pt x="1579" y="118"/>
                  </a:lnTo>
                  <a:lnTo>
                    <a:pt x="1746" y="160"/>
                  </a:lnTo>
                  <a:lnTo>
                    <a:pt x="1746" y="181"/>
                  </a:lnTo>
                  <a:lnTo>
                    <a:pt x="1795" y="209"/>
                  </a:lnTo>
                  <a:lnTo>
                    <a:pt x="1878" y="292"/>
                  </a:lnTo>
                  <a:lnTo>
                    <a:pt x="1975" y="320"/>
                  </a:lnTo>
                  <a:lnTo>
                    <a:pt x="1969" y="341"/>
                  </a:lnTo>
                  <a:lnTo>
                    <a:pt x="1975" y="424"/>
                  </a:lnTo>
                  <a:lnTo>
                    <a:pt x="1941" y="480"/>
                  </a:lnTo>
                  <a:lnTo>
                    <a:pt x="1913" y="536"/>
                  </a:lnTo>
                  <a:lnTo>
                    <a:pt x="1913" y="543"/>
                  </a:lnTo>
                  <a:lnTo>
                    <a:pt x="1934" y="577"/>
                  </a:lnTo>
                  <a:lnTo>
                    <a:pt x="1927" y="633"/>
                  </a:lnTo>
                  <a:lnTo>
                    <a:pt x="1913" y="654"/>
                  </a:lnTo>
                  <a:lnTo>
                    <a:pt x="1913" y="675"/>
                  </a:lnTo>
                  <a:lnTo>
                    <a:pt x="1941" y="710"/>
                  </a:lnTo>
                  <a:lnTo>
                    <a:pt x="1913" y="710"/>
                  </a:lnTo>
                  <a:lnTo>
                    <a:pt x="1955" y="772"/>
                  </a:lnTo>
                  <a:lnTo>
                    <a:pt x="2003" y="800"/>
                  </a:lnTo>
                  <a:lnTo>
                    <a:pt x="2010" y="807"/>
                  </a:lnTo>
                  <a:lnTo>
                    <a:pt x="1955" y="835"/>
                  </a:lnTo>
                  <a:lnTo>
                    <a:pt x="1927" y="849"/>
                  </a:lnTo>
                  <a:lnTo>
                    <a:pt x="1913" y="877"/>
                  </a:lnTo>
                  <a:lnTo>
                    <a:pt x="1899" y="870"/>
                  </a:lnTo>
                  <a:lnTo>
                    <a:pt x="1899" y="883"/>
                  </a:lnTo>
                  <a:lnTo>
                    <a:pt x="1829" y="918"/>
                  </a:lnTo>
                  <a:lnTo>
                    <a:pt x="1816" y="960"/>
                  </a:lnTo>
                  <a:lnTo>
                    <a:pt x="1802" y="960"/>
                  </a:lnTo>
                  <a:lnTo>
                    <a:pt x="1795" y="995"/>
                  </a:lnTo>
                  <a:lnTo>
                    <a:pt x="1767" y="995"/>
                  </a:lnTo>
                  <a:lnTo>
                    <a:pt x="1739" y="974"/>
                  </a:lnTo>
                  <a:lnTo>
                    <a:pt x="1732" y="967"/>
                  </a:lnTo>
                  <a:lnTo>
                    <a:pt x="1683" y="939"/>
                  </a:lnTo>
                  <a:lnTo>
                    <a:pt x="1669" y="946"/>
                  </a:lnTo>
                  <a:lnTo>
                    <a:pt x="1635" y="995"/>
                  </a:lnTo>
                  <a:lnTo>
                    <a:pt x="1663" y="1016"/>
                  </a:lnTo>
                  <a:lnTo>
                    <a:pt x="1663" y="1071"/>
                  </a:lnTo>
                  <a:lnTo>
                    <a:pt x="1663" y="1106"/>
                  </a:lnTo>
                  <a:lnTo>
                    <a:pt x="1649" y="1134"/>
                  </a:lnTo>
                  <a:lnTo>
                    <a:pt x="1642" y="1162"/>
                  </a:lnTo>
                  <a:lnTo>
                    <a:pt x="1663" y="1204"/>
                  </a:lnTo>
                  <a:lnTo>
                    <a:pt x="1683" y="1210"/>
                  </a:lnTo>
                  <a:lnTo>
                    <a:pt x="1760" y="1280"/>
                  </a:lnTo>
                  <a:lnTo>
                    <a:pt x="1725" y="1301"/>
                  </a:lnTo>
                  <a:lnTo>
                    <a:pt x="1711" y="1329"/>
                  </a:lnTo>
                  <a:lnTo>
                    <a:pt x="1669" y="1343"/>
                  </a:lnTo>
                  <a:lnTo>
                    <a:pt x="1572" y="1371"/>
                  </a:lnTo>
                  <a:lnTo>
                    <a:pt x="1537" y="1405"/>
                  </a:lnTo>
                  <a:lnTo>
                    <a:pt x="1516" y="1419"/>
                  </a:lnTo>
                  <a:lnTo>
                    <a:pt x="1510" y="1426"/>
                  </a:lnTo>
                  <a:lnTo>
                    <a:pt x="1405" y="1364"/>
                  </a:lnTo>
                  <a:lnTo>
                    <a:pt x="1377" y="1377"/>
                  </a:lnTo>
                  <a:lnTo>
                    <a:pt x="1356" y="1440"/>
                  </a:lnTo>
                  <a:lnTo>
                    <a:pt x="1350" y="1440"/>
                  </a:lnTo>
                  <a:lnTo>
                    <a:pt x="1273" y="1475"/>
                  </a:lnTo>
                  <a:lnTo>
                    <a:pt x="1252" y="1454"/>
                  </a:lnTo>
                  <a:lnTo>
                    <a:pt x="1203" y="1461"/>
                  </a:lnTo>
                  <a:lnTo>
                    <a:pt x="1189" y="1496"/>
                  </a:lnTo>
                  <a:lnTo>
                    <a:pt x="1183" y="1489"/>
                  </a:lnTo>
                  <a:lnTo>
                    <a:pt x="1113" y="1551"/>
                  </a:lnTo>
                  <a:lnTo>
                    <a:pt x="1092" y="1558"/>
                  </a:lnTo>
                  <a:lnTo>
                    <a:pt x="1071" y="1537"/>
                  </a:lnTo>
                  <a:lnTo>
                    <a:pt x="1071" y="1531"/>
                  </a:lnTo>
                  <a:lnTo>
                    <a:pt x="1037" y="1496"/>
                  </a:lnTo>
                  <a:lnTo>
                    <a:pt x="1009" y="1523"/>
                  </a:lnTo>
                  <a:lnTo>
                    <a:pt x="974" y="1510"/>
                  </a:lnTo>
                  <a:lnTo>
                    <a:pt x="925" y="1510"/>
                  </a:lnTo>
                  <a:lnTo>
                    <a:pt x="890" y="1468"/>
                  </a:lnTo>
                  <a:lnTo>
                    <a:pt x="883" y="1461"/>
                  </a:lnTo>
                  <a:lnTo>
                    <a:pt x="883" y="1433"/>
                  </a:lnTo>
                  <a:lnTo>
                    <a:pt x="849" y="1419"/>
                  </a:lnTo>
                  <a:lnTo>
                    <a:pt x="800" y="1405"/>
                  </a:lnTo>
                  <a:lnTo>
                    <a:pt x="786" y="1398"/>
                  </a:lnTo>
                  <a:lnTo>
                    <a:pt x="779" y="1391"/>
                  </a:lnTo>
                  <a:lnTo>
                    <a:pt x="758" y="1398"/>
                  </a:lnTo>
                  <a:lnTo>
                    <a:pt x="723" y="1377"/>
                  </a:lnTo>
                  <a:lnTo>
                    <a:pt x="682" y="1371"/>
                  </a:lnTo>
                  <a:lnTo>
                    <a:pt x="654" y="1364"/>
                  </a:lnTo>
                  <a:lnTo>
                    <a:pt x="563" y="1322"/>
                  </a:lnTo>
                  <a:lnTo>
                    <a:pt x="570" y="1301"/>
                  </a:lnTo>
                  <a:lnTo>
                    <a:pt x="556" y="1294"/>
                  </a:lnTo>
                  <a:lnTo>
                    <a:pt x="522" y="1294"/>
                  </a:lnTo>
                  <a:lnTo>
                    <a:pt x="494" y="1273"/>
                  </a:lnTo>
                  <a:lnTo>
                    <a:pt x="459" y="1266"/>
                  </a:lnTo>
                  <a:lnTo>
                    <a:pt x="424" y="1259"/>
                  </a:lnTo>
                  <a:lnTo>
                    <a:pt x="389" y="1259"/>
                  </a:lnTo>
                  <a:lnTo>
                    <a:pt x="369" y="1301"/>
                  </a:lnTo>
                  <a:lnTo>
                    <a:pt x="306" y="1238"/>
                  </a:lnTo>
                  <a:lnTo>
                    <a:pt x="292" y="1259"/>
                  </a:lnTo>
                  <a:lnTo>
                    <a:pt x="271" y="1294"/>
                  </a:lnTo>
                  <a:lnTo>
                    <a:pt x="236" y="1343"/>
                  </a:lnTo>
                  <a:lnTo>
                    <a:pt x="250" y="1343"/>
                  </a:lnTo>
                  <a:lnTo>
                    <a:pt x="230" y="1371"/>
                  </a:lnTo>
                  <a:lnTo>
                    <a:pt x="271" y="1433"/>
                  </a:lnTo>
                  <a:lnTo>
                    <a:pt x="285" y="1489"/>
                  </a:lnTo>
                  <a:lnTo>
                    <a:pt x="292" y="1503"/>
                  </a:lnTo>
                  <a:lnTo>
                    <a:pt x="285" y="1503"/>
                  </a:lnTo>
                  <a:lnTo>
                    <a:pt x="250" y="1475"/>
                  </a:lnTo>
                  <a:lnTo>
                    <a:pt x="167" y="1496"/>
                  </a:lnTo>
                  <a:lnTo>
                    <a:pt x="160" y="1468"/>
                  </a:lnTo>
                  <a:lnTo>
                    <a:pt x="153" y="1454"/>
                  </a:lnTo>
                  <a:lnTo>
                    <a:pt x="97" y="1405"/>
                  </a:lnTo>
                  <a:lnTo>
                    <a:pt x="111" y="1391"/>
                  </a:lnTo>
                  <a:lnTo>
                    <a:pt x="111" y="1371"/>
                  </a:lnTo>
                  <a:lnTo>
                    <a:pt x="63" y="1336"/>
                  </a:lnTo>
                  <a:lnTo>
                    <a:pt x="90" y="1294"/>
                  </a:lnTo>
                  <a:lnTo>
                    <a:pt x="55" y="1273"/>
                  </a:lnTo>
                  <a:lnTo>
                    <a:pt x="63" y="1266"/>
                  </a:lnTo>
                  <a:lnTo>
                    <a:pt x="90" y="1231"/>
                  </a:lnTo>
                  <a:lnTo>
                    <a:pt x="132" y="1210"/>
                  </a:lnTo>
                  <a:lnTo>
                    <a:pt x="139" y="1204"/>
                  </a:lnTo>
                  <a:lnTo>
                    <a:pt x="104" y="1169"/>
                  </a:lnTo>
                  <a:lnTo>
                    <a:pt x="132" y="1162"/>
                  </a:lnTo>
                  <a:lnTo>
                    <a:pt x="139" y="1134"/>
                  </a:lnTo>
                  <a:lnTo>
                    <a:pt x="104" y="1106"/>
                  </a:lnTo>
                  <a:lnTo>
                    <a:pt x="97" y="1078"/>
                  </a:lnTo>
                  <a:lnTo>
                    <a:pt x="111" y="1064"/>
                  </a:lnTo>
                  <a:lnTo>
                    <a:pt x="104" y="1002"/>
                  </a:lnTo>
                  <a:lnTo>
                    <a:pt x="97" y="995"/>
                  </a:lnTo>
                  <a:lnTo>
                    <a:pt x="90" y="960"/>
                  </a:lnTo>
                  <a:lnTo>
                    <a:pt x="76" y="918"/>
                  </a:lnTo>
                  <a:lnTo>
                    <a:pt x="63" y="897"/>
                  </a:lnTo>
                  <a:lnTo>
                    <a:pt x="0" y="842"/>
                  </a:lnTo>
                  <a:lnTo>
                    <a:pt x="63" y="835"/>
                  </a:lnTo>
                  <a:lnTo>
                    <a:pt x="132" y="863"/>
                  </a:lnTo>
                  <a:lnTo>
                    <a:pt x="139" y="814"/>
                  </a:lnTo>
                  <a:lnTo>
                    <a:pt x="188" y="814"/>
                  </a:lnTo>
                  <a:lnTo>
                    <a:pt x="188" y="779"/>
                  </a:lnTo>
                  <a:lnTo>
                    <a:pt x="209" y="737"/>
                  </a:lnTo>
                  <a:lnTo>
                    <a:pt x="257" y="737"/>
                  </a:lnTo>
                  <a:lnTo>
                    <a:pt x="285" y="807"/>
                  </a:lnTo>
                  <a:lnTo>
                    <a:pt x="299" y="751"/>
                  </a:lnTo>
                  <a:lnTo>
                    <a:pt x="292" y="744"/>
                  </a:lnTo>
                  <a:lnTo>
                    <a:pt x="299" y="717"/>
                  </a:lnTo>
                  <a:lnTo>
                    <a:pt x="327" y="731"/>
                  </a:lnTo>
                  <a:lnTo>
                    <a:pt x="369" y="710"/>
                  </a:lnTo>
                  <a:lnTo>
                    <a:pt x="382" y="675"/>
                  </a:lnTo>
                  <a:lnTo>
                    <a:pt x="397" y="710"/>
                  </a:lnTo>
                  <a:lnTo>
                    <a:pt x="417" y="717"/>
                  </a:lnTo>
                  <a:lnTo>
                    <a:pt x="431" y="682"/>
                  </a:lnTo>
                  <a:lnTo>
                    <a:pt x="424" y="654"/>
                  </a:lnTo>
                  <a:lnTo>
                    <a:pt x="397" y="654"/>
                  </a:lnTo>
                  <a:lnTo>
                    <a:pt x="382" y="619"/>
                  </a:lnTo>
                  <a:lnTo>
                    <a:pt x="341" y="543"/>
                  </a:lnTo>
                  <a:lnTo>
                    <a:pt x="355" y="515"/>
                  </a:lnTo>
                  <a:lnTo>
                    <a:pt x="369" y="508"/>
                  </a:lnTo>
                  <a:lnTo>
                    <a:pt x="403" y="501"/>
                  </a:lnTo>
                  <a:lnTo>
                    <a:pt x="424" y="508"/>
                  </a:lnTo>
                  <a:lnTo>
                    <a:pt x="431" y="487"/>
                  </a:lnTo>
                  <a:lnTo>
                    <a:pt x="459" y="487"/>
                  </a:lnTo>
                  <a:lnTo>
                    <a:pt x="480" y="452"/>
                  </a:lnTo>
                  <a:lnTo>
                    <a:pt x="480" y="438"/>
                  </a:lnTo>
                  <a:lnTo>
                    <a:pt x="515" y="404"/>
                  </a:lnTo>
                  <a:lnTo>
                    <a:pt x="563" y="362"/>
                  </a:lnTo>
                  <a:lnTo>
                    <a:pt x="570" y="355"/>
                  </a:lnTo>
                  <a:lnTo>
                    <a:pt x="598" y="383"/>
                  </a:lnTo>
                  <a:lnTo>
                    <a:pt x="598" y="404"/>
                  </a:lnTo>
                  <a:lnTo>
                    <a:pt x="633" y="390"/>
                  </a:lnTo>
                  <a:lnTo>
                    <a:pt x="661" y="459"/>
                  </a:lnTo>
                  <a:lnTo>
                    <a:pt x="689" y="473"/>
                  </a:lnTo>
                  <a:lnTo>
                    <a:pt x="695" y="438"/>
                  </a:lnTo>
                  <a:lnTo>
                    <a:pt x="723" y="424"/>
                  </a:lnTo>
                  <a:lnTo>
                    <a:pt x="723" y="452"/>
                  </a:lnTo>
                  <a:lnTo>
                    <a:pt x="751" y="445"/>
                  </a:lnTo>
                  <a:lnTo>
                    <a:pt x="800" y="480"/>
                  </a:lnTo>
                  <a:lnTo>
                    <a:pt x="814" y="515"/>
                  </a:lnTo>
                  <a:lnTo>
                    <a:pt x="828" y="508"/>
                  </a:lnTo>
                  <a:lnTo>
                    <a:pt x="842" y="536"/>
                  </a:lnTo>
                  <a:lnTo>
                    <a:pt x="849" y="557"/>
                  </a:lnTo>
                  <a:lnTo>
                    <a:pt x="856" y="612"/>
                  </a:lnTo>
                  <a:lnTo>
                    <a:pt x="876" y="654"/>
                  </a:lnTo>
                  <a:lnTo>
                    <a:pt x="856" y="682"/>
                  </a:lnTo>
                  <a:lnTo>
                    <a:pt x="883" y="682"/>
                  </a:lnTo>
                  <a:lnTo>
                    <a:pt x="897" y="689"/>
                  </a:lnTo>
                </a:path>
              </a:pathLst>
            </a:custGeom>
            <a:grpFill/>
            <a:ln w="9525" cap="flat" cmpd="sng">
              <a:solidFill>
                <a:schemeClr val="bg1"/>
              </a:solid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66" name="Freeform 63">
              <a:extLst>
                <a:ext uri="{FF2B5EF4-FFF2-40B4-BE49-F238E27FC236}">
                  <a16:creationId xmlns:a16="http://schemas.microsoft.com/office/drawing/2014/main" id="{B957B857-60B9-44CB-B9EC-A4E20AB0B4F5}"/>
                </a:ext>
              </a:extLst>
            </p:cNvPr>
            <p:cNvSpPr>
              <a:spLocks noChangeArrowheads="1"/>
            </p:cNvSpPr>
            <p:nvPr/>
          </p:nvSpPr>
          <p:spPr bwMode="auto">
            <a:xfrm>
              <a:off x="18001204" y="6848333"/>
              <a:ext cx="1360718" cy="1248961"/>
            </a:xfrm>
            <a:custGeom>
              <a:avLst/>
              <a:gdLst>
                <a:gd name="T0" fmla="*/ 585 w 2895"/>
                <a:gd name="T1" fmla="*/ 529 h 2659"/>
                <a:gd name="T2" fmla="*/ 557 w 2895"/>
                <a:gd name="T3" fmla="*/ 432 h 2659"/>
                <a:gd name="T4" fmla="*/ 731 w 2895"/>
                <a:gd name="T5" fmla="*/ 348 h 2659"/>
                <a:gd name="T6" fmla="*/ 849 w 2895"/>
                <a:gd name="T7" fmla="*/ 167 h 2659"/>
                <a:gd name="T8" fmla="*/ 1009 w 2895"/>
                <a:gd name="T9" fmla="*/ 202 h 2659"/>
                <a:gd name="T10" fmla="*/ 1127 w 2895"/>
                <a:gd name="T11" fmla="*/ 98 h 2659"/>
                <a:gd name="T12" fmla="*/ 1301 w 2895"/>
                <a:gd name="T13" fmla="*/ 42 h 2659"/>
                <a:gd name="T14" fmla="*/ 1489 w 2895"/>
                <a:gd name="T15" fmla="*/ 118 h 2659"/>
                <a:gd name="T16" fmla="*/ 1677 w 2895"/>
                <a:gd name="T17" fmla="*/ 529 h 2659"/>
                <a:gd name="T18" fmla="*/ 1976 w 2895"/>
                <a:gd name="T19" fmla="*/ 933 h 2659"/>
                <a:gd name="T20" fmla="*/ 2289 w 2895"/>
                <a:gd name="T21" fmla="*/ 1169 h 2659"/>
                <a:gd name="T22" fmla="*/ 2393 w 2895"/>
                <a:gd name="T23" fmla="*/ 1322 h 2659"/>
                <a:gd name="T24" fmla="*/ 2616 w 2895"/>
                <a:gd name="T25" fmla="*/ 1510 h 2659"/>
                <a:gd name="T26" fmla="*/ 2853 w 2895"/>
                <a:gd name="T27" fmla="*/ 1781 h 2659"/>
                <a:gd name="T28" fmla="*/ 2853 w 2895"/>
                <a:gd name="T29" fmla="*/ 1920 h 2659"/>
                <a:gd name="T30" fmla="*/ 2699 w 2895"/>
                <a:gd name="T31" fmla="*/ 2115 h 2659"/>
                <a:gd name="T32" fmla="*/ 2630 w 2895"/>
                <a:gd name="T33" fmla="*/ 2199 h 2659"/>
                <a:gd name="T34" fmla="*/ 2553 w 2895"/>
                <a:gd name="T35" fmla="*/ 2345 h 2659"/>
                <a:gd name="T36" fmla="*/ 2449 w 2895"/>
                <a:gd name="T37" fmla="*/ 2449 h 2659"/>
                <a:gd name="T38" fmla="*/ 2366 w 2895"/>
                <a:gd name="T39" fmla="*/ 2407 h 2659"/>
                <a:gd name="T40" fmla="*/ 2310 w 2895"/>
                <a:gd name="T41" fmla="*/ 2275 h 2659"/>
                <a:gd name="T42" fmla="*/ 2199 w 2895"/>
                <a:gd name="T43" fmla="*/ 2268 h 2659"/>
                <a:gd name="T44" fmla="*/ 2080 w 2895"/>
                <a:gd name="T45" fmla="*/ 2150 h 2659"/>
                <a:gd name="T46" fmla="*/ 1969 w 2895"/>
                <a:gd name="T47" fmla="*/ 2282 h 2659"/>
                <a:gd name="T48" fmla="*/ 1865 w 2895"/>
                <a:gd name="T49" fmla="*/ 2310 h 2659"/>
                <a:gd name="T50" fmla="*/ 1941 w 2895"/>
                <a:gd name="T51" fmla="*/ 2477 h 2659"/>
                <a:gd name="T52" fmla="*/ 1837 w 2895"/>
                <a:gd name="T53" fmla="*/ 2526 h 2659"/>
                <a:gd name="T54" fmla="*/ 1767 w 2895"/>
                <a:gd name="T55" fmla="*/ 2532 h 2659"/>
                <a:gd name="T56" fmla="*/ 1642 w 2895"/>
                <a:gd name="T57" fmla="*/ 2658 h 2659"/>
                <a:gd name="T58" fmla="*/ 1454 w 2895"/>
                <a:gd name="T59" fmla="*/ 2574 h 2659"/>
                <a:gd name="T60" fmla="*/ 1378 w 2895"/>
                <a:gd name="T61" fmla="*/ 2546 h 2659"/>
                <a:gd name="T62" fmla="*/ 1218 w 2895"/>
                <a:gd name="T63" fmla="*/ 2484 h 2659"/>
                <a:gd name="T64" fmla="*/ 1092 w 2895"/>
                <a:gd name="T65" fmla="*/ 2407 h 2659"/>
                <a:gd name="T66" fmla="*/ 925 w 2895"/>
                <a:gd name="T67" fmla="*/ 2470 h 2659"/>
                <a:gd name="T68" fmla="*/ 779 w 2895"/>
                <a:gd name="T69" fmla="*/ 2386 h 2659"/>
                <a:gd name="T70" fmla="*/ 619 w 2895"/>
                <a:gd name="T71" fmla="*/ 2317 h 2659"/>
                <a:gd name="T72" fmla="*/ 564 w 2895"/>
                <a:gd name="T73" fmla="*/ 2254 h 2659"/>
                <a:gd name="T74" fmla="*/ 536 w 2895"/>
                <a:gd name="T75" fmla="*/ 2122 h 2659"/>
                <a:gd name="T76" fmla="*/ 355 w 2895"/>
                <a:gd name="T77" fmla="*/ 2011 h 2659"/>
                <a:gd name="T78" fmla="*/ 98 w 2895"/>
                <a:gd name="T79" fmla="*/ 1941 h 2659"/>
                <a:gd name="T80" fmla="*/ 0 w 2895"/>
                <a:gd name="T81" fmla="*/ 1781 h 2659"/>
                <a:gd name="T82" fmla="*/ 35 w 2895"/>
                <a:gd name="T83" fmla="*/ 1698 h 2659"/>
                <a:gd name="T84" fmla="*/ 244 w 2895"/>
                <a:gd name="T85" fmla="*/ 1628 h 2659"/>
                <a:gd name="T86" fmla="*/ 418 w 2895"/>
                <a:gd name="T87" fmla="*/ 1656 h 2659"/>
                <a:gd name="T88" fmla="*/ 550 w 2895"/>
                <a:gd name="T89" fmla="*/ 1593 h 2659"/>
                <a:gd name="T90" fmla="*/ 522 w 2895"/>
                <a:gd name="T91" fmla="*/ 1482 h 2659"/>
                <a:gd name="T92" fmla="*/ 355 w 2895"/>
                <a:gd name="T93" fmla="*/ 1350 h 2659"/>
                <a:gd name="T94" fmla="*/ 209 w 2895"/>
                <a:gd name="T95" fmla="*/ 1169 h 2659"/>
                <a:gd name="T96" fmla="*/ 160 w 2895"/>
                <a:gd name="T97" fmla="*/ 988 h 2659"/>
                <a:gd name="T98" fmla="*/ 258 w 2895"/>
                <a:gd name="T99" fmla="*/ 842 h 2659"/>
                <a:gd name="T100" fmla="*/ 244 w 2895"/>
                <a:gd name="T101" fmla="*/ 766 h 2659"/>
                <a:gd name="T102" fmla="*/ 376 w 2895"/>
                <a:gd name="T103" fmla="*/ 696 h 2659"/>
                <a:gd name="T104" fmla="*/ 599 w 2895"/>
                <a:gd name="T105" fmla="*/ 668 h 2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895" h="2659">
                  <a:moveTo>
                    <a:pt x="606" y="661"/>
                  </a:moveTo>
                  <a:lnTo>
                    <a:pt x="619" y="599"/>
                  </a:lnTo>
                  <a:lnTo>
                    <a:pt x="633" y="557"/>
                  </a:lnTo>
                  <a:lnTo>
                    <a:pt x="633" y="543"/>
                  </a:lnTo>
                  <a:lnTo>
                    <a:pt x="585" y="529"/>
                  </a:lnTo>
                  <a:lnTo>
                    <a:pt x="585" y="536"/>
                  </a:lnTo>
                  <a:lnTo>
                    <a:pt x="536" y="494"/>
                  </a:lnTo>
                  <a:lnTo>
                    <a:pt x="536" y="466"/>
                  </a:lnTo>
                  <a:lnTo>
                    <a:pt x="550" y="439"/>
                  </a:lnTo>
                  <a:lnTo>
                    <a:pt x="557" y="432"/>
                  </a:lnTo>
                  <a:lnTo>
                    <a:pt x="599" y="445"/>
                  </a:lnTo>
                  <a:lnTo>
                    <a:pt x="668" y="404"/>
                  </a:lnTo>
                  <a:lnTo>
                    <a:pt x="682" y="418"/>
                  </a:lnTo>
                  <a:lnTo>
                    <a:pt x="689" y="362"/>
                  </a:lnTo>
                  <a:lnTo>
                    <a:pt x="731" y="348"/>
                  </a:lnTo>
                  <a:lnTo>
                    <a:pt x="779" y="341"/>
                  </a:lnTo>
                  <a:lnTo>
                    <a:pt x="793" y="306"/>
                  </a:lnTo>
                  <a:lnTo>
                    <a:pt x="793" y="265"/>
                  </a:lnTo>
                  <a:lnTo>
                    <a:pt x="849" y="188"/>
                  </a:lnTo>
                  <a:lnTo>
                    <a:pt x="849" y="167"/>
                  </a:lnTo>
                  <a:lnTo>
                    <a:pt x="891" y="202"/>
                  </a:lnTo>
                  <a:lnTo>
                    <a:pt x="912" y="202"/>
                  </a:lnTo>
                  <a:lnTo>
                    <a:pt x="981" y="174"/>
                  </a:lnTo>
                  <a:lnTo>
                    <a:pt x="995" y="174"/>
                  </a:lnTo>
                  <a:lnTo>
                    <a:pt x="1009" y="202"/>
                  </a:lnTo>
                  <a:lnTo>
                    <a:pt x="1051" y="188"/>
                  </a:lnTo>
                  <a:lnTo>
                    <a:pt x="1092" y="167"/>
                  </a:lnTo>
                  <a:lnTo>
                    <a:pt x="1120" y="167"/>
                  </a:lnTo>
                  <a:lnTo>
                    <a:pt x="1127" y="133"/>
                  </a:lnTo>
                  <a:lnTo>
                    <a:pt x="1127" y="98"/>
                  </a:lnTo>
                  <a:lnTo>
                    <a:pt x="1155" y="84"/>
                  </a:lnTo>
                  <a:lnTo>
                    <a:pt x="1190" y="84"/>
                  </a:lnTo>
                  <a:lnTo>
                    <a:pt x="1218" y="77"/>
                  </a:lnTo>
                  <a:lnTo>
                    <a:pt x="1225" y="77"/>
                  </a:lnTo>
                  <a:lnTo>
                    <a:pt x="1301" y="42"/>
                  </a:lnTo>
                  <a:lnTo>
                    <a:pt x="1336" y="21"/>
                  </a:lnTo>
                  <a:lnTo>
                    <a:pt x="1413" y="7"/>
                  </a:lnTo>
                  <a:lnTo>
                    <a:pt x="1433" y="7"/>
                  </a:lnTo>
                  <a:lnTo>
                    <a:pt x="1475" y="0"/>
                  </a:lnTo>
                  <a:lnTo>
                    <a:pt x="1489" y="118"/>
                  </a:lnTo>
                  <a:lnTo>
                    <a:pt x="1510" y="174"/>
                  </a:lnTo>
                  <a:lnTo>
                    <a:pt x="1538" y="244"/>
                  </a:lnTo>
                  <a:lnTo>
                    <a:pt x="1565" y="299"/>
                  </a:lnTo>
                  <a:lnTo>
                    <a:pt x="1580" y="334"/>
                  </a:lnTo>
                  <a:lnTo>
                    <a:pt x="1677" y="529"/>
                  </a:lnTo>
                  <a:lnTo>
                    <a:pt x="1767" y="689"/>
                  </a:lnTo>
                  <a:lnTo>
                    <a:pt x="1851" y="793"/>
                  </a:lnTo>
                  <a:lnTo>
                    <a:pt x="1865" y="800"/>
                  </a:lnTo>
                  <a:lnTo>
                    <a:pt x="1913" y="870"/>
                  </a:lnTo>
                  <a:lnTo>
                    <a:pt x="1976" y="933"/>
                  </a:lnTo>
                  <a:lnTo>
                    <a:pt x="1990" y="933"/>
                  </a:lnTo>
                  <a:lnTo>
                    <a:pt x="2032" y="988"/>
                  </a:lnTo>
                  <a:lnTo>
                    <a:pt x="2136" y="1072"/>
                  </a:lnTo>
                  <a:lnTo>
                    <a:pt x="2303" y="1190"/>
                  </a:lnTo>
                  <a:lnTo>
                    <a:pt x="2289" y="1169"/>
                  </a:lnTo>
                  <a:lnTo>
                    <a:pt x="2275" y="1190"/>
                  </a:lnTo>
                  <a:lnTo>
                    <a:pt x="2303" y="1197"/>
                  </a:lnTo>
                  <a:lnTo>
                    <a:pt x="2289" y="1197"/>
                  </a:lnTo>
                  <a:lnTo>
                    <a:pt x="2338" y="1266"/>
                  </a:lnTo>
                  <a:lnTo>
                    <a:pt x="2393" y="1322"/>
                  </a:lnTo>
                  <a:lnTo>
                    <a:pt x="2435" y="1364"/>
                  </a:lnTo>
                  <a:lnTo>
                    <a:pt x="2435" y="1378"/>
                  </a:lnTo>
                  <a:lnTo>
                    <a:pt x="2470" y="1426"/>
                  </a:lnTo>
                  <a:lnTo>
                    <a:pt x="2505" y="1433"/>
                  </a:lnTo>
                  <a:lnTo>
                    <a:pt x="2616" y="1510"/>
                  </a:lnTo>
                  <a:lnTo>
                    <a:pt x="2679" y="1531"/>
                  </a:lnTo>
                  <a:lnTo>
                    <a:pt x="2783" y="1579"/>
                  </a:lnTo>
                  <a:lnTo>
                    <a:pt x="2797" y="1698"/>
                  </a:lnTo>
                  <a:lnTo>
                    <a:pt x="2790" y="1719"/>
                  </a:lnTo>
                  <a:lnTo>
                    <a:pt x="2853" y="1781"/>
                  </a:lnTo>
                  <a:lnTo>
                    <a:pt x="2894" y="1795"/>
                  </a:lnTo>
                  <a:lnTo>
                    <a:pt x="2866" y="1858"/>
                  </a:lnTo>
                  <a:lnTo>
                    <a:pt x="2887" y="1872"/>
                  </a:lnTo>
                  <a:lnTo>
                    <a:pt x="2894" y="1892"/>
                  </a:lnTo>
                  <a:lnTo>
                    <a:pt x="2853" y="1920"/>
                  </a:lnTo>
                  <a:lnTo>
                    <a:pt x="2811" y="1955"/>
                  </a:lnTo>
                  <a:lnTo>
                    <a:pt x="2783" y="1976"/>
                  </a:lnTo>
                  <a:lnTo>
                    <a:pt x="2762" y="2004"/>
                  </a:lnTo>
                  <a:lnTo>
                    <a:pt x="2720" y="2066"/>
                  </a:lnTo>
                  <a:lnTo>
                    <a:pt x="2699" y="2115"/>
                  </a:lnTo>
                  <a:lnTo>
                    <a:pt x="2699" y="2122"/>
                  </a:lnTo>
                  <a:lnTo>
                    <a:pt x="2699" y="2143"/>
                  </a:lnTo>
                  <a:lnTo>
                    <a:pt x="2686" y="2171"/>
                  </a:lnTo>
                  <a:lnTo>
                    <a:pt x="2665" y="2157"/>
                  </a:lnTo>
                  <a:lnTo>
                    <a:pt x="2630" y="2199"/>
                  </a:lnTo>
                  <a:lnTo>
                    <a:pt x="2623" y="2205"/>
                  </a:lnTo>
                  <a:lnTo>
                    <a:pt x="2623" y="2213"/>
                  </a:lnTo>
                  <a:lnTo>
                    <a:pt x="2602" y="2240"/>
                  </a:lnTo>
                  <a:lnTo>
                    <a:pt x="2588" y="2296"/>
                  </a:lnTo>
                  <a:lnTo>
                    <a:pt x="2553" y="2345"/>
                  </a:lnTo>
                  <a:lnTo>
                    <a:pt x="2553" y="2352"/>
                  </a:lnTo>
                  <a:lnTo>
                    <a:pt x="2505" y="2372"/>
                  </a:lnTo>
                  <a:lnTo>
                    <a:pt x="2484" y="2400"/>
                  </a:lnTo>
                  <a:lnTo>
                    <a:pt x="2484" y="2428"/>
                  </a:lnTo>
                  <a:lnTo>
                    <a:pt x="2449" y="2449"/>
                  </a:lnTo>
                  <a:lnTo>
                    <a:pt x="2407" y="2484"/>
                  </a:lnTo>
                  <a:lnTo>
                    <a:pt x="2393" y="2477"/>
                  </a:lnTo>
                  <a:lnTo>
                    <a:pt x="2366" y="2477"/>
                  </a:lnTo>
                  <a:lnTo>
                    <a:pt x="2386" y="2449"/>
                  </a:lnTo>
                  <a:lnTo>
                    <a:pt x="2366" y="2407"/>
                  </a:lnTo>
                  <a:lnTo>
                    <a:pt x="2359" y="2352"/>
                  </a:lnTo>
                  <a:lnTo>
                    <a:pt x="2352" y="2331"/>
                  </a:lnTo>
                  <a:lnTo>
                    <a:pt x="2338" y="2303"/>
                  </a:lnTo>
                  <a:lnTo>
                    <a:pt x="2324" y="2310"/>
                  </a:lnTo>
                  <a:lnTo>
                    <a:pt x="2310" y="2275"/>
                  </a:lnTo>
                  <a:lnTo>
                    <a:pt x="2261" y="2240"/>
                  </a:lnTo>
                  <a:lnTo>
                    <a:pt x="2233" y="2247"/>
                  </a:lnTo>
                  <a:lnTo>
                    <a:pt x="2233" y="2219"/>
                  </a:lnTo>
                  <a:lnTo>
                    <a:pt x="2205" y="2233"/>
                  </a:lnTo>
                  <a:lnTo>
                    <a:pt x="2199" y="2268"/>
                  </a:lnTo>
                  <a:lnTo>
                    <a:pt x="2171" y="2254"/>
                  </a:lnTo>
                  <a:lnTo>
                    <a:pt x="2143" y="2185"/>
                  </a:lnTo>
                  <a:lnTo>
                    <a:pt x="2108" y="2199"/>
                  </a:lnTo>
                  <a:lnTo>
                    <a:pt x="2108" y="2178"/>
                  </a:lnTo>
                  <a:lnTo>
                    <a:pt x="2080" y="2150"/>
                  </a:lnTo>
                  <a:lnTo>
                    <a:pt x="2073" y="2157"/>
                  </a:lnTo>
                  <a:lnTo>
                    <a:pt x="2025" y="2199"/>
                  </a:lnTo>
                  <a:lnTo>
                    <a:pt x="1990" y="2233"/>
                  </a:lnTo>
                  <a:lnTo>
                    <a:pt x="1990" y="2247"/>
                  </a:lnTo>
                  <a:lnTo>
                    <a:pt x="1969" y="2282"/>
                  </a:lnTo>
                  <a:lnTo>
                    <a:pt x="1941" y="2282"/>
                  </a:lnTo>
                  <a:lnTo>
                    <a:pt x="1934" y="2303"/>
                  </a:lnTo>
                  <a:lnTo>
                    <a:pt x="1913" y="2296"/>
                  </a:lnTo>
                  <a:lnTo>
                    <a:pt x="1879" y="2303"/>
                  </a:lnTo>
                  <a:lnTo>
                    <a:pt x="1865" y="2310"/>
                  </a:lnTo>
                  <a:lnTo>
                    <a:pt x="1851" y="2338"/>
                  </a:lnTo>
                  <a:lnTo>
                    <a:pt x="1892" y="2414"/>
                  </a:lnTo>
                  <a:lnTo>
                    <a:pt x="1907" y="2449"/>
                  </a:lnTo>
                  <a:lnTo>
                    <a:pt x="1934" y="2449"/>
                  </a:lnTo>
                  <a:lnTo>
                    <a:pt x="1941" y="2477"/>
                  </a:lnTo>
                  <a:lnTo>
                    <a:pt x="1927" y="2512"/>
                  </a:lnTo>
                  <a:lnTo>
                    <a:pt x="1907" y="2505"/>
                  </a:lnTo>
                  <a:lnTo>
                    <a:pt x="1892" y="2470"/>
                  </a:lnTo>
                  <a:lnTo>
                    <a:pt x="1879" y="2505"/>
                  </a:lnTo>
                  <a:lnTo>
                    <a:pt x="1837" y="2526"/>
                  </a:lnTo>
                  <a:lnTo>
                    <a:pt x="1809" y="2512"/>
                  </a:lnTo>
                  <a:lnTo>
                    <a:pt x="1802" y="2539"/>
                  </a:lnTo>
                  <a:lnTo>
                    <a:pt x="1809" y="2546"/>
                  </a:lnTo>
                  <a:lnTo>
                    <a:pt x="1795" y="2602"/>
                  </a:lnTo>
                  <a:lnTo>
                    <a:pt x="1767" y="2532"/>
                  </a:lnTo>
                  <a:lnTo>
                    <a:pt x="1719" y="2532"/>
                  </a:lnTo>
                  <a:lnTo>
                    <a:pt x="1698" y="2574"/>
                  </a:lnTo>
                  <a:lnTo>
                    <a:pt x="1698" y="2609"/>
                  </a:lnTo>
                  <a:lnTo>
                    <a:pt x="1649" y="2609"/>
                  </a:lnTo>
                  <a:lnTo>
                    <a:pt x="1642" y="2658"/>
                  </a:lnTo>
                  <a:lnTo>
                    <a:pt x="1573" y="2630"/>
                  </a:lnTo>
                  <a:lnTo>
                    <a:pt x="1510" y="2637"/>
                  </a:lnTo>
                  <a:lnTo>
                    <a:pt x="1489" y="2602"/>
                  </a:lnTo>
                  <a:lnTo>
                    <a:pt x="1482" y="2581"/>
                  </a:lnTo>
                  <a:lnTo>
                    <a:pt x="1454" y="2574"/>
                  </a:lnTo>
                  <a:lnTo>
                    <a:pt x="1440" y="2560"/>
                  </a:lnTo>
                  <a:lnTo>
                    <a:pt x="1440" y="2539"/>
                  </a:lnTo>
                  <a:lnTo>
                    <a:pt x="1433" y="2532"/>
                  </a:lnTo>
                  <a:lnTo>
                    <a:pt x="1419" y="2539"/>
                  </a:lnTo>
                  <a:lnTo>
                    <a:pt x="1378" y="2546"/>
                  </a:lnTo>
                  <a:lnTo>
                    <a:pt x="1315" y="2526"/>
                  </a:lnTo>
                  <a:lnTo>
                    <a:pt x="1308" y="2498"/>
                  </a:lnTo>
                  <a:lnTo>
                    <a:pt x="1259" y="2526"/>
                  </a:lnTo>
                  <a:lnTo>
                    <a:pt x="1239" y="2505"/>
                  </a:lnTo>
                  <a:lnTo>
                    <a:pt x="1218" y="2484"/>
                  </a:lnTo>
                  <a:lnTo>
                    <a:pt x="1204" y="2477"/>
                  </a:lnTo>
                  <a:lnTo>
                    <a:pt x="1190" y="2449"/>
                  </a:lnTo>
                  <a:lnTo>
                    <a:pt x="1162" y="2400"/>
                  </a:lnTo>
                  <a:lnTo>
                    <a:pt x="1127" y="2428"/>
                  </a:lnTo>
                  <a:lnTo>
                    <a:pt x="1092" y="2407"/>
                  </a:lnTo>
                  <a:lnTo>
                    <a:pt x="1051" y="2372"/>
                  </a:lnTo>
                  <a:lnTo>
                    <a:pt x="1016" y="2386"/>
                  </a:lnTo>
                  <a:lnTo>
                    <a:pt x="1023" y="2414"/>
                  </a:lnTo>
                  <a:lnTo>
                    <a:pt x="974" y="2442"/>
                  </a:lnTo>
                  <a:lnTo>
                    <a:pt x="925" y="2470"/>
                  </a:lnTo>
                  <a:lnTo>
                    <a:pt x="912" y="2498"/>
                  </a:lnTo>
                  <a:lnTo>
                    <a:pt x="821" y="2449"/>
                  </a:lnTo>
                  <a:lnTo>
                    <a:pt x="821" y="2442"/>
                  </a:lnTo>
                  <a:lnTo>
                    <a:pt x="793" y="2400"/>
                  </a:lnTo>
                  <a:lnTo>
                    <a:pt x="779" y="2386"/>
                  </a:lnTo>
                  <a:lnTo>
                    <a:pt x="766" y="2386"/>
                  </a:lnTo>
                  <a:lnTo>
                    <a:pt x="759" y="2386"/>
                  </a:lnTo>
                  <a:lnTo>
                    <a:pt x="703" y="2345"/>
                  </a:lnTo>
                  <a:lnTo>
                    <a:pt x="647" y="2317"/>
                  </a:lnTo>
                  <a:lnTo>
                    <a:pt x="619" y="2317"/>
                  </a:lnTo>
                  <a:lnTo>
                    <a:pt x="606" y="2352"/>
                  </a:lnTo>
                  <a:lnTo>
                    <a:pt x="592" y="2352"/>
                  </a:lnTo>
                  <a:lnTo>
                    <a:pt x="571" y="2338"/>
                  </a:lnTo>
                  <a:lnTo>
                    <a:pt x="564" y="2310"/>
                  </a:lnTo>
                  <a:lnTo>
                    <a:pt x="564" y="2254"/>
                  </a:lnTo>
                  <a:lnTo>
                    <a:pt x="557" y="2240"/>
                  </a:lnTo>
                  <a:lnTo>
                    <a:pt x="592" y="2171"/>
                  </a:lnTo>
                  <a:lnTo>
                    <a:pt x="585" y="2150"/>
                  </a:lnTo>
                  <a:lnTo>
                    <a:pt x="550" y="2115"/>
                  </a:lnTo>
                  <a:lnTo>
                    <a:pt x="536" y="2122"/>
                  </a:lnTo>
                  <a:lnTo>
                    <a:pt x="494" y="2080"/>
                  </a:lnTo>
                  <a:lnTo>
                    <a:pt x="460" y="2066"/>
                  </a:lnTo>
                  <a:lnTo>
                    <a:pt x="452" y="2073"/>
                  </a:lnTo>
                  <a:lnTo>
                    <a:pt x="432" y="2052"/>
                  </a:lnTo>
                  <a:lnTo>
                    <a:pt x="355" y="2011"/>
                  </a:lnTo>
                  <a:lnTo>
                    <a:pt x="293" y="1983"/>
                  </a:lnTo>
                  <a:lnTo>
                    <a:pt x="133" y="1892"/>
                  </a:lnTo>
                  <a:lnTo>
                    <a:pt x="133" y="1927"/>
                  </a:lnTo>
                  <a:lnTo>
                    <a:pt x="112" y="1941"/>
                  </a:lnTo>
                  <a:lnTo>
                    <a:pt x="98" y="1941"/>
                  </a:lnTo>
                  <a:lnTo>
                    <a:pt x="42" y="1906"/>
                  </a:lnTo>
                  <a:lnTo>
                    <a:pt x="42" y="1892"/>
                  </a:lnTo>
                  <a:lnTo>
                    <a:pt x="7" y="1851"/>
                  </a:lnTo>
                  <a:lnTo>
                    <a:pt x="0" y="1816"/>
                  </a:lnTo>
                  <a:lnTo>
                    <a:pt x="0" y="1781"/>
                  </a:lnTo>
                  <a:lnTo>
                    <a:pt x="0" y="1753"/>
                  </a:lnTo>
                  <a:lnTo>
                    <a:pt x="7" y="1746"/>
                  </a:lnTo>
                  <a:lnTo>
                    <a:pt x="14" y="1698"/>
                  </a:lnTo>
                  <a:lnTo>
                    <a:pt x="14" y="1691"/>
                  </a:lnTo>
                  <a:lnTo>
                    <a:pt x="35" y="1698"/>
                  </a:lnTo>
                  <a:lnTo>
                    <a:pt x="91" y="1656"/>
                  </a:lnTo>
                  <a:lnTo>
                    <a:pt x="112" y="1593"/>
                  </a:lnTo>
                  <a:lnTo>
                    <a:pt x="105" y="1565"/>
                  </a:lnTo>
                  <a:lnTo>
                    <a:pt x="174" y="1579"/>
                  </a:lnTo>
                  <a:lnTo>
                    <a:pt x="244" y="1628"/>
                  </a:lnTo>
                  <a:lnTo>
                    <a:pt x="265" y="1614"/>
                  </a:lnTo>
                  <a:lnTo>
                    <a:pt x="334" y="1656"/>
                  </a:lnTo>
                  <a:lnTo>
                    <a:pt x="355" y="1677"/>
                  </a:lnTo>
                  <a:lnTo>
                    <a:pt x="369" y="1684"/>
                  </a:lnTo>
                  <a:lnTo>
                    <a:pt x="418" y="1656"/>
                  </a:lnTo>
                  <a:lnTo>
                    <a:pt x="432" y="1677"/>
                  </a:lnTo>
                  <a:lnTo>
                    <a:pt x="460" y="1677"/>
                  </a:lnTo>
                  <a:lnTo>
                    <a:pt x="501" y="1621"/>
                  </a:lnTo>
                  <a:lnTo>
                    <a:pt x="494" y="1607"/>
                  </a:lnTo>
                  <a:lnTo>
                    <a:pt x="550" y="1593"/>
                  </a:lnTo>
                  <a:lnTo>
                    <a:pt x="529" y="1579"/>
                  </a:lnTo>
                  <a:lnTo>
                    <a:pt x="585" y="1565"/>
                  </a:lnTo>
                  <a:lnTo>
                    <a:pt x="564" y="1552"/>
                  </a:lnTo>
                  <a:lnTo>
                    <a:pt x="508" y="1496"/>
                  </a:lnTo>
                  <a:lnTo>
                    <a:pt x="522" y="1482"/>
                  </a:lnTo>
                  <a:lnTo>
                    <a:pt x="508" y="1468"/>
                  </a:lnTo>
                  <a:lnTo>
                    <a:pt x="460" y="1454"/>
                  </a:lnTo>
                  <a:lnTo>
                    <a:pt x="418" y="1412"/>
                  </a:lnTo>
                  <a:lnTo>
                    <a:pt x="362" y="1364"/>
                  </a:lnTo>
                  <a:lnTo>
                    <a:pt x="355" y="1350"/>
                  </a:lnTo>
                  <a:lnTo>
                    <a:pt x="341" y="1252"/>
                  </a:lnTo>
                  <a:lnTo>
                    <a:pt x="293" y="1225"/>
                  </a:lnTo>
                  <a:lnTo>
                    <a:pt x="258" y="1204"/>
                  </a:lnTo>
                  <a:lnTo>
                    <a:pt x="244" y="1197"/>
                  </a:lnTo>
                  <a:lnTo>
                    <a:pt x="209" y="1169"/>
                  </a:lnTo>
                  <a:lnTo>
                    <a:pt x="265" y="1127"/>
                  </a:lnTo>
                  <a:lnTo>
                    <a:pt x="279" y="1092"/>
                  </a:lnTo>
                  <a:lnTo>
                    <a:pt x="272" y="1072"/>
                  </a:lnTo>
                  <a:lnTo>
                    <a:pt x="237" y="1065"/>
                  </a:lnTo>
                  <a:lnTo>
                    <a:pt x="160" y="988"/>
                  </a:lnTo>
                  <a:lnTo>
                    <a:pt x="195" y="939"/>
                  </a:lnTo>
                  <a:lnTo>
                    <a:pt x="223" y="939"/>
                  </a:lnTo>
                  <a:lnTo>
                    <a:pt x="258" y="905"/>
                  </a:lnTo>
                  <a:lnTo>
                    <a:pt x="244" y="898"/>
                  </a:lnTo>
                  <a:lnTo>
                    <a:pt x="258" y="842"/>
                  </a:lnTo>
                  <a:lnTo>
                    <a:pt x="237" y="828"/>
                  </a:lnTo>
                  <a:lnTo>
                    <a:pt x="230" y="800"/>
                  </a:lnTo>
                  <a:lnTo>
                    <a:pt x="223" y="773"/>
                  </a:lnTo>
                  <a:lnTo>
                    <a:pt x="237" y="786"/>
                  </a:lnTo>
                  <a:lnTo>
                    <a:pt x="244" y="766"/>
                  </a:lnTo>
                  <a:lnTo>
                    <a:pt x="258" y="710"/>
                  </a:lnTo>
                  <a:lnTo>
                    <a:pt x="279" y="696"/>
                  </a:lnTo>
                  <a:lnTo>
                    <a:pt x="279" y="668"/>
                  </a:lnTo>
                  <a:lnTo>
                    <a:pt x="341" y="689"/>
                  </a:lnTo>
                  <a:lnTo>
                    <a:pt x="376" y="696"/>
                  </a:lnTo>
                  <a:lnTo>
                    <a:pt x="425" y="675"/>
                  </a:lnTo>
                  <a:lnTo>
                    <a:pt x="452" y="703"/>
                  </a:lnTo>
                  <a:lnTo>
                    <a:pt x="508" y="689"/>
                  </a:lnTo>
                  <a:lnTo>
                    <a:pt x="550" y="696"/>
                  </a:lnTo>
                  <a:lnTo>
                    <a:pt x="599" y="668"/>
                  </a:lnTo>
                  <a:lnTo>
                    <a:pt x="606" y="661"/>
                  </a:lnTo>
                </a:path>
              </a:pathLst>
            </a:custGeom>
            <a:grpFill/>
            <a:ln w="9525" cap="flat" cmpd="sng">
              <a:solidFill>
                <a:schemeClr val="bg1"/>
              </a:solidFill>
              <a:bevel/>
              <a:headEnd/>
              <a:tailEnd/>
            </a:ln>
            <a:effectLst/>
          </p:spPr>
          <p:txBody>
            <a:bodyPr wrap="none" anchor="ctr"/>
            <a:lstStyle/>
            <a:p>
              <a:endParaRPr lang="en-US" dirty="0">
                <a:latin typeface="Open Sans Regular" charset="0"/>
              </a:endParaRPr>
            </a:p>
          </p:txBody>
        </p:sp>
        <p:sp>
          <p:nvSpPr>
            <p:cNvPr id="67" name="Freeform 64">
              <a:extLst>
                <a:ext uri="{FF2B5EF4-FFF2-40B4-BE49-F238E27FC236}">
                  <a16:creationId xmlns:a16="http://schemas.microsoft.com/office/drawing/2014/main" id="{68E5E4F2-7A06-45F2-B470-1E42446EC94A}"/>
                </a:ext>
              </a:extLst>
            </p:cNvPr>
            <p:cNvSpPr>
              <a:spLocks noChangeArrowheads="1"/>
            </p:cNvSpPr>
            <p:nvPr/>
          </p:nvSpPr>
          <p:spPr bwMode="auto">
            <a:xfrm>
              <a:off x="16785462" y="6904256"/>
              <a:ext cx="1990337" cy="1679778"/>
            </a:xfrm>
            <a:custGeom>
              <a:avLst/>
              <a:gdLst>
                <a:gd name="T0" fmla="*/ 3972 w 4237"/>
                <a:gd name="T1" fmla="*/ 3131 h 3576"/>
                <a:gd name="T2" fmla="*/ 4160 w 4237"/>
                <a:gd name="T3" fmla="*/ 3013 h 3576"/>
                <a:gd name="T4" fmla="*/ 4201 w 4237"/>
                <a:gd name="T5" fmla="*/ 2846 h 3576"/>
                <a:gd name="T6" fmla="*/ 4194 w 4237"/>
                <a:gd name="T7" fmla="*/ 2672 h 3576"/>
                <a:gd name="T8" fmla="*/ 4041 w 4237"/>
                <a:gd name="T9" fmla="*/ 2456 h 3576"/>
                <a:gd name="T10" fmla="*/ 3895 w 4237"/>
                <a:gd name="T11" fmla="*/ 2380 h 3576"/>
                <a:gd name="T12" fmla="*/ 3714 w 4237"/>
                <a:gd name="T13" fmla="*/ 2310 h 3576"/>
                <a:gd name="T14" fmla="*/ 3499 w 4237"/>
                <a:gd name="T15" fmla="*/ 2380 h 3576"/>
                <a:gd name="T16" fmla="*/ 3290 w 4237"/>
                <a:gd name="T17" fmla="*/ 2227 h 3576"/>
                <a:gd name="T18" fmla="*/ 3151 w 4237"/>
                <a:gd name="T19" fmla="*/ 2136 h 3576"/>
                <a:gd name="T20" fmla="*/ 3047 w 4237"/>
                <a:gd name="T21" fmla="*/ 1948 h 3576"/>
                <a:gd name="T22" fmla="*/ 2699 w 4237"/>
                <a:gd name="T23" fmla="*/ 1823 h 3576"/>
                <a:gd name="T24" fmla="*/ 2587 w 4237"/>
                <a:gd name="T25" fmla="*/ 1635 h 3576"/>
                <a:gd name="T26" fmla="*/ 2692 w 4237"/>
                <a:gd name="T27" fmla="*/ 1447 h 3576"/>
                <a:gd name="T28" fmla="*/ 3005 w 4237"/>
                <a:gd name="T29" fmla="*/ 1538 h 3576"/>
                <a:gd name="T30" fmla="*/ 3172 w 4237"/>
                <a:gd name="T31" fmla="*/ 1447 h 3576"/>
                <a:gd name="T32" fmla="*/ 2949 w 4237"/>
                <a:gd name="T33" fmla="*/ 1246 h 3576"/>
                <a:gd name="T34" fmla="*/ 2852 w 4237"/>
                <a:gd name="T35" fmla="*/ 1009 h 3576"/>
                <a:gd name="T36" fmla="*/ 2845 w 4237"/>
                <a:gd name="T37" fmla="*/ 787 h 3576"/>
                <a:gd name="T38" fmla="*/ 2831 w 4237"/>
                <a:gd name="T39" fmla="*/ 648 h 3576"/>
                <a:gd name="T40" fmla="*/ 3039 w 4237"/>
                <a:gd name="T41" fmla="*/ 585 h 3576"/>
                <a:gd name="T42" fmla="*/ 3220 w 4237"/>
                <a:gd name="T43" fmla="*/ 425 h 3576"/>
                <a:gd name="T44" fmla="*/ 3039 w 4237"/>
                <a:gd name="T45" fmla="*/ 244 h 3576"/>
                <a:gd name="T46" fmla="*/ 2852 w 4237"/>
                <a:gd name="T47" fmla="*/ 348 h 3576"/>
                <a:gd name="T48" fmla="*/ 2601 w 4237"/>
                <a:gd name="T49" fmla="*/ 446 h 3576"/>
                <a:gd name="T50" fmla="*/ 2372 w 4237"/>
                <a:gd name="T51" fmla="*/ 606 h 3576"/>
                <a:gd name="T52" fmla="*/ 2135 w 4237"/>
                <a:gd name="T53" fmla="*/ 724 h 3576"/>
                <a:gd name="T54" fmla="*/ 1996 w 4237"/>
                <a:gd name="T55" fmla="*/ 877 h 3576"/>
                <a:gd name="T56" fmla="*/ 1906 w 4237"/>
                <a:gd name="T57" fmla="*/ 954 h 3576"/>
                <a:gd name="T58" fmla="*/ 1747 w 4237"/>
                <a:gd name="T59" fmla="*/ 954 h 3576"/>
                <a:gd name="T60" fmla="*/ 1670 w 4237"/>
                <a:gd name="T61" fmla="*/ 905 h 3576"/>
                <a:gd name="T62" fmla="*/ 1601 w 4237"/>
                <a:gd name="T63" fmla="*/ 780 h 3576"/>
                <a:gd name="T64" fmla="*/ 1406 w 4237"/>
                <a:gd name="T65" fmla="*/ 773 h 3576"/>
                <a:gd name="T66" fmla="*/ 1378 w 4237"/>
                <a:gd name="T67" fmla="*/ 710 h 3576"/>
                <a:gd name="T68" fmla="*/ 1287 w 4237"/>
                <a:gd name="T69" fmla="*/ 557 h 3576"/>
                <a:gd name="T70" fmla="*/ 1253 w 4237"/>
                <a:gd name="T71" fmla="*/ 411 h 3576"/>
                <a:gd name="T72" fmla="*/ 1065 w 4237"/>
                <a:gd name="T73" fmla="*/ 390 h 3576"/>
                <a:gd name="T74" fmla="*/ 780 w 4237"/>
                <a:gd name="T75" fmla="*/ 293 h 3576"/>
                <a:gd name="T76" fmla="*/ 752 w 4237"/>
                <a:gd name="T77" fmla="*/ 21 h 3576"/>
                <a:gd name="T78" fmla="*/ 522 w 4237"/>
                <a:gd name="T79" fmla="*/ 49 h 3576"/>
                <a:gd name="T80" fmla="*/ 571 w 4237"/>
                <a:gd name="T81" fmla="*/ 286 h 3576"/>
                <a:gd name="T82" fmla="*/ 501 w 4237"/>
                <a:gd name="T83" fmla="*/ 439 h 3576"/>
                <a:gd name="T84" fmla="*/ 327 w 4237"/>
                <a:gd name="T85" fmla="*/ 592 h 3576"/>
                <a:gd name="T86" fmla="*/ 188 w 4237"/>
                <a:gd name="T87" fmla="*/ 703 h 3576"/>
                <a:gd name="T88" fmla="*/ 63 w 4237"/>
                <a:gd name="T89" fmla="*/ 877 h 3576"/>
                <a:gd name="T90" fmla="*/ 432 w 4237"/>
                <a:gd name="T91" fmla="*/ 1399 h 3576"/>
                <a:gd name="T92" fmla="*/ 766 w 4237"/>
                <a:gd name="T93" fmla="*/ 1754 h 3576"/>
                <a:gd name="T94" fmla="*/ 1114 w 4237"/>
                <a:gd name="T95" fmla="*/ 2004 h 3576"/>
                <a:gd name="T96" fmla="*/ 1280 w 4237"/>
                <a:gd name="T97" fmla="*/ 2394 h 3576"/>
                <a:gd name="T98" fmla="*/ 1587 w 4237"/>
                <a:gd name="T99" fmla="*/ 2588 h 3576"/>
                <a:gd name="T100" fmla="*/ 2163 w 4237"/>
                <a:gd name="T101" fmla="*/ 3138 h 3576"/>
                <a:gd name="T102" fmla="*/ 2699 w 4237"/>
                <a:gd name="T103" fmla="*/ 3540 h 3576"/>
                <a:gd name="T104" fmla="*/ 3325 w 4237"/>
                <a:gd name="T105" fmla="*/ 3506 h 3576"/>
                <a:gd name="T106" fmla="*/ 3485 w 4237"/>
                <a:gd name="T107" fmla="*/ 3533 h 3576"/>
                <a:gd name="T108" fmla="*/ 3874 w 4237"/>
                <a:gd name="T109" fmla="*/ 3492 h 3576"/>
                <a:gd name="T110" fmla="*/ 3958 w 4237"/>
                <a:gd name="T111" fmla="*/ 3394 h 3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37" h="3576">
                  <a:moveTo>
                    <a:pt x="3993" y="3284"/>
                  </a:moveTo>
                  <a:lnTo>
                    <a:pt x="3993" y="3242"/>
                  </a:lnTo>
                  <a:lnTo>
                    <a:pt x="3993" y="3208"/>
                  </a:lnTo>
                  <a:lnTo>
                    <a:pt x="4006" y="3180"/>
                  </a:lnTo>
                  <a:lnTo>
                    <a:pt x="3993" y="3166"/>
                  </a:lnTo>
                  <a:lnTo>
                    <a:pt x="3979" y="3145"/>
                  </a:lnTo>
                  <a:lnTo>
                    <a:pt x="3972" y="3131"/>
                  </a:lnTo>
                  <a:lnTo>
                    <a:pt x="3972" y="3117"/>
                  </a:lnTo>
                  <a:lnTo>
                    <a:pt x="4020" y="3096"/>
                  </a:lnTo>
                  <a:lnTo>
                    <a:pt x="4034" y="3096"/>
                  </a:lnTo>
                  <a:lnTo>
                    <a:pt x="4041" y="3096"/>
                  </a:lnTo>
                  <a:lnTo>
                    <a:pt x="4076" y="3068"/>
                  </a:lnTo>
                  <a:lnTo>
                    <a:pt x="4139" y="3013"/>
                  </a:lnTo>
                  <a:lnTo>
                    <a:pt x="4160" y="3013"/>
                  </a:lnTo>
                  <a:lnTo>
                    <a:pt x="4187" y="2971"/>
                  </a:lnTo>
                  <a:lnTo>
                    <a:pt x="4152" y="2950"/>
                  </a:lnTo>
                  <a:lnTo>
                    <a:pt x="4160" y="2943"/>
                  </a:lnTo>
                  <a:lnTo>
                    <a:pt x="4187" y="2908"/>
                  </a:lnTo>
                  <a:lnTo>
                    <a:pt x="4229" y="2887"/>
                  </a:lnTo>
                  <a:lnTo>
                    <a:pt x="4236" y="2881"/>
                  </a:lnTo>
                  <a:lnTo>
                    <a:pt x="4201" y="2846"/>
                  </a:lnTo>
                  <a:lnTo>
                    <a:pt x="4229" y="2839"/>
                  </a:lnTo>
                  <a:lnTo>
                    <a:pt x="4236" y="2811"/>
                  </a:lnTo>
                  <a:lnTo>
                    <a:pt x="4201" y="2783"/>
                  </a:lnTo>
                  <a:lnTo>
                    <a:pt x="4194" y="2755"/>
                  </a:lnTo>
                  <a:lnTo>
                    <a:pt x="4208" y="2741"/>
                  </a:lnTo>
                  <a:lnTo>
                    <a:pt x="4201" y="2679"/>
                  </a:lnTo>
                  <a:lnTo>
                    <a:pt x="4194" y="2672"/>
                  </a:lnTo>
                  <a:lnTo>
                    <a:pt x="4187" y="2637"/>
                  </a:lnTo>
                  <a:lnTo>
                    <a:pt x="4173" y="2595"/>
                  </a:lnTo>
                  <a:lnTo>
                    <a:pt x="4160" y="2574"/>
                  </a:lnTo>
                  <a:lnTo>
                    <a:pt x="4097" y="2519"/>
                  </a:lnTo>
                  <a:lnTo>
                    <a:pt x="4076" y="2484"/>
                  </a:lnTo>
                  <a:lnTo>
                    <a:pt x="4069" y="2463"/>
                  </a:lnTo>
                  <a:lnTo>
                    <a:pt x="4041" y="2456"/>
                  </a:lnTo>
                  <a:lnTo>
                    <a:pt x="4027" y="2442"/>
                  </a:lnTo>
                  <a:lnTo>
                    <a:pt x="4027" y="2421"/>
                  </a:lnTo>
                  <a:lnTo>
                    <a:pt x="4020" y="2414"/>
                  </a:lnTo>
                  <a:lnTo>
                    <a:pt x="4006" y="2421"/>
                  </a:lnTo>
                  <a:lnTo>
                    <a:pt x="3965" y="2428"/>
                  </a:lnTo>
                  <a:lnTo>
                    <a:pt x="3902" y="2408"/>
                  </a:lnTo>
                  <a:lnTo>
                    <a:pt x="3895" y="2380"/>
                  </a:lnTo>
                  <a:lnTo>
                    <a:pt x="3846" y="2408"/>
                  </a:lnTo>
                  <a:lnTo>
                    <a:pt x="3826" y="2387"/>
                  </a:lnTo>
                  <a:lnTo>
                    <a:pt x="3805" y="2366"/>
                  </a:lnTo>
                  <a:lnTo>
                    <a:pt x="3791" y="2359"/>
                  </a:lnTo>
                  <a:lnTo>
                    <a:pt x="3777" y="2331"/>
                  </a:lnTo>
                  <a:lnTo>
                    <a:pt x="3749" y="2282"/>
                  </a:lnTo>
                  <a:lnTo>
                    <a:pt x="3714" y="2310"/>
                  </a:lnTo>
                  <a:lnTo>
                    <a:pt x="3679" y="2289"/>
                  </a:lnTo>
                  <a:lnTo>
                    <a:pt x="3638" y="2254"/>
                  </a:lnTo>
                  <a:lnTo>
                    <a:pt x="3603" y="2268"/>
                  </a:lnTo>
                  <a:lnTo>
                    <a:pt x="3610" y="2296"/>
                  </a:lnTo>
                  <a:lnTo>
                    <a:pt x="3561" y="2324"/>
                  </a:lnTo>
                  <a:lnTo>
                    <a:pt x="3512" y="2352"/>
                  </a:lnTo>
                  <a:lnTo>
                    <a:pt x="3499" y="2380"/>
                  </a:lnTo>
                  <a:lnTo>
                    <a:pt x="3408" y="2331"/>
                  </a:lnTo>
                  <a:lnTo>
                    <a:pt x="3408" y="2324"/>
                  </a:lnTo>
                  <a:lnTo>
                    <a:pt x="3380" y="2282"/>
                  </a:lnTo>
                  <a:lnTo>
                    <a:pt x="3366" y="2268"/>
                  </a:lnTo>
                  <a:lnTo>
                    <a:pt x="3353" y="2268"/>
                  </a:lnTo>
                  <a:lnTo>
                    <a:pt x="3346" y="2268"/>
                  </a:lnTo>
                  <a:lnTo>
                    <a:pt x="3290" y="2227"/>
                  </a:lnTo>
                  <a:lnTo>
                    <a:pt x="3234" y="2199"/>
                  </a:lnTo>
                  <a:lnTo>
                    <a:pt x="3206" y="2199"/>
                  </a:lnTo>
                  <a:lnTo>
                    <a:pt x="3193" y="2234"/>
                  </a:lnTo>
                  <a:lnTo>
                    <a:pt x="3179" y="2234"/>
                  </a:lnTo>
                  <a:lnTo>
                    <a:pt x="3158" y="2220"/>
                  </a:lnTo>
                  <a:lnTo>
                    <a:pt x="3151" y="2192"/>
                  </a:lnTo>
                  <a:lnTo>
                    <a:pt x="3151" y="2136"/>
                  </a:lnTo>
                  <a:lnTo>
                    <a:pt x="3144" y="2122"/>
                  </a:lnTo>
                  <a:lnTo>
                    <a:pt x="3179" y="2053"/>
                  </a:lnTo>
                  <a:lnTo>
                    <a:pt x="3172" y="2032"/>
                  </a:lnTo>
                  <a:lnTo>
                    <a:pt x="3137" y="1997"/>
                  </a:lnTo>
                  <a:lnTo>
                    <a:pt x="3123" y="2004"/>
                  </a:lnTo>
                  <a:lnTo>
                    <a:pt x="3081" y="1962"/>
                  </a:lnTo>
                  <a:lnTo>
                    <a:pt x="3047" y="1948"/>
                  </a:lnTo>
                  <a:lnTo>
                    <a:pt x="3039" y="1955"/>
                  </a:lnTo>
                  <a:lnTo>
                    <a:pt x="3019" y="1934"/>
                  </a:lnTo>
                  <a:lnTo>
                    <a:pt x="2942" y="1893"/>
                  </a:lnTo>
                  <a:lnTo>
                    <a:pt x="2880" y="1865"/>
                  </a:lnTo>
                  <a:lnTo>
                    <a:pt x="2720" y="1774"/>
                  </a:lnTo>
                  <a:lnTo>
                    <a:pt x="2720" y="1809"/>
                  </a:lnTo>
                  <a:lnTo>
                    <a:pt x="2699" y="1823"/>
                  </a:lnTo>
                  <a:lnTo>
                    <a:pt x="2685" y="1823"/>
                  </a:lnTo>
                  <a:lnTo>
                    <a:pt x="2629" y="1788"/>
                  </a:lnTo>
                  <a:lnTo>
                    <a:pt x="2629" y="1774"/>
                  </a:lnTo>
                  <a:lnTo>
                    <a:pt x="2594" y="1733"/>
                  </a:lnTo>
                  <a:lnTo>
                    <a:pt x="2587" y="1698"/>
                  </a:lnTo>
                  <a:lnTo>
                    <a:pt x="2587" y="1663"/>
                  </a:lnTo>
                  <a:lnTo>
                    <a:pt x="2587" y="1635"/>
                  </a:lnTo>
                  <a:lnTo>
                    <a:pt x="2594" y="1628"/>
                  </a:lnTo>
                  <a:lnTo>
                    <a:pt x="2601" y="1580"/>
                  </a:lnTo>
                  <a:lnTo>
                    <a:pt x="2601" y="1573"/>
                  </a:lnTo>
                  <a:lnTo>
                    <a:pt x="2622" y="1580"/>
                  </a:lnTo>
                  <a:lnTo>
                    <a:pt x="2678" y="1538"/>
                  </a:lnTo>
                  <a:lnTo>
                    <a:pt x="2699" y="1475"/>
                  </a:lnTo>
                  <a:lnTo>
                    <a:pt x="2692" y="1447"/>
                  </a:lnTo>
                  <a:lnTo>
                    <a:pt x="2761" y="1461"/>
                  </a:lnTo>
                  <a:lnTo>
                    <a:pt x="2831" y="1510"/>
                  </a:lnTo>
                  <a:lnTo>
                    <a:pt x="2852" y="1496"/>
                  </a:lnTo>
                  <a:lnTo>
                    <a:pt x="2921" y="1538"/>
                  </a:lnTo>
                  <a:lnTo>
                    <a:pt x="2942" y="1559"/>
                  </a:lnTo>
                  <a:lnTo>
                    <a:pt x="2956" y="1566"/>
                  </a:lnTo>
                  <a:lnTo>
                    <a:pt x="3005" y="1538"/>
                  </a:lnTo>
                  <a:lnTo>
                    <a:pt x="3019" y="1559"/>
                  </a:lnTo>
                  <a:lnTo>
                    <a:pt x="3047" y="1559"/>
                  </a:lnTo>
                  <a:lnTo>
                    <a:pt x="3088" y="1503"/>
                  </a:lnTo>
                  <a:lnTo>
                    <a:pt x="3081" y="1489"/>
                  </a:lnTo>
                  <a:lnTo>
                    <a:pt x="3137" y="1475"/>
                  </a:lnTo>
                  <a:lnTo>
                    <a:pt x="3116" y="1461"/>
                  </a:lnTo>
                  <a:lnTo>
                    <a:pt x="3172" y="1447"/>
                  </a:lnTo>
                  <a:lnTo>
                    <a:pt x="3151" y="1434"/>
                  </a:lnTo>
                  <a:lnTo>
                    <a:pt x="3095" y="1378"/>
                  </a:lnTo>
                  <a:lnTo>
                    <a:pt x="3109" y="1364"/>
                  </a:lnTo>
                  <a:lnTo>
                    <a:pt x="3095" y="1350"/>
                  </a:lnTo>
                  <a:lnTo>
                    <a:pt x="3047" y="1336"/>
                  </a:lnTo>
                  <a:lnTo>
                    <a:pt x="3005" y="1294"/>
                  </a:lnTo>
                  <a:lnTo>
                    <a:pt x="2949" y="1246"/>
                  </a:lnTo>
                  <a:lnTo>
                    <a:pt x="2942" y="1232"/>
                  </a:lnTo>
                  <a:lnTo>
                    <a:pt x="2928" y="1134"/>
                  </a:lnTo>
                  <a:lnTo>
                    <a:pt x="2880" y="1107"/>
                  </a:lnTo>
                  <a:lnTo>
                    <a:pt x="2845" y="1086"/>
                  </a:lnTo>
                  <a:lnTo>
                    <a:pt x="2831" y="1079"/>
                  </a:lnTo>
                  <a:lnTo>
                    <a:pt x="2796" y="1051"/>
                  </a:lnTo>
                  <a:lnTo>
                    <a:pt x="2852" y="1009"/>
                  </a:lnTo>
                  <a:lnTo>
                    <a:pt x="2866" y="974"/>
                  </a:lnTo>
                  <a:lnTo>
                    <a:pt x="2859" y="954"/>
                  </a:lnTo>
                  <a:lnTo>
                    <a:pt x="2824" y="947"/>
                  </a:lnTo>
                  <a:lnTo>
                    <a:pt x="2747" y="870"/>
                  </a:lnTo>
                  <a:lnTo>
                    <a:pt x="2782" y="821"/>
                  </a:lnTo>
                  <a:lnTo>
                    <a:pt x="2810" y="821"/>
                  </a:lnTo>
                  <a:lnTo>
                    <a:pt x="2845" y="787"/>
                  </a:lnTo>
                  <a:lnTo>
                    <a:pt x="2831" y="780"/>
                  </a:lnTo>
                  <a:lnTo>
                    <a:pt x="2845" y="724"/>
                  </a:lnTo>
                  <a:lnTo>
                    <a:pt x="2824" y="710"/>
                  </a:lnTo>
                  <a:lnTo>
                    <a:pt x="2817" y="682"/>
                  </a:lnTo>
                  <a:lnTo>
                    <a:pt x="2810" y="655"/>
                  </a:lnTo>
                  <a:lnTo>
                    <a:pt x="2824" y="668"/>
                  </a:lnTo>
                  <a:lnTo>
                    <a:pt x="2831" y="648"/>
                  </a:lnTo>
                  <a:lnTo>
                    <a:pt x="2845" y="592"/>
                  </a:lnTo>
                  <a:lnTo>
                    <a:pt x="2866" y="578"/>
                  </a:lnTo>
                  <a:lnTo>
                    <a:pt x="2866" y="550"/>
                  </a:lnTo>
                  <a:lnTo>
                    <a:pt x="2928" y="571"/>
                  </a:lnTo>
                  <a:lnTo>
                    <a:pt x="2963" y="578"/>
                  </a:lnTo>
                  <a:lnTo>
                    <a:pt x="3012" y="557"/>
                  </a:lnTo>
                  <a:lnTo>
                    <a:pt x="3039" y="585"/>
                  </a:lnTo>
                  <a:lnTo>
                    <a:pt x="3095" y="571"/>
                  </a:lnTo>
                  <a:lnTo>
                    <a:pt x="3137" y="578"/>
                  </a:lnTo>
                  <a:lnTo>
                    <a:pt x="3186" y="550"/>
                  </a:lnTo>
                  <a:lnTo>
                    <a:pt x="3193" y="543"/>
                  </a:lnTo>
                  <a:lnTo>
                    <a:pt x="3206" y="481"/>
                  </a:lnTo>
                  <a:lnTo>
                    <a:pt x="3220" y="439"/>
                  </a:lnTo>
                  <a:lnTo>
                    <a:pt x="3220" y="425"/>
                  </a:lnTo>
                  <a:lnTo>
                    <a:pt x="3172" y="411"/>
                  </a:lnTo>
                  <a:lnTo>
                    <a:pt x="3172" y="418"/>
                  </a:lnTo>
                  <a:lnTo>
                    <a:pt x="3123" y="376"/>
                  </a:lnTo>
                  <a:lnTo>
                    <a:pt x="3123" y="348"/>
                  </a:lnTo>
                  <a:lnTo>
                    <a:pt x="3137" y="321"/>
                  </a:lnTo>
                  <a:lnTo>
                    <a:pt x="3095" y="286"/>
                  </a:lnTo>
                  <a:lnTo>
                    <a:pt x="3039" y="244"/>
                  </a:lnTo>
                  <a:lnTo>
                    <a:pt x="3019" y="216"/>
                  </a:lnTo>
                  <a:lnTo>
                    <a:pt x="2991" y="216"/>
                  </a:lnTo>
                  <a:lnTo>
                    <a:pt x="2963" y="258"/>
                  </a:lnTo>
                  <a:lnTo>
                    <a:pt x="2859" y="230"/>
                  </a:lnTo>
                  <a:lnTo>
                    <a:pt x="2866" y="279"/>
                  </a:lnTo>
                  <a:lnTo>
                    <a:pt x="2831" y="327"/>
                  </a:lnTo>
                  <a:lnTo>
                    <a:pt x="2852" y="348"/>
                  </a:lnTo>
                  <a:lnTo>
                    <a:pt x="2817" y="397"/>
                  </a:lnTo>
                  <a:lnTo>
                    <a:pt x="2789" y="418"/>
                  </a:lnTo>
                  <a:lnTo>
                    <a:pt x="2761" y="390"/>
                  </a:lnTo>
                  <a:lnTo>
                    <a:pt x="2720" y="446"/>
                  </a:lnTo>
                  <a:lnTo>
                    <a:pt x="2650" y="474"/>
                  </a:lnTo>
                  <a:lnTo>
                    <a:pt x="2615" y="460"/>
                  </a:lnTo>
                  <a:lnTo>
                    <a:pt x="2601" y="446"/>
                  </a:lnTo>
                  <a:lnTo>
                    <a:pt x="2587" y="446"/>
                  </a:lnTo>
                  <a:lnTo>
                    <a:pt x="2580" y="481"/>
                  </a:lnTo>
                  <a:lnTo>
                    <a:pt x="2469" y="481"/>
                  </a:lnTo>
                  <a:lnTo>
                    <a:pt x="2427" y="515"/>
                  </a:lnTo>
                  <a:lnTo>
                    <a:pt x="2372" y="488"/>
                  </a:lnTo>
                  <a:lnTo>
                    <a:pt x="2351" y="508"/>
                  </a:lnTo>
                  <a:lnTo>
                    <a:pt x="2372" y="606"/>
                  </a:lnTo>
                  <a:lnTo>
                    <a:pt x="2337" y="613"/>
                  </a:lnTo>
                  <a:lnTo>
                    <a:pt x="2323" y="620"/>
                  </a:lnTo>
                  <a:lnTo>
                    <a:pt x="2253" y="675"/>
                  </a:lnTo>
                  <a:lnTo>
                    <a:pt x="2198" y="675"/>
                  </a:lnTo>
                  <a:lnTo>
                    <a:pt x="2177" y="675"/>
                  </a:lnTo>
                  <a:lnTo>
                    <a:pt x="2177" y="717"/>
                  </a:lnTo>
                  <a:lnTo>
                    <a:pt x="2135" y="724"/>
                  </a:lnTo>
                  <a:lnTo>
                    <a:pt x="2128" y="724"/>
                  </a:lnTo>
                  <a:lnTo>
                    <a:pt x="2073" y="745"/>
                  </a:lnTo>
                  <a:lnTo>
                    <a:pt x="2128" y="807"/>
                  </a:lnTo>
                  <a:lnTo>
                    <a:pt x="2100" y="835"/>
                  </a:lnTo>
                  <a:lnTo>
                    <a:pt x="2073" y="821"/>
                  </a:lnTo>
                  <a:lnTo>
                    <a:pt x="2059" y="842"/>
                  </a:lnTo>
                  <a:lnTo>
                    <a:pt x="1996" y="877"/>
                  </a:lnTo>
                  <a:lnTo>
                    <a:pt x="1975" y="856"/>
                  </a:lnTo>
                  <a:lnTo>
                    <a:pt x="1961" y="815"/>
                  </a:lnTo>
                  <a:lnTo>
                    <a:pt x="1913" y="821"/>
                  </a:lnTo>
                  <a:lnTo>
                    <a:pt x="1926" y="849"/>
                  </a:lnTo>
                  <a:lnTo>
                    <a:pt x="1906" y="905"/>
                  </a:lnTo>
                  <a:lnTo>
                    <a:pt x="1913" y="933"/>
                  </a:lnTo>
                  <a:lnTo>
                    <a:pt x="1906" y="954"/>
                  </a:lnTo>
                  <a:lnTo>
                    <a:pt x="1899" y="954"/>
                  </a:lnTo>
                  <a:lnTo>
                    <a:pt x="1850" y="982"/>
                  </a:lnTo>
                  <a:lnTo>
                    <a:pt x="1809" y="1002"/>
                  </a:lnTo>
                  <a:lnTo>
                    <a:pt x="1768" y="1044"/>
                  </a:lnTo>
                  <a:lnTo>
                    <a:pt x="1760" y="1037"/>
                  </a:lnTo>
                  <a:lnTo>
                    <a:pt x="1747" y="982"/>
                  </a:lnTo>
                  <a:lnTo>
                    <a:pt x="1747" y="954"/>
                  </a:lnTo>
                  <a:lnTo>
                    <a:pt x="1712" y="967"/>
                  </a:lnTo>
                  <a:lnTo>
                    <a:pt x="1698" y="954"/>
                  </a:lnTo>
                  <a:lnTo>
                    <a:pt x="1670" y="974"/>
                  </a:lnTo>
                  <a:lnTo>
                    <a:pt x="1670" y="967"/>
                  </a:lnTo>
                  <a:lnTo>
                    <a:pt x="1635" y="967"/>
                  </a:lnTo>
                  <a:lnTo>
                    <a:pt x="1663" y="947"/>
                  </a:lnTo>
                  <a:lnTo>
                    <a:pt x="1670" y="905"/>
                  </a:lnTo>
                  <a:lnTo>
                    <a:pt x="1649" y="905"/>
                  </a:lnTo>
                  <a:lnTo>
                    <a:pt x="1587" y="912"/>
                  </a:lnTo>
                  <a:lnTo>
                    <a:pt x="1580" y="842"/>
                  </a:lnTo>
                  <a:lnTo>
                    <a:pt x="1607" y="835"/>
                  </a:lnTo>
                  <a:lnTo>
                    <a:pt x="1601" y="815"/>
                  </a:lnTo>
                  <a:lnTo>
                    <a:pt x="1580" y="807"/>
                  </a:lnTo>
                  <a:lnTo>
                    <a:pt x="1601" y="780"/>
                  </a:lnTo>
                  <a:lnTo>
                    <a:pt x="1587" y="759"/>
                  </a:lnTo>
                  <a:lnTo>
                    <a:pt x="1545" y="745"/>
                  </a:lnTo>
                  <a:lnTo>
                    <a:pt x="1545" y="759"/>
                  </a:lnTo>
                  <a:lnTo>
                    <a:pt x="1482" y="801"/>
                  </a:lnTo>
                  <a:lnTo>
                    <a:pt x="1454" y="759"/>
                  </a:lnTo>
                  <a:lnTo>
                    <a:pt x="1447" y="759"/>
                  </a:lnTo>
                  <a:lnTo>
                    <a:pt x="1406" y="773"/>
                  </a:lnTo>
                  <a:lnTo>
                    <a:pt x="1392" y="773"/>
                  </a:lnTo>
                  <a:lnTo>
                    <a:pt x="1378" y="752"/>
                  </a:lnTo>
                  <a:lnTo>
                    <a:pt x="1413" y="752"/>
                  </a:lnTo>
                  <a:lnTo>
                    <a:pt x="1392" y="738"/>
                  </a:lnTo>
                  <a:lnTo>
                    <a:pt x="1378" y="724"/>
                  </a:lnTo>
                  <a:lnTo>
                    <a:pt x="1357" y="717"/>
                  </a:lnTo>
                  <a:lnTo>
                    <a:pt x="1378" y="710"/>
                  </a:lnTo>
                  <a:lnTo>
                    <a:pt x="1357" y="689"/>
                  </a:lnTo>
                  <a:lnTo>
                    <a:pt x="1343" y="668"/>
                  </a:lnTo>
                  <a:lnTo>
                    <a:pt x="1357" y="648"/>
                  </a:lnTo>
                  <a:lnTo>
                    <a:pt x="1357" y="613"/>
                  </a:lnTo>
                  <a:lnTo>
                    <a:pt x="1343" y="613"/>
                  </a:lnTo>
                  <a:lnTo>
                    <a:pt x="1308" y="592"/>
                  </a:lnTo>
                  <a:lnTo>
                    <a:pt x="1287" y="557"/>
                  </a:lnTo>
                  <a:lnTo>
                    <a:pt x="1308" y="529"/>
                  </a:lnTo>
                  <a:lnTo>
                    <a:pt x="1294" y="508"/>
                  </a:lnTo>
                  <a:lnTo>
                    <a:pt x="1287" y="488"/>
                  </a:lnTo>
                  <a:lnTo>
                    <a:pt x="1294" y="474"/>
                  </a:lnTo>
                  <a:lnTo>
                    <a:pt x="1308" y="460"/>
                  </a:lnTo>
                  <a:lnTo>
                    <a:pt x="1274" y="446"/>
                  </a:lnTo>
                  <a:lnTo>
                    <a:pt x="1253" y="411"/>
                  </a:lnTo>
                  <a:lnTo>
                    <a:pt x="1225" y="383"/>
                  </a:lnTo>
                  <a:lnTo>
                    <a:pt x="1162" y="355"/>
                  </a:lnTo>
                  <a:lnTo>
                    <a:pt x="1141" y="397"/>
                  </a:lnTo>
                  <a:lnTo>
                    <a:pt x="1120" y="390"/>
                  </a:lnTo>
                  <a:lnTo>
                    <a:pt x="1114" y="411"/>
                  </a:lnTo>
                  <a:lnTo>
                    <a:pt x="1079" y="383"/>
                  </a:lnTo>
                  <a:lnTo>
                    <a:pt x="1065" y="390"/>
                  </a:lnTo>
                  <a:lnTo>
                    <a:pt x="1030" y="397"/>
                  </a:lnTo>
                  <a:lnTo>
                    <a:pt x="988" y="418"/>
                  </a:lnTo>
                  <a:lnTo>
                    <a:pt x="953" y="425"/>
                  </a:lnTo>
                  <a:lnTo>
                    <a:pt x="919" y="383"/>
                  </a:lnTo>
                  <a:lnTo>
                    <a:pt x="814" y="342"/>
                  </a:lnTo>
                  <a:lnTo>
                    <a:pt x="821" y="314"/>
                  </a:lnTo>
                  <a:lnTo>
                    <a:pt x="780" y="293"/>
                  </a:lnTo>
                  <a:lnTo>
                    <a:pt x="814" y="251"/>
                  </a:lnTo>
                  <a:lnTo>
                    <a:pt x="835" y="244"/>
                  </a:lnTo>
                  <a:lnTo>
                    <a:pt x="856" y="223"/>
                  </a:lnTo>
                  <a:lnTo>
                    <a:pt x="877" y="181"/>
                  </a:lnTo>
                  <a:lnTo>
                    <a:pt x="877" y="167"/>
                  </a:lnTo>
                  <a:lnTo>
                    <a:pt x="793" y="133"/>
                  </a:lnTo>
                  <a:lnTo>
                    <a:pt x="752" y="21"/>
                  </a:lnTo>
                  <a:lnTo>
                    <a:pt x="731" y="15"/>
                  </a:lnTo>
                  <a:lnTo>
                    <a:pt x="661" y="0"/>
                  </a:lnTo>
                  <a:lnTo>
                    <a:pt x="606" y="28"/>
                  </a:lnTo>
                  <a:lnTo>
                    <a:pt x="592" y="70"/>
                  </a:lnTo>
                  <a:lnTo>
                    <a:pt x="585" y="98"/>
                  </a:lnTo>
                  <a:lnTo>
                    <a:pt x="536" y="35"/>
                  </a:lnTo>
                  <a:lnTo>
                    <a:pt x="522" y="49"/>
                  </a:lnTo>
                  <a:lnTo>
                    <a:pt x="487" y="119"/>
                  </a:lnTo>
                  <a:lnTo>
                    <a:pt x="515" y="133"/>
                  </a:lnTo>
                  <a:lnTo>
                    <a:pt x="550" y="161"/>
                  </a:lnTo>
                  <a:lnTo>
                    <a:pt x="550" y="181"/>
                  </a:lnTo>
                  <a:lnTo>
                    <a:pt x="606" y="209"/>
                  </a:lnTo>
                  <a:lnTo>
                    <a:pt x="592" y="230"/>
                  </a:lnTo>
                  <a:lnTo>
                    <a:pt x="571" y="286"/>
                  </a:lnTo>
                  <a:lnTo>
                    <a:pt x="536" y="286"/>
                  </a:lnTo>
                  <a:lnTo>
                    <a:pt x="550" y="355"/>
                  </a:lnTo>
                  <a:lnTo>
                    <a:pt x="585" y="376"/>
                  </a:lnTo>
                  <a:lnTo>
                    <a:pt x="585" y="425"/>
                  </a:lnTo>
                  <a:lnTo>
                    <a:pt x="571" y="439"/>
                  </a:lnTo>
                  <a:lnTo>
                    <a:pt x="550" y="453"/>
                  </a:lnTo>
                  <a:lnTo>
                    <a:pt x="501" y="439"/>
                  </a:lnTo>
                  <a:lnTo>
                    <a:pt x="494" y="453"/>
                  </a:lnTo>
                  <a:lnTo>
                    <a:pt x="467" y="508"/>
                  </a:lnTo>
                  <a:lnTo>
                    <a:pt x="432" y="508"/>
                  </a:lnTo>
                  <a:lnTo>
                    <a:pt x="376" y="529"/>
                  </a:lnTo>
                  <a:lnTo>
                    <a:pt x="390" y="550"/>
                  </a:lnTo>
                  <a:lnTo>
                    <a:pt x="355" y="578"/>
                  </a:lnTo>
                  <a:lnTo>
                    <a:pt x="327" y="592"/>
                  </a:lnTo>
                  <a:lnTo>
                    <a:pt x="300" y="592"/>
                  </a:lnTo>
                  <a:lnTo>
                    <a:pt x="272" y="613"/>
                  </a:lnTo>
                  <a:lnTo>
                    <a:pt x="244" y="592"/>
                  </a:lnTo>
                  <a:lnTo>
                    <a:pt x="209" y="606"/>
                  </a:lnTo>
                  <a:lnTo>
                    <a:pt x="223" y="640"/>
                  </a:lnTo>
                  <a:lnTo>
                    <a:pt x="223" y="648"/>
                  </a:lnTo>
                  <a:lnTo>
                    <a:pt x="188" y="703"/>
                  </a:lnTo>
                  <a:lnTo>
                    <a:pt x="202" y="717"/>
                  </a:lnTo>
                  <a:lnTo>
                    <a:pt x="223" y="745"/>
                  </a:lnTo>
                  <a:lnTo>
                    <a:pt x="272" y="773"/>
                  </a:lnTo>
                  <a:lnTo>
                    <a:pt x="272" y="884"/>
                  </a:lnTo>
                  <a:lnTo>
                    <a:pt x="161" y="877"/>
                  </a:lnTo>
                  <a:lnTo>
                    <a:pt x="112" y="884"/>
                  </a:lnTo>
                  <a:lnTo>
                    <a:pt x="63" y="877"/>
                  </a:lnTo>
                  <a:lnTo>
                    <a:pt x="49" y="912"/>
                  </a:lnTo>
                  <a:lnTo>
                    <a:pt x="7" y="954"/>
                  </a:lnTo>
                  <a:lnTo>
                    <a:pt x="0" y="1009"/>
                  </a:lnTo>
                  <a:lnTo>
                    <a:pt x="202" y="1128"/>
                  </a:lnTo>
                  <a:lnTo>
                    <a:pt x="300" y="1197"/>
                  </a:lnTo>
                  <a:lnTo>
                    <a:pt x="397" y="1315"/>
                  </a:lnTo>
                  <a:lnTo>
                    <a:pt x="432" y="1399"/>
                  </a:lnTo>
                  <a:lnTo>
                    <a:pt x="473" y="1461"/>
                  </a:lnTo>
                  <a:lnTo>
                    <a:pt x="467" y="1496"/>
                  </a:lnTo>
                  <a:lnTo>
                    <a:pt x="536" y="1607"/>
                  </a:lnTo>
                  <a:lnTo>
                    <a:pt x="599" y="1705"/>
                  </a:lnTo>
                  <a:lnTo>
                    <a:pt x="599" y="1719"/>
                  </a:lnTo>
                  <a:lnTo>
                    <a:pt x="647" y="1774"/>
                  </a:lnTo>
                  <a:lnTo>
                    <a:pt x="766" y="1754"/>
                  </a:lnTo>
                  <a:lnTo>
                    <a:pt x="849" y="1809"/>
                  </a:lnTo>
                  <a:lnTo>
                    <a:pt x="877" y="1851"/>
                  </a:lnTo>
                  <a:lnTo>
                    <a:pt x="919" y="1858"/>
                  </a:lnTo>
                  <a:lnTo>
                    <a:pt x="961" y="1893"/>
                  </a:lnTo>
                  <a:lnTo>
                    <a:pt x="981" y="1934"/>
                  </a:lnTo>
                  <a:lnTo>
                    <a:pt x="1009" y="1948"/>
                  </a:lnTo>
                  <a:lnTo>
                    <a:pt x="1114" y="2004"/>
                  </a:lnTo>
                  <a:lnTo>
                    <a:pt x="1141" y="2025"/>
                  </a:lnTo>
                  <a:lnTo>
                    <a:pt x="1162" y="2067"/>
                  </a:lnTo>
                  <a:lnTo>
                    <a:pt x="1204" y="2122"/>
                  </a:lnTo>
                  <a:lnTo>
                    <a:pt x="1246" y="2227"/>
                  </a:lnTo>
                  <a:lnTo>
                    <a:pt x="1274" y="2317"/>
                  </a:lnTo>
                  <a:lnTo>
                    <a:pt x="1260" y="2345"/>
                  </a:lnTo>
                  <a:lnTo>
                    <a:pt x="1280" y="2394"/>
                  </a:lnTo>
                  <a:lnTo>
                    <a:pt x="1274" y="2394"/>
                  </a:lnTo>
                  <a:lnTo>
                    <a:pt x="1287" y="2408"/>
                  </a:lnTo>
                  <a:lnTo>
                    <a:pt x="1308" y="2414"/>
                  </a:lnTo>
                  <a:lnTo>
                    <a:pt x="1378" y="2442"/>
                  </a:lnTo>
                  <a:lnTo>
                    <a:pt x="1441" y="2477"/>
                  </a:lnTo>
                  <a:lnTo>
                    <a:pt x="1510" y="2519"/>
                  </a:lnTo>
                  <a:lnTo>
                    <a:pt x="1587" y="2588"/>
                  </a:lnTo>
                  <a:lnTo>
                    <a:pt x="1705" y="2721"/>
                  </a:lnTo>
                  <a:lnTo>
                    <a:pt x="1809" y="2867"/>
                  </a:lnTo>
                  <a:lnTo>
                    <a:pt x="1933" y="3054"/>
                  </a:lnTo>
                  <a:lnTo>
                    <a:pt x="1940" y="3054"/>
                  </a:lnTo>
                  <a:lnTo>
                    <a:pt x="1947" y="3041"/>
                  </a:lnTo>
                  <a:lnTo>
                    <a:pt x="2010" y="3033"/>
                  </a:lnTo>
                  <a:lnTo>
                    <a:pt x="2163" y="3138"/>
                  </a:lnTo>
                  <a:lnTo>
                    <a:pt x="2177" y="3117"/>
                  </a:lnTo>
                  <a:lnTo>
                    <a:pt x="2309" y="3131"/>
                  </a:lnTo>
                  <a:lnTo>
                    <a:pt x="2407" y="3187"/>
                  </a:lnTo>
                  <a:lnTo>
                    <a:pt x="2518" y="3298"/>
                  </a:lnTo>
                  <a:lnTo>
                    <a:pt x="2601" y="3492"/>
                  </a:lnTo>
                  <a:lnTo>
                    <a:pt x="2629" y="3533"/>
                  </a:lnTo>
                  <a:lnTo>
                    <a:pt x="2699" y="3540"/>
                  </a:lnTo>
                  <a:lnTo>
                    <a:pt x="2775" y="3464"/>
                  </a:lnTo>
                  <a:lnTo>
                    <a:pt x="2886" y="3408"/>
                  </a:lnTo>
                  <a:lnTo>
                    <a:pt x="2977" y="3401"/>
                  </a:lnTo>
                  <a:lnTo>
                    <a:pt x="3012" y="3375"/>
                  </a:lnTo>
                  <a:lnTo>
                    <a:pt x="3172" y="3408"/>
                  </a:lnTo>
                  <a:lnTo>
                    <a:pt x="3214" y="3436"/>
                  </a:lnTo>
                  <a:lnTo>
                    <a:pt x="3325" y="3506"/>
                  </a:lnTo>
                  <a:lnTo>
                    <a:pt x="3346" y="3506"/>
                  </a:lnTo>
                  <a:lnTo>
                    <a:pt x="3380" y="3533"/>
                  </a:lnTo>
                  <a:lnTo>
                    <a:pt x="3387" y="3540"/>
                  </a:lnTo>
                  <a:lnTo>
                    <a:pt x="3443" y="3561"/>
                  </a:lnTo>
                  <a:lnTo>
                    <a:pt x="3485" y="3575"/>
                  </a:lnTo>
                  <a:lnTo>
                    <a:pt x="3520" y="3575"/>
                  </a:lnTo>
                  <a:lnTo>
                    <a:pt x="3485" y="3533"/>
                  </a:lnTo>
                  <a:lnTo>
                    <a:pt x="3506" y="3492"/>
                  </a:lnTo>
                  <a:lnTo>
                    <a:pt x="3582" y="3457"/>
                  </a:lnTo>
                  <a:lnTo>
                    <a:pt x="3679" y="3492"/>
                  </a:lnTo>
                  <a:lnTo>
                    <a:pt x="3714" y="3471"/>
                  </a:lnTo>
                  <a:lnTo>
                    <a:pt x="3805" y="3540"/>
                  </a:lnTo>
                  <a:lnTo>
                    <a:pt x="3826" y="3499"/>
                  </a:lnTo>
                  <a:lnTo>
                    <a:pt x="3874" y="3492"/>
                  </a:lnTo>
                  <a:lnTo>
                    <a:pt x="3902" y="3492"/>
                  </a:lnTo>
                  <a:lnTo>
                    <a:pt x="3923" y="3471"/>
                  </a:lnTo>
                  <a:lnTo>
                    <a:pt x="3923" y="3457"/>
                  </a:lnTo>
                  <a:lnTo>
                    <a:pt x="3937" y="3457"/>
                  </a:lnTo>
                  <a:lnTo>
                    <a:pt x="3909" y="3436"/>
                  </a:lnTo>
                  <a:lnTo>
                    <a:pt x="3909" y="3408"/>
                  </a:lnTo>
                  <a:lnTo>
                    <a:pt x="3958" y="3394"/>
                  </a:lnTo>
                  <a:lnTo>
                    <a:pt x="3972" y="3394"/>
                  </a:lnTo>
                  <a:lnTo>
                    <a:pt x="4020" y="3375"/>
                  </a:lnTo>
                  <a:lnTo>
                    <a:pt x="4020" y="3333"/>
                  </a:lnTo>
                  <a:lnTo>
                    <a:pt x="3993" y="3284"/>
                  </a:lnTo>
                </a:path>
              </a:pathLst>
            </a:custGeom>
            <a:grpFill/>
            <a:ln w="9525" cap="flat" cmpd="sng">
              <a:solidFill>
                <a:schemeClr val="bg1"/>
              </a:solid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68" name="Freeform 65">
              <a:extLst>
                <a:ext uri="{FF2B5EF4-FFF2-40B4-BE49-F238E27FC236}">
                  <a16:creationId xmlns:a16="http://schemas.microsoft.com/office/drawing/2014/main" id="{B8565011-19CF-4EDD-A0B0-E101F080FF8B}"/>
                </a:ext>
              </a:extLst>
            </p:cNvPr>
            <p:cNvSpPr>
              <a:spLocks noChangeArrowheads="1"/>
            </p:cNvSpPr>
            <p:nvPr/>
          </p:nvSpPr>
          <p:spPr bwMode="auto">
            <a:xfrm>
              <a:off x="17553844" y="7869456"/>
              <a:ext cx="14497" cy="6213"/>
            </a:xfrm>
            <a:custGeom>
              <a:avLst/>
              <a:gdLst>
                <a:gd name="T0" fmla="*/ 28 w 29"/>
                <a:gd name="T1" fmla="*/ 14 h 15"/>
                <a:gd name="T2" fmla="*/ 0 w 29"/>
                <a:gd name="T3" fmla="*/ 7 h 15"/>
                <a:gd name="T4" fmla="*/ 14 w 29"/>
                <a:gd name="T5" fmla="*/ 0 h 15"/>
                <a:gd name="T6" fmla="*/ 28 w 29"/>
                <a:gd name="T7" fmla="*/ 0 h 15"/>
                <a:gd name="T8" fmla="*/ 28 w 29"/>
                <a:gd name="T9" fmla="*/ 14 h 15"/>
              </a:gdLst>
              <a:ahLst/>
              <a:cxnLst>
                <a:cxn ang="0">
                  <a:pos x="T0" y="T1"/>
                </a:cxn>
                <a:cxn ang="0">
                  <a:pos x="T2" y="T3"/>
                </a:cxn>
                <a:cxn ang="0">
                  <a:pos x="T4" y="T5"/>
                </a:cxn>
                <a:cxn ang="0">
                  <a:pos x="T6" y="T7"/>
                </a:cxn>
                <a:cxn ang="0">
                  <a:pos x="T8" y="T9"/>
                </a:cxn>
              </a:cxnLst>
              <a:rect l="0" t="0" r="r" b="b"/>
              <a:pathLst>
                <a:path w="29" h="15">
                  <a:moveTo>
                    <a:pt x="28" y="14"/>
                  </a:moveTo>
                  <a:lnTo>
                    <a:pt x="0" y="7"/>
                  </a:lnTo>
                  <a:lnTo>
                    <a:pt x="14" y="0"/>
                  </a:lnTo>
                  <a:lnTo>
                    <a:pt x="28" y="0"/>
                  </a:lnTo>
                  <a:lnTo>
                    <a:pt x="28" y="14"/>
                  </a:lnTo>
                </a:path>
              </a:pathLst>
            </a:custGeom>
            <a:grpFill/>
            <a:ln w="9525" cap="flat" cmpd="sng">
              <a:solidFill>
                <a:schemeClr val="bg1"/>
              </a:solid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69" name="Freeform 66">
              <a:extLst>
                <a:ext uri="{FF2B5EF4-FFF2-40B4-BE49-F238E27FC236}">
                  <a16:creationId xmlns:a16="http://schemas.microsoft.com/office/drawing/2014/main" id="{BA38F3CE-C1C7-41DB-818A-AEB4D7665B0A}"/>
                </a:ext>
              </a:extLst>
            </p:cNvPr>
            <p:cNvSpPr>
              <a:spLocks noChangeArrowheads="1"/>
            </p:cNvSpPr>
            <p:nvPr/>
          </p:nvSpPr>
          <p:spPr bwMode="auto">
            <a:xfrm>
              <a:off x="17713319" y="8024798"/>
              <a:ext cx="10356" cy="16570"/>
            </a:xfrm>
            <a:custGeom>
              <a:avLst/>
              <a:gdLst>
                <a:gd name="T0" fmla="*/ 14 w 22"/>
                <a:gd name="T1" fmla="*/ 27 h 35"/>
                <a:gd name="T2" fmla="*/ 14 w 22"/>
                <a:gd name="T3" fmla="*/ 34 h 35"/>
                <a:gd name="T4" fmla="*/ 21 w 22"/>
                <a:gd name="T5" fmla="*/ 34 h 35"/>
                <a:gd name="T6" fmla="*/ 21 w 22"/>
                <a:gd name="T7" fmla="*/ 27 h 35"/>
                <a:gd name="T8" fmla="*/ 14 w 22"/>
                <a:gd name="T9" fmla="*/ 27 h 35"/>
                <a:gd name="T10" fmla="*/ 0 w 22"/>
                <a:gd name="T11" fmla="*/ 21 h 35"/>
                <a:gd name="T12" fmla="*/ 0 w 22"/>
                <a:gd name="T13" fmla="*/ 7 h 35"/>
                <a:gd name="T14" fmla="*/ 0 w 22"/>
                <a:gd name="T15" fmla="*/ 0 h 35"/>
                <a:gd name="T16" fmla="*/ 0 w 22"/>
                <a:gd name="T17" fmla="*/ 7 h 35"/>
                <a:gd name="T18" fmla="*/ 0 w 22"/>
                <a:gd name="T19" fmla="*/ 21 h 35"/>
                <a:gd name="T20" fmla="*/ 0 w 22"/>
                <a:gd name="T21" fmla="*/ 27 h 35"/>
                <a:gd name="T22" fmla="*/ 14 w 22"/>
                <a:gd name="T23" fmla="*/ 2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5">
                  <a:moveTo>
                    <a:pt x="14" y="27"/>
                  </a:moveTo>
                  <a:lnTo>
                    <a:pt x="14" y="34"/>
                  </a:lnTo>
                  <a:lnTo>
                    <a:pt x="21" y="34"/>
                  </a:lnTo>
                  <a:lnTo>
                    <a:pt x="21" y="27"/>
                  </a:lnTo>
                  <a:lnTo>
                    <a:pt x="14" y="27"/>
                  </a:lnTo>
                  <a:lnTo>
                    <a:pt x="0" y="21"/>
                  </a:lnTo>
                  <a:lnTo>
                    <a:pt x="0" y="7"/>
                  </a:lnTo>
                  <a:lnTo>
                    <a:pt x="0" y="0"/>
                  </a:lnTo>
                  <a:lnTo>
                    <a:pt x="0" y="7"/>
                  </a:lnTo>
                  <a:lnTo>
                    <a:pt x="0" y="21"/>
                  </a:lnTo>
                  <a:lnTo>
                    <a:pt x="0" y="27"/>
                  </a:lnTo>
                  <a:lnTo>
                    <a:pt x="14" y="27"/>
                  </a:lnTo>
                </a:path>
              </a:pathLst>
            </a:custGeom>
            <a:grpFill/>
            <a:ln w="9525" cap="flat" cmpd="sng">
              <a:solidFill>
                <a:schemeClr val="bg1"/>
              </a:solid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70" name="Freeform 67">
              <a:extLst>
                <a:ext uri="{FF2B5EF4-FFF2-40B4-BE49-F238E27FC236}">
                  <a16:creationId xmlns:a16="http://schemas.microsoft.com/office/drawing/2014/main" id="{D262C0D9-0D6B-4FB6-99DA-95A6C1C459F5}"/>
                </a:ext>
              </a:extLst>
            </p:cNvPr>
            <p:cNvSpPr>
              <a:spLocks noChangeArrowheads="1"/>
            </p:cNvSpPr>
            <p:nvPr/>
          </p:nvSpPr>
          <p:spPr bwMode="auto">
            <a:xfrm>
              <a:off x="17941141" y="8861581"/>
              <a:ext cx="39352" cy="60067"/>
            </a:xfrm>
            <a:custGeom>
              <a:avLst/>
              <a:gdLst>
                <a:gd name="T0" fmla="*/ 28 w 85"/>
                <a:gd name="T1" fmla="*/ 91 h 127"/>
                <a:gd name="T2" fmla="*/ 35 w 85"/>
                <a:gd name="T3" fmla="*/ 91 h 127"/>
                <a:gd name="T4" fmla="*/ 7 w 85"/>
                <a:gd name="T5" fmla="*/ 126 h 127"/>
                <a:gd name="T6" fmla="*/ 7 w 85"/>
                <a:gd name="T7" fmla="*/ 112 h 127"/>
                <a:gd name="T8" fmla="*/ 7 w 85"/>
                <a:gd name="T9" fmla="*/ 91 h 127"/>
                <a:gd name="T10" fmla="*/ 0 w 85"/>
                <a:gd name="T11" fmla="*/ 77 h 127"/>
                <a:gd name="T12" fmla="*/ 7 w 85"/>
                <a:gd name="T13" fmla="*/ 35 h 127"/>
                <a:gd name="T14" fmla="*/ 35 w 85"/>
                <a:gd name="T15" fmla="*/ 28 h 127"/>
                <a:gd name="T16" fmla="*/ 35 w 85"/>
                <a:gd name="T17" fmla="*/ 14 h 127"/>
                <a:gd name="T18" fmla="*/ 70 w 85"/>
                <a:gd name="T19" fmla="*/ 0 h 127"/>
                <a:gd name="T20" fmla="*/ 84 w 85"/>
                <a:gd name="T21" fmla="*/ 14 h 127"/>
                <a:gd name="T22" fmla="*/ 35 w 85"/>
                <a:gd name="T23" fmla="*/ 35 h 127"/>
                <a:gd name="T24" fmla="*/ 28 w 85"/>
                <a:gd name="T25" fmla="*/ 91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27">
                  <a:moveTo>
                    <a:pt x="28" y="91"/>
                  </a:moveTo>
                  <a:lnTo>
                    <a:pt x="35" y="91"/>
                  </a:lnTo>
                  <a:lnTo>
                    <a:pt x="7" y="126"/>
                  </a:lnTo>
                  <a:lnTo>
                    <a:pt x="7" y="112"/>
                  </a:lnTo>
                  <a:lnTo>
                    <a:pt x="7" y="91"/>
                  </a:lnTo>
                  <a:lnTo>
                    <a:pt x="0" y="77"/>
                  </a:lnTo>
                  <a:lnTo>
                    <a:pt x="7" y="35"/>
                  </a:lnTo>
                  <a:lnTo>
                    <a:pt x="35" y="28"/>
                  </a:lnTo>
                  <a:lnTo>
                    <a:pt x="35" y="14"/>
                  </a:lnTo>
                  <a:lnTo>
                    <a:pt x="70" y="0"/>
                  </a:lnTo>
                  <a:lnTo>
                    <a:pt x="84" y="14"/>
                  </a:lnTo>
                  <a:lnTo>
                    <a:pt x="35" y="35"/>
                  </a:lnTo>
                  <a:lnTo>
                    <a:pt x="28" y="91"/>
                  </a:lnTo>
                </a:path>
              </a:pathLst>
            </a:custGeom>
            <a:grpFill/>
            <a:ln w="9525" cap="flat" cmpd="sng">
              <a:solidFill>
                <a:schemeClr val="bg1"/>
              </a:solid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71" name="Freeform 68">
              <a:extLst>
                <a:ext uri="{FF2B5EF4-FFF2-40B4-BE49-F238E27FC236}">
                  <a16:creationId xmlns:a16="http://schemas.microsoft.com/office/drawing/2014/main" id="{89B4F755-7C85-4EF4-A5FA-1D7B2B88A1BD}"/>
                </a:ext>
              </a:extLst>
            </p:cNvPr>
            <p:cNvSpPr>
              <a:spLocks noChangeArrowheads="1"/>
            </p:cNvSpPr>
            <p:nvPr/>
          </p:nvSpPr>
          <p:spPr bwMode="auto">
            <a:xfrm>
              <a:off x="17866581" y="8851227"/>
              <a:ext cx="10356" cy="20712"/>
            </a:xfrm>
            <a:custGeom>
              <a:avLst/>
              <a:gdLst>
                <a:gd name="T0" fmla="*/ 21 w 22"/>
                <a:gd name="T1" fmla="*/ 0 h 42"/>
                <a:gd name="T2" fmla="*/ 21 w 22"/>
                <a:gd name="T3" fmla="*/ 7 h 42"/>
                <a:gd name="T4" fmla="*/ 7 w 22"/>
                <a:gd name="T5" fmla="*/ 41 h 42"/>
                <a:gd name="T6" fmla="*/ 0 w 22"/>
                <a:gd name="T7" fmla="*/ 34 h 42"/>
                <a:gd name="T8" fmla="*/ 21 w 22"/>
                <a:gd name="T9" fmla="*/ 0 h 42"/>
              </a:gdLst>
              <a:ahLst/>
              <a:cxnLst>
                <a:cxn ang="0">
                  <a:pos x="T0" y="T1"/>
                </a:cxn>
                <a:cxn ang="0">
                  <a:pos x="T2" y="T3"/>
                </a:cxn>
                <a:cxn ang="0">
                  <a:pos x="T4" y="T5"/>
                </a:cxn>
                <a:cxn ang="0">
                  <a:pos x="T6" y="T7"/>
                </a:cxn>
                <a:cxn ang="0">
                  <a:pos x="T8" y="T9"/>
                </a:cxn>
              </a:cxnLst>
              <a:rect l="0" t="0" r="r" b="b"/>
              <a:pathLst>
                <a:path w="22" h="42">
                  <a:moveTo>
                    <a:pt x="21" y="0"/>
                  </a:moveTo>
                  <a:lnTo>
                    <a:pt x="21" y="7"/>
                  </a:lnTo>
                  <a:lnTo>
                    <a:pt x="7" y="41"/>
                  </a:lnTo>
                  <a:lnTo>
                    <a:pt x="0" y="34"/>
                  </a:lnTo>
                  <a:lnTo>
                    <a:pt x="21" y="0"/>
                  </a:lnTo>
                </a:path>
              </a:pathLst>
            </a:custGeom>
            <a:grpFill/>
            <a:ln w="9525" cap="flat" cmpd="sng">
              <a:solidFill>
                <a:schemeClr val="bg1"/>
              </a:solid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72" name="Freeform 69">
              <a:extLst>
                <a:ext uri="{FF2B5EF4-FFF2-40B4-BE49-F238E27FC236}">
                  <a16:creationId xmlns:a16="http://schemas.microsoft.com/office/drawing/2014/main" id="{F6891985-C81B-4D85-90F2-D03306033FC0}"/>
                </a:ext>
              </a:extLst>
            </p:cNvPr>
            <p:cNvSpPr>
              <a:spLocks noChangeArrowheads="1"/>
            </p:cNvSpPr>
            <p:nvPr/>
          </p:nvSpPr>
          <p:spPr bwMode="auto">
            <a:xfrm>
              <a:off x="18019844" y="8826371"/>
              <a:ext cx="14498" cy="6213"/>
            </a:xfrm>
            <a:custGeom>
              <a:avLst/>
              <a:gdLst>
                <a:gd name="T0" fmla="*/ 21 w 29"/>
                <a:gd name="T1" fmla="*/ 14 h 15"/>
                <a:gd name="T2" fmla="*/ 28 w 29"/>
                <a:gd name="T3" fmla="*/ 0 h 15"/>
                <a:gd name="T4" fmla="*/ 0 w 29"/>
                <a:gd name="T5" fmla="*/ 0 h 15"/>
                <a:gd name="T6" fmla="*/ 21 w 29"/>
                <a:gd name="T7" fmla="*/ 14 h 15"/>
              </a:gdLst>
              <a:ahLst/>
              <a:cxnLst>
                <a:cxn ang="0">
                  <a:pos x="T0" y="T1"/>
                </a:cxn>
                <a:cxn ang="0">
                  <a:pos x="T2" y="T3"/>
                </a:cxn>
                <a:cxn ang="0">
                  <a:pos x="T4" y="T5"/>
                </a:cxn>
                <a:cxn ang="0">
                  <a:pos x="T6" y="T7"/>
                </a:cxn>
              </a:cxnLst>
              <a:rect l="0" t="0" r="r" b="b"/>
              <a:pathLst>
                <a:path w="29" h="15">
                  <a:moveTo>
                    <a:pt x="21" y="14"/>
                  </a:moveTo>
                  <a:lnTo>
                    <a:pt x="28" y="0"/>
                  </a:lnTo>
                  <a:lnTo>
                    <a:pt x="0" y="0"/>
                  </a:lnTo>
                  <a:lnTo>
                    <a:pt x="21" y="14"/>
                  </a:lnTo>
                </a:path>
              </a:pathLst>
            </a:custGeom>
            <a:grpFill/>
            <a:ln w="9525" cap="flat" cmpd="sng">
              <a:solidFill>
                <a:schemeClr val="bg1"/>
              </a:solid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73" name="Freeform 70">
              <a:extLst>
                <a:ext uri="{FF2B5EF4-FFF2-40B4-BE49-F238E27FC236}">
                  <a16:creationId xmlns:a16="http://schemas.microsoft.com/office/drawing/2014/main" id="{7339E164-2455-4A39-B3B5-A4EA8E54E222}"/>
                </a:ext>
              </a:extLst>
            </p:cNvPr>
            <p:cNvSpPr>
              <a:spLocks noChangeArrowheads="1"/>
            </p:cNvSpPr>
            <p:nvPr/>
          </p:nvSpPr>
          <p:spPr bwMode="auto">
            <a:xfrm>
              <a:off x="17984636" y="8861581"/>
              <a:ext cx="4142" cy="2072"/>
            </a:xfrm>
            <a:custGeom>
              <a:avLst/>
              <a:gdLst>
                <a:gd name="T0" fmla="*/ 0 w 7"/>
                <a:gd name="T1" fmla="*/ 0 h 1"/>
                <a:gd name="T2" fmla="*/ 6 w 7"/>
                <a:gd name="T3" fmla="*/ 0 h 1"/>
                <a:gd name="T4" fmla="*/ 0 w 7"/>
                <a:gd name="T5" fmla="*/ 0 h 1"/>
              </a:gdLst>
              <a:ahLst/>
              <a:cxnLst>
                <a:cxn ang="0">
                  <a:pos x="T0" y="T1"/>
                </a:cxn>
                <a:cxn ang="0">
                  <a:pos x="T2" y="T3"/>
                </a:cxn>
                <a:cxn ang="0">
                  <a:pos x="T4" y="T5"/>
                </a:cxn>
              </a:cxnLst>
              <a:rect l="0" t="0" r="r" b="b"/>
              <a:pathLst>
                <a:path w="7" h="1">
                  <a:moveTo>
                    <a:pt x="0" y="0"/>
                  </a:moveTo>
                  <a:lnTo>
                    <a:pt x="6" y="0"/>
                  </a:lnTo>
                  <a:lnTo>
                    <a:pt x="0" y="0"/>
                  </a:lnTo>
                </a:path>
              </a:pathLst>
            </a:custGeom>
            <a:grpFill/>
            <a:ln w="9525" cap="flat" cmpd="sng">
              <a:solidFill>
                <a:schemeClr val="bg1"/>
              </a:solid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74" name="Freeform 71">
              <a:extLst>
                <a:ext uri="{FF2B5EF4-FFF2-40B4-BE49-F238E27FC236}">
                  <a16:creationId xmlns:a16="http://schemas.microsoft.com/office/drawing/2014/main" id="{E97F052F-1148-47A8-9C3D-1D7DEAAE7779}"/>
                </a:ext>
              </a:extLst>
            </p:cNvPr>
            <p:cNvSpPr>
              <a:spLocks noChangeArrowheads="1"/>
            </p:cNvSpPr>
            <p:nvPr/>
          </p:nvSpPr>
          <p:spPr bwMode="auto">
            <a:xfrm>
              <a:off x="17125123" y="6104756"/>
              <a:ext cx="1062480" cy="1290385"/>
            </a:xfrm>
            <a:custGeom>
              <a:avLst/>
              <a:gdLst>
                <a:gd name="T0" fmla="*/ 0 w 2261"/>
                <a:gd name="T1" fmla="*/ 1698 h 2749"/>
                <a:gd name="T2" fmla="*/ 153 w 2261"/>
                <a:gd name="T3" fmla="*/ 1885 h 2749"/>
                <a:gd name="T4" fmla="*/ 97 w 2261"/>
                <a:gd name="T5" fmla="*/ 2018 h 2749"/>
                <a:gd name="T6" fmla="*/ 306 w 2261"/>
                <a:gd name="T7" fmla="*/ 2101 h 2749"/>
                <a:gd name="T8" fmla="*/ 417 w 2261"/>
                <a:gd name="T9" fmla="*/ 2101 h 2749"/>
                <a:gd name="T10" fmla="*/ 584 w 2261"/>
                <a:gd name="T11" fmla="*/ 2164 h 2749"/>
                <a:gd name="T12" fmla="*/ 563 w 2261"/>
                <a:gd name="T13" fmla="*/ 2261 h 2749"/>
                <a:gd name="T14" fmla="*/ 619 w 2261"/>
                <a:gd name="T15" fmla="*/ 2372 h 2749"/>
                <a:gd name="T16" fmla="*/ 668 w 2261"/>
                <a:gd name="T17" fmla="*/ 2442 h 2749"/>
                <a:gd name="T18" fmla="*/ 723 w 2261"/>
                <a:gd name="T19" fmla="*/ 2463 h 2749"/>
                <a:gd name="T20" fmla="*/ 863 w 2261"/>
                <a:gd name="T21" fmla="*/ 2463 h 2749"/>
                <a:gd name="T22" fmla="*/ 856 w 2261"/>
                <a:gd name="T23" fmla="*/ 2546 h 2749"/>
                <a:gd name="T24" fmla="*/ 911 w 2261"/>
                <a:gd name="T25" fmla="*/ 2671 h 2749"/>
                <a:gd name="T26" fmla="*/ 1023 w 2261"/>
                <a:gd name="T27" fmla="*/ 2658 h 2749"/>
                <a:gd name="T28" fmla="*/ 1126 w 2261"/>
                <a:gd name="T29" fmla="*/ 2686 h 2749"/>
                <a:gd name="T30" fmla="*/ 1202 w 2261"/>
                <a:gd name="T31" fmla="*/ 2553 h 2749"/>
                <a:gd name="T32" fmla="*/ 1335 w 2261"/>
                <a:gd name="T33" fmla="*/ 2546 h 2749"/>
                <a:gd name="T34" fmla="*/ 1404 w 2261"/>
                <a:gd name="T35" fmla="*/ 2428 h 2749"/>
                <a:gd name="T36" fmla="*/ 1529 w 2261"/>
                <a:gd name="T37" fmla="*/ 2379 h 2749"/>
                <a:gd name="T38" fmla="*/ 1648 w 2261"/>
                <a:gd name="T39" fmla="*/ 2192 h 2749"/>
                <a:gd name="T40" fmla="*/ 1877 w 2261"/>
                <a:gd name="T41" fmla="*/ 2150 h 2749"/>
                <a:gd name="T42" fmla="*/ 2065 w 2261"/>
                <a:gd name="T43" fmla="*/ 2122 h 2749"/>
                <a:gd name="T44" fmla="*/ 2135 w 2261"/>
                <a:gd name="T45" fmla="*/ 1934 h 2749"/>
                <a:gd name="T46" fmla="*/ 2218 w 2261"/>
                <a:gd name="T47" fmla="*/ 1871 h 2749"/>
                <a:gd name="T48" fmla="*/ 2260 w 2261"/>
                <a:gd name="T49" fmla="*/ 1760 h 2749"/>
                <a:gd name="T50" fmla="*/ 2093 w 2261"/>
                <a:gd name="T51" fmla="*/ 1725 h 2749"/>
                <a:gd name="T52" fmla="*/ 1912 w 2261"/>
                <a:gd name="T53" fmla="*/ 1531 h 2749"/>
                <a:gd name="T54" fmla="*/ 1829 w 2261"/>
                <a:gd name="T55" fmla="*/ 1572 h 2749"/>
                <a:gd name="T56" fmla="*/ 1794 w 2261"/>
                <a:gd name="T57" fmla="*/ 1510 h 2749"/>
                <a:gd name="T58" fmla="*/ 1648 w 2261"/>
                <a:gd name="T59" fmla="*/ 1433 h 2749"/>
                <a:gd name="T60" fmla="*/ 1662 w 2261"/>
                <a:gd name="T61" fmla="*/ 1259 h 2749"/>
                <a:gd name="T62" fmla="*/ 1599 w 2261"/>
                <a:gd name="T63" fmla="*/ 1079 h 2749"/>
                <a:gd name="T64" fmla="*/ 1606 w 2261"/>
                <a:gd name="T65" fmla="*/ 884 h 2749"/>
                <a:gd name="T66" fmla="*/ 1536 w 2261"/>
                <a:gd name="T67" fmla="*/ 766 h 2749"/>
                <a:gd name="T68" fmla="*/ 1467 w 2261"/>
                <a:gd name="T69" fmla="*/ 605 h 2749"/>
                <a:gd name="T70" fmla="*/ 1418 w 2261"/>
                <a:gd name="T71" fmla="*/ 508 h 2749"/>
                <a:gd name="T72" fmla="*/ 1453 w 2261"/>
                <a:gd name="T73" fmla="*/ 397 h 2749"/>
                <a:gd name="T74" fmla="*/ 1369 w 2261"/>
                <a:gd name="T75" fmla="*/ 355 h 2749"/>
                <a:gd name="T76" fmla="*/ 1202 w 2261"/>
                <a:gd name="T77" fmla="*/ 439 h 2749"/>
                <a:gd name="T78" fmla="*/ 1009 w 2261"/>
                <a:gd name="T79" fmla="*/ 216 h 2749"/>
                <a:gd name="T80" fmla="*/ 883 w 2261"/>
                <a:gd name="T81" fmla="*/ 181 h 2749"/>
                <a:gd name="T82" fmla="*/ 786 w 2261"/>
                <a:gd name="T83" fmla="*/ 181 h 2749"/>
                <a:gd name="T84" fmla="*/ 751 w 2261"/>
                <a:gd name="T85" fmla="*/ 146 h 2749"/>
                <a:gd name="T86" fmla="*/ 758 w 2261"/>
                <a:gd name="T87" fmla="*/ 21 h 2749"/>
                <a:gd name="T88" fmla="*/ 661 w 2261"/>
                <a:gd name="T89" fmla="*/ 77 h 2749"/>
                <a:gd name="T90" fmla="*/ 459 w 2261"/>
                <a:gd name="T91" fmla="*/ 112 h 2749"/>
                <a:gd name="T92" fmla="*/ 396 w 2261"/>
                <a:gd name="T93" fmla="*/ 285 h 2749"/>
                <a:gd name="T94" fmla="*/ 327 w 2261"/>
                <a:gd name="T95" fmla="*/ 390 h 2749"/>
                <a:gd name="T96" fmla="*/ 299 w 2261"/>
                <a:gd name="T97" fmla="*/ 473 h 2749"/>
                <a:gd name="T98" fmla="*/ 404 w 2261"/>
                <a:gd name="T99" fmla="*/ 710 h 2749"/>
                <a:gd name="T100" fmla="*/ 522 w 2261"/>
                <a:gd name="T101" fmla="*/ 738 h 2749"/>
                <a:gd name="T102" fmla="*/ 271 w 2261"/>
                <a:gd name="T103" fmla="*/ 807 h 2749"/>
                <a:gd name="T104" fmla="*/ 111 w 2261"/>
                <a:gd name="T105" fmla="*/ 981 h 2749"/>
                <a:gd name="T106" fmla="*/ 77 w 2261"/>
                <a:gd name="T107" fmla="*/ 1231 h 2749"/>
                <a:gd name="T108" fmla="*/ 97 w 2261"/>
                <a:gd name="T109" fmla="*/ 1398 h 2749"/>
                <a:gd name="T110" fmla="*/ 111 w 2261"/>
                <a:gd name="T111" fmla="*/ 1628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261" h="2749">
                  <a:moveTo>
                    <a:pt x="111" y="1628"/>
                  </a:moveTo>
                  <a:lnTo>
                    <a:pt x="111" y="1642"/>
                  </a:lnTo>
                  <a:lnTo>
                    <a:pt x="69" y="1635"/>
                  </a:lnTo>
                  <a:lnTo>
                    <a:pt x="21" y="1691"/>
                  </a:lnTo>
                  <a:lnTo>
                    <a:pt x="0" y="1698"/>
                  </a:lnTo>
                  <a:lnTo>
                    <a:pt x="7" y="1719"/>
                  </a:lnTo>
                  <a:lnTo>
                    <a:pt x="28" y="1725"/>
                  </a:lnTo>
                  <a:lnTo>
                    <a:pt x="69" y="1837"/>
                  </a:lnTo>
                  <a:lnTo>
                    <a:pt x="153" y="1871"/>
                  </a:lnTo>
                  <a:lnTo>
                    <a:pt x="153" y="1885"/>
                  </a:lnTo>
                  <a:lnTo>
                    <a:pt x="132" y="1927"/>
                  </a:lnTo>
                  <a:lnTo>
                    <a:pt x="111" y="1948"/>
                  </a:lnTo>
                  <a:lnTo>
                    <a:pt x="90" y="1955"/>
                  </a:lnTo>
                  <a:lnTo>
                    <a:pt x="56" y="1997"/>
                  </a:lnTo>
                  <a:lnTo>
                    <a:pt x="97" y="2018"/>
                  </a:lnTo>
                  <a:lnTo>
                    <a:pt x="90" y="2046"/>
                  </a:lnTo>
                  <a:lnTo>
                    <a:pt x="195" y="2087"/>
                  </a:lnTo>
                  <a:lnTo>
                    <a:pt x="229" y="2129"/>
                  </a:lnTo>
                  <a:lnTo>
                    <a:pt x="264" y="2122"/>
                  </a:lnTo>
                  <a:lnTo>
                    <a:pt x="306" y="2101"/>
                  </a:lnTo>
                  <a:lnTo>
                    <a:pt x="341" y="2094"/>
                  </a:lnTo>
                  <a:lnTo>
                    <a:pt x="355" y="2087"/>
                  </a:lnTo>
                  <a:lnTo>
                    <a:pt x="390" y="2115"/>
                  </a:lnTo>
                  <a:lnTo>
                    <a:pt x="396" y="2094"/>
                  </a:lnTo>
                  <a:lnTo>
                    <a:pt x="417" y="2101"/>
                  </a:lnTo>
                  <a:lnTo>
                    <a:pt x="438" y="2059"/>
                  </a:lnTo>
                  <a:lnTo>
                    <a:pt x="501" y="2087"/>
                  </a:lnTo>
                  <a:lnTo>
                    <a:pt x="529" y="2115"/>
                  </a:lnTo>
                  <a:lnTo>
                    <a:pt x="550" y="2150"/>
                  </a:lnTo>
                  <a:lnTo>
                    <a:pt x="584" y="2164"/>
                  </a:lnTo>
                  <a:lnTo>
                    <a:pt x="570" y="2178"/>
                  </a:lnTo>
                  <a:lnTo>
                    <a:pt x="563" y="2192"/>
                  </a:lnTo>
                  <a:lnTo>
                    <a:pt x="570" y="2212"/>
                  </a:lnTo>
                  <a:lnTo>
                    <a:pt x="584" y="2233"/>
                  </a:lnTo>
                  <a:lnTo>
                    <a:pt x="563" y="2261"/>
                  </a:lnTo>
                  <a:lnTo>
                    <a:pt x="584" y="2296"/>
                  </a:lnTo>
                  <a:lnTo>
                    <a:pt x="619" y="2317"/>
                  </a:lnTo>
                  <a:lnTo>
                    <a:pt x="633" y="2317"/>
                  </a:lnTo>
                  <a:lnTo>
                    <a:pt x="633" y="2352"/>
                  </a:lnTo>
                  <a:lnTo>
                    <a:pt x="619" y="2372"/>
                  </a:lnTo>
                  <a:lnTo>
                    <a:pt x="633" y="2393"/>
                  </a:lnTo>
                  <a:lnTo>
                    <a:pt x="654" y="2414"/>
                  </a:lnTo>
                  <a:lnTo>
                    <a:pt x="633" y="2421"/>
                  </a:lnTo>
                  <a:lnTo>
                    <a:pt x="654" y="2428"/>
                  </a:lnTo>
                  <a:lnTo>
                    <a:pt x="668" y="2442"/>
                  </a:lnTo>
                  <a:lnTo>
                    <a:pt x="689" y="2456"/>
                  </a:lnTo>
                  <a:lnTo>
                    <a:pt x="654" y="2456"/>
                  </a:lnTo>
                  <a:lnTo>
                    <a:pt x="668" y="2477"/>
                  </a:lnTo>
                  <a:lnTo>
                    <a:pt x="682" y="2477"/>
                  </a:lnTo>
                  <a:lnTo>
                    <a:pt x="723" y="2463"/>
                  </a:lnTo>
                  <a:lnTo>
                    <a:pt x="730" y="2463"/>
                  </a:lnTo>
                  <a:lnTo>
                    <a:pt x="758" y="2505"/>
                  </a:lnTo>
                  <a:lnTo>
                    <a:pt x="821" y="2463"/>
                  </a:lnTo>
                  <a:lnTo>
                    <a:pt x="821" y="2449"/>
                  </a:lnTo>
                  <a:lnTo>
                    <a:pt x="863" y="2463"/>
                  </a:lnTo>
                  <a:lnTo>
                    <a:pt x="877" y="2484"/>
                  </a:lnTo>
                  <a:lnTo>
                    <a:pt x="856" y="2511"/>
                  </a:lnTo>
                  <a:lnTo>
                    <a:pt x="877" y="2519"/>
                  </a:lnTo>
                  <a:lnTo>
                    <a:pt x="883" y="2539"/>
                  </a:lnTo>
                  <a:lnTo>
                    <a:pt x="856" y="2546"/>
                  </a:lnTo>
                  <a:lnTo>
                    <a:pt x="863" y="2616"/>
                  </a:lnTo>
                  <a:lnTo>
                    <a:pt x="925" y="2609"/>
                  </a:lnTo>
                  <a:lnTo>
                    <a:pt x="946" y="2609"/>
                  </a:lnTo>
                  <a:lnTo>
                    <a:pt x="939" y="2651"/>
                  </a:lnTo>
                  <a:lnTo>
                    <a:pt x="911" y="2671"/>
                  </a:lnTo>
                  <a:lnTo>
                    <a:pt x="946" y="2671"/>
                  </a:lnTo>
                  <a:lnTo>
                    <a:pt x="946" y="2678"/>
                  </a:lnTo>
                  <a:lnTo>
                    <a:pt x="974" y="2658"/>
                  </a:lnTo>
                  <a:lnTo>
                    <a:pt x="988" y="2671"/>
                  </a:lnTo>
                  <a:lnTo>
                    <a:pt x="1023" y="2658"/>
                  </a:lnTo>
                  <a:lnTo>
                    <a:pt x="1023" y="2686"/>
                  </a:lnTo>
                  <a:lnTo>
                    <a:pt x="1036" y="2741"/>
                  </a:lnTo>
                  <a:lnTo>
                    <a:pt x="1044" y="2748"/>
                  </a:lnTo>
                  <a:lnTo>
                    <a:pt x="1085" y="2706"/>
                  </a:lnTo>
                  <a:lnTo>
                    <a:pt x="1126" y="2686"/>
                  </a:lnTo>
                  <a:lnTo>
                    <a:pt x="1175" y="2658"/>
                  </a:lnTo>
                  <a:lnTo>
                    <a:pt x="1182" y="2658"/>
                  </a:lnTo>
                  <a:lnTo>
                    <a:pt x="1189" y="2637"/>
                  </a:lnTo>
                  <a:lnTo>
                    <a:pt x="1182" y="2609"/>
                  </a:lnTo>
                  <a:lnTo>
                    <a:pt x="1202" y="2553"/>
                  </a:lnTo>
                  <a:lnTo>
                    <a:pt x="1189" y="2525"/>
                  </a:lnTo>
                  <a:lnTo>
                    <a:pt x="1237" y="2519"/>
                  </a:lnTo>
                  <a:lnTo>
                    <a:pt x="1251" y="2560"/>
                  </a:lnTo>
                  <a:lnTo>
                    <a:pt x="1272" y="2581"/>
                  </a:lnTo>
                  <a:lnTo>
                    <a:pt x="1335" y="2546"/>
                  </a:lnTo>
                  <a:lnTo>
                    <a:pt x="1349" y="2525"/>
                  </a:lnTo>
                  <a:lnTo>
                    <a:pt x="1376" y="2539"/>
                  </a:lnTo>
                  <a:lnTo>
                    <a:pt x="1404" y="2511"/>
                  </a:lnTo>
                  <a:lnTo>
                    <a:pt x="1349" y="2449"/>
                  </a:lnTo>
                  <a:lnTo>
                    <a:pt x="1404" y="2428"/>
                  </a:lnTo>
                  <a:lnTo>
                    <a:pt x="1411" y="2428"/>
                  </a:lnTo>
                  <a:lnTo>
                    <a:pt x="1453" y="2421"/>
                  </a:lnTo>
                  <a:lnTo>
                    <a:pt x="1453" y="2379"/>
                  </a:lnTo>
                  <a:lnTo>
                    <a:pt x="1474" y="2379"/>
                  </a:lnTo>
                  <a:lnTo>
                    <a:pt x="1529" y="2379"/>
                  </a:lnTo>
                  <a:lnTo>
                    <a:pt x="1599" y="2324"/>
                  </a:lnTo>
                  <a:lnTo>
                    <a:pt x="1613" y="2317"/>
                  </a:lnTo>
                  <a:lnTo>
                    <a:pt x="1648" y="2310"/>
                  </a:lnTo>
                  <a:lnTo>
                    <a:pt x="1627" y="2212"/>
                  </a:lnTo>
                  <a:lnTo>
                    <a:pt x="1648" y="2192"/>
                  </a:lnTo>
                  <a:lnTo>
                    <a:pt x="1703" y="2219"/>
                  </a:lnTo>
                  <a:lnTo>
                    <a:pt x="1745" y="2185"/>
                  </a:lnTo>
                  <a:lnTo>
                    <a:pt x="1856" y="2185"/>
                  </a:lnTo>
                  <a:lnTo>
                    <a:pt x="1863" y="2150"/>
                  </a:lnTo>
                  <a:lnTo>
                    <a:pt x="1877" y="2150"/>
                  </a:lnTo>
                  <a:lnTo>
                    <a:pt x="1891" y="2164"/>
                  </a:lnTo>
                  <a:lnTo>
                    <a:pt x="1926" y="2178"/>
                  </a:lnTo>
                  <a:lnTo>
                    <a:pt x="1996" y="2150"/>
                  </a:lnTo>
                  <a:lnTo>
                    <a:pt x="2037" y="2094"/>
                  </a:lnTo>
                  <a:lnTo>
                    <a:pt x="2065" y="2122"/>
                  </a:lnTo>
                  <a:lnTo>
                    <a:pt x="2093" y="2101"/>
                  </a:lnTo>
                  <a:lnTo>
                    <a:pt x="2128" y="2052"/>
                  </a:lnTo>
                  <a:lnTo>
                    <a:pt x="2107" y="2031"/>
                  </a:lnTo>
                  <a:lnTo>
                    <a:pt x="2142" y="1983"/>
                  </a:lnTo>
                  <a:lnTo>
                    <a:pt x="2135" y="1934"/>
                  </a:lnTo>
                  <a:lnTo>
                    <a:pt x="2156" y="1892"/>
                  </a:lnTo>
                  <a:lnTo>
                    <a:pt x="2142" y="1871"/>
                  </a:lnTo>
                  <a:lnTo>
                    <a:pt x="2197" y="1858"/>
                  </a:lnTo>
                  <a:lnTo>
                    <a:pt x="2218" y="1858"/>
                  </a:lnTo>
                  <a:lnTo>
                    <a:pt x="2218" y="1871"/>
                  </a:lnTo>
                  <a:lnTo>
                    <a:pt x="2239" y="1816"/>
                  </a:lnTo>
                  <a:lnTo>
                    <a:pt x="2253" y="1816"/>
                  </a:lnTo>
                  <a:lnTo>
                    <a:pt x="2239" y="1802"/>
                  </a:lnTo>
                  <a:lnTo>
                    <a:pt x="2260" y="1774"/>
                  </a:lnTo>
                  <a:lnTo>
                    <a:pt x="2260" y="1760"/>
                  </a:lnTo>
                  <a:lnTo>
                    <a:pt x="2218" y="1642"/>
                  </a:lnTo>
                  <a:lnTo>
                    <a:pt x="2190" y="1691"/>
                  </a:lnTo>
                  <a:lnTo>
                    <a:pt x="2142" y="1704"/>
                  </a:lnTo>
                  <a:lnTo>
                    <a:pt x="2128" y="1704"/>
                  </a:lnTo>
                  <a:lnTo>
                    <a:pt x="2093" y="1725"/>
                  </a:lnTo>
                  <a:lnTo>
                    <a:pt x="2009" y="1600"/>
                  </a:lnTo>
                  <a:lnTo>
                    <a:pt x="1975" y="1586"/>
                  </a:lnTo>
                  <a:lnTo>
                    <a:pt x="1968" y="1565"/>
                  </a:lnTo>
                  <a:lnTo>
                    <a:pt x="1961" y="1572"/>
                  </a:lnTo>
                  <a:lnTo>
                    <a:pt x="1912" y="1531"/>
                  </a:lnTo>
                  <a:lnTo>
                    <a:pt x="1891" y="1558"/>
                  </a:lnTo>
                  <a:lnTo>
                    <a:pt x="1842" y="1565"/>
                  </a:lnTo>
                  <a:lnTo>
                    <a:pt x="1835" y="1538"/>
                  </a:lnTo>
                  <a:lnTo>
                    <a:pt x="1808" y="1572"/>
                  </a:lnTo>
                  <a:lnTo>
                    <a:pt x="1829" y="1572"/>
                  </a:lnTo>
                  <a:lnTo>
                    <a:pt x="1808" y="1635"/>
                  </a:lnTo>
                  <a:lnTo>
                    <a:pt x="1794" y="1635"/>
                  </a:lnTo>
                  <a:lnTo>
                    <a:pt x="1780" y="1635"/>
                  </a:lnTo>
                  <a:lnTo>
                    <a:pt x="1773" y="1586"/>
                  </a:lnTo>
                  <a:lnTo>
                    <a:pt x="1794" y="1510"/>
                  </a:lnTo>
                  <a:lnTo>
                    <a:pt x="1738" y="1503"/>
                  </a:lnTo>
                  <a:lnTo>
                    <a:pt x="1738" y="1489"/>
                  </a:lnTo>
                  <a:lnTo>
                    <a:pt x="1738" y="1475"/>
                  </a:lnTo>
                  <a:lnTo>
                    <a:pt x="1696" y="1454"/>
                  </a:lnTo>
                  <a:lnTo>
                    <a:pt x="1648" y="1433"/>
                  </a:lnTo>
                  <a:lnTo>
                    <a:pt x="1669" y="1398"/>
                  </a:lnTo>
                  <a:lnTo>
                    <a:pt x="1641" y="1329"/>
                  </a:lnTo>
                  <a:lnTo>
                    <a:pt x="1662" y="1301"/>
                  </a:lnTo>
                  <a:lnTo>
                    <a:pt x="1669" y="1308"/>
                  </a:lnTo>
                  <a:lnTo>
                    <a:pt x="1662" y="1259"/>
                  </a:lnTo>
                  <a:lnTo>
                    <a:pt x="1641" y="1225"/>
                  </a:lnTo>
                  <a:lnTo>
                    <a:pt x="1662" y="1141"/>
                  </a:lnTo>
                  <a:lnTo>
                    <a:pt x="1648" y="1148"/>
                  </a:lnTo>
                  <a:lnTo>
                    <a:pt x="1634" y="1085"/>
                  </a:lnTo>
                  <a:lnTo>
                    <a:pt x="1599" y="1079"/>
                  </a:lnTo>
                  <a:lnTo>
                    <a:pt x="1571" y="1085"/>
                  </a:lnTo>
                  <a:lnTo>
                    <a:pt x="1543" y="1037"/>
                  </a:lnTo>
                  <a:lnTo>
                    <a:pt x="1585" y="1009"/>
                  </a:lnTo>
                  <a:lnTo>
                    <a:pt x="1606" y="967"/>
                  </a:lnTo>
                  <a:lnTo>
                    <a:pt x="1606" y="884"/>
                  </a:lnTo>
                  <a:lnTo>
                    <a:pt x="1599" y="898"/>
                  </a:lnTo>
                  <a:lnTo>
                    <a:pt x="1550" y="877"/>
                  </a:lnTo>
                  <a:lnTo>
                    <a:pt x="1536" y="807"/>
                  </a:lnTo>
                  <a:lnTo>
                    <a:pt x="1550" y="779"/>
                  </a:lnTo>
                  <a:lnTo>
                    <a:pt x="1536" y="766"/>
                  </a:lnTo>
                  <a:lnTo>
                    <a:pt x="1502" y="766"/>
                  </a:lnTo>
                  <a:lnTo>
                    <a:pt x="1481" y="738"/>
                  </a:lnTo>
                  <a:lnTo>
                    <a:pt x="1502" y="717"/>
                  </a:lnTo>
                  <a:lnTo>
                    <a:pt x="1481" y="619"/>
                  </a:lnTo>
                  <a:lnTo>
                    <a:pt x="1467" y="605"/>
                  </a:lnTo>
                  <a:lnTo>
                    <a:pt x="1453" y="585"/>
                  </a:lnTo>
                  <a:lnTo>
                    <a:pt x="1446" y="557"/>
                  </a:lnTo>
                  <a:lnTo>
                    <a:pt x="1432" y="550"/>
                  </a:lnTo>
                  <a:lnTo>
                    <a:pt x="1411" y="515"/>
                  </a:lnTo>
                  <a:lnTo>
                    <a:pt x="1418" y="508"/>
                  </a:lnTo>
                  <a:lnTo>
                    <a:pt x="1411" y="494"/>
                  </a:lnTo>
                  <a:lnTo>
                    <a:pt x="1446" y="473"/>
                  </a:lnTo>
                  <a:lnTo>
                    <a:pt x="1467" y="439"/>
                  </a:lnTo>
                  <a:lnTo>
                    <a:pt x="1439" y="397"/>
                  </a:lnTo>
                  <a:lnTo>
                    <a:pt x="1453" y="397"/>
                  </a:lnTo>
                  <a:lnTo>
                    <a:pt x="1439" y="376"/>
                  </a:lnTo>
                  <a:lnTo>
                    <a:pt x="1453" y="362"/>
                  </a:lnTo>
                  <a:lnTo>
                    <a:pt x="1439" y="341"/>
                  </a:lnTo>
                  <a:lnTo>
                    <a:pt x="1383" y="327"/>
                  </a:lnTo>
                  <a:lnTo>
                    <a:pt x="1369" y="355"/>
                  </a:lnTo>
                  <a:lnTo>
                    <a:pt x="1356" y="376"/>
                  </a:lnTo>
                  <a:lnTo>
                    <a:pt x="1341" y="418"/>
                  </a:lnTo>
                  <a:lnTo>
                    <a:pt x="1300" y="397"/>
                  </a:lnTo>
                  <a:lnTo>
                    <a:pt x="1244" y="397"/>
                  </a:lnTo>
                  <a:lnTo>
                    <a:pt x="1202" y="439"/>
                  </a:lnTo>
                  <a:lnTo>
                    <a:pt x="1209" y="425"/>
                  </a:lnTo>
                  <a:lnTo>
                    <a:pt x="1140" y="376"/>
                  </a:lnTo>
                  <a:lnTo>
                    <a:pt x="1078" y="306"/>
                  </a:lnTo>
                  <a:lnTo>
                    <a:pt x="1044" y="251"/>
                  </a:lnTo>
                  <a:lnTo>
                    <a:pt x="1009" y="216"/>
                  </a:lnTo>
                  <a:lnTo>
                    <a:pt x="974" y="195"/>
                  </a:lnTo>
                  <a:lnTo>
                    <a:pt x="960" y="223"/>
                  </a:lnTo>
                  <a:lnTo>
                    <a:pt x="939" y="223"/>
                  </a:lnTo>
                  <a:lnTo>
                    <a:pt x="890" y="174"/>
                  </a:lnTo>
                  <a:lnTo>
                    <a:pt x="883" y="181"/>
                  </a:lnTo>
                  <a:lnTo>
                    <a:pt x="877" y="174"/>
                  </a:lnTo>
                  <a:lnTo>
                    <a:pt x="842" y="230"/>
                  </a:lnTo>
                  <a:lnTo>
                    <a:pt x="814" y="230"/>
                  </a:lnTo>
                  <a:lnTo>
                    <a:pt x="821" y="209"/>
                  </a:lnTo>
                  <a:lnTo>
                    <a:pt x="786" y="181"/>
                  </a:lnTo>
                  <a:lnTo>
                    <a:pt x="758" y="209"/>
                  </a:lnTo>
                  <a:lnTo>
                    <a:pt x="723" y="195"/>
                  </a:lnTo>
                  <a:lnTo>
                    <a:pt x="696" y="160"/>
                  </a:lnTo>
                  <a:lnTo>
                    <a:pt x="710" y="132"/>
                  </a:lnTo>
                  <a:lnTo>
                    <a:pt x="751" y="146"/>
                  </a:lnTo>
                  <a:lnTo>
                    <a:pt x="793" y="77"/>
                  </a:lnTo>
                  <a:lnTo>
                    <a:pt x="779" y="28"/>
                  </a:lnTo>
                  <a:lnTo>
                    <a:pt x="793" y="14"/>
                  </a:lnTo>
                  <a:lnTo>
                    <a:pt x="765" y="0"/>
                  </a:lnTo>
                  <a:lnTo>
                    <a:pt x="758" y="21"/>
                  </a:lnTo>
                  <a:lnTo>
                    <a:pt x="730" y="14"/>
                  </a:lnTo>
                  <a:lnTo>
                    <a:pt x="717" y="35"/>
                  </a:lnTo>
                  <a:lnTo>
                    <a:pt x="696" y="28"/>
                  </a:lnTo>
                  <a:lnTo>
                    <a:pt x="689" y="56"/>
                  </a:lnTo>
                  <a:lnTo>
                    <a:pt x="661" y="77"/>
                  </a:lnTo>
                  <a:lnTo>
                    <a:pt x="668" y="56"/>
                  </a:lnTo>
                  <a:lnTo>
                    <a:pt x="598" y="56"/>
                  </a:lnTo>
                  <a:lnTo>
                    <a:pt x="550" y="56"/>
                  </a:lnTo>
                  <a:lnTo>
                    <a:pt x="529" y="14"/>
                  </a:lnTo>
                  <a:lnTo>
                    <a:pt x="459" y="112"/>
                  </a:lnTo>
                  <a:lnTo>
                    <a:pt x="431" y="195"/>
                  </a:lnTo>
                  <a:lnTo>
                    <a:pt x="417" y="188"/>
                  </a:lnTo>
                  <a:lnTo>
                    <a:pt x="355" y="188"/>
                  </a:lnTo>
                  <a:lnTo>
                    <a:pt x="327" y="244"/>
                  </a:lnTo>
                  <a:lnTo>
                    <a:pt x="396" y="285"/>
                  </a:lnTo>
                  <a:lnTo>
                    <a:pt x="417" y="306"/>
                  </a:lnTo>
                  <a:lnTo>
                    <a:pt x="417" y="320"/>
                  </a:lnTo>
                  <a:lnTo>
                    <a:pt x="396" y="320"/>
                  </a:lnTo>
                  <a:lnTo>
                    <a:pt x="341" y="362"/>
                  </a:lnTo>
                  <a:lnTo>
                    <a:pt x="327" y="390"/>
                  </a:lnTo>
                  <a:lnTo>
                    <a:pt x="271" y="397"/>
                  </a:lnTo>
                  <a:lnTo>
                    <a:pt x="223" y="445"/>
                  </a:lnTo>
                  <a:lnTo>
                    <a:pt x="229" y="473"/>
                  </a:lnTo>
                  <a:lnTo>
                    <a:pt x="285" y="473"/>
                  </a:lnTo>
                  <a:lnTo>
                    <a:pt x="299" y="473"/>
                  </a:lnTo>
                  <a:lnTo>
                    <a:pt x="306" y="550"/>
                  </a:lnTo>
                  <a:lnTo>
                    <a:pt x="355" y="543"/>
                  </a:lnTo>
                  <a:lnTo>
                    <a:pt x="404" y="605"/>
                  </a:lnTo>
                  <a:lnTo>
                    <a:pt x="390" y="675"/>
                  </a:lnTo>
                  <a:lnTo>
                    <a:pt x="404" y="710"/>
                  </a:lnTo>
                  <a:lnTo>
                    <a:pt x="466" y="738"/>
                  </a:lnTo>
                  <a:lnTo>
                    <a:pt x="487" y="689"/>
                  </a:lnTo>
                  <a:lnTo>
                    <a:pt x="501" y="668"/>
                  </a:lnTo>
                  <a:lnTo>
                    <a:pt x="550" y="710"/>
                  </a:lnTo>
                  <a:lnTo>
                    <a:pt x="522" y="738"/>
                  </a:lnTo>
                  <a:lnTo>
                    <a:pt x="515" y="738"/>
                  </a:lnTo>
                  <a:lnTo>
                    <a:pt x="431" y="786"/>
                  </a:lnTo>
                  <a:lnTo>
                    <a:pt x="390" y="800"/>
                  </a:lnTo>
                  <a:lnTo>
                    <a:pt x="334" y="835"/>
                  </a:lnTo>
                  <a:lnTo>
                    <a:pt x="271" y="807"/>
                  </a:lnTo>
                  <a:lnTo>
                    <a:pt x="250" y="807"/>
                  </a:lnTo>
                  <a:lnTo>
                    <a:pt x="250" y="842"/>
                  </a:lnTo>
                  <a:lnTo>
                    <a:pt x="209" y="946"/>
                  </a:lnTo>
                  <a:lnTo>
                    <a:pt x="174" y="953"/>
                  </a:lnTo>
                  <a:lnTo>
                    <a:pt x="111" y="981"/>
                  </a:lnTo>
                  <a:lnTo>
                    <a:pt x="56" y="1037"/>
                  </a:lnTo>
                  <a:lnTo>
                    <a:pt x="42" y="1079"/>
                  </a:lnTo>
                  <a:lnTo>
                    <a:pt x="62" y="1162"/>
                  </a:lnTo>
                  <a:lnTo>
                    <a:pt x="56" y="1183"/>
                  </a:lnTo>
                  <a:lnTo>
                    <a:pt x="77" y="1231"/>
                  </a:lnTo>
                  <a:lnTo>
                    <a:pt x="104" y="1204"/>
                  </a:lnTo>
                  <a:lnTo>
                    <a:pt x="153" y="1231"/>
                  </a:lnTo>
                  <a:lnTo>
                    <a:pt x="132" y="1308"/>
                  </a:lnTo>
                  <a:lnTo>
                    <a:pt x="125" y="1315"/>
                  </a:lnTo>
                  <a:lnTo>
                    <a:pt x="97" y="1398"/>
                  </a:lnTo>
                  <a:lnTo>
                    <a:pt x="97" y="1475"/>
                  </a:lnTo>
                  <a:lnTo>
                    <a:pt x="69" y="1558"/>
                  </a:lnTo>
                  <a:lnTo>
                    <a:pt x="97" y="1565"/>
                  </a:lnTo>
                  <a:lnTo>
                    <a:pt x="111" y="1593"/>
                  </a:lnTo>
                  <a:lnTo>
                    <a:pt x="111" y="1628"/>
                  </a:lnTo>
                </a:path>
              </a:pathLst>
            </a:custGeom>
            <a:grpFill/>
            <a:ln w="9525" cap="flat" cmpd="sng">
              <a:solidFill>
                <a:schemeClr val="bg1"/>
              </a:solid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75" name="Freeform 72">
              <a:extLst>
                <a:ext uri="{FF2B5EF4-FFF2-40B4-BE49-F238E27FC236}">
                  <a16:creationId xmlns:a16="http://schemas.microsoft.com/office/drawing/2014/main" id="{6B73D724-DDAE-4BFE-B09A-9CA412B62F13}"/>
                </a:ext>
              </a:extLst>
            </p:cNvPr>
            <p:cNvSpPr>
              <a:spLocks noChangeArrowheads="1"/>
            </p:cNvSpPr>
            <p:nvPr/>
          </p:nvSpPr>
          <p:spPr bwMode="auto">
            <a:xfrm>
              <a:off x="17282528" y="5742287"/>
              <a:ext cx="1410427" cy="1317311"/>
            </a:xfrm>
            <a:custGeom>
              <a:avLst/>
              <a:gdLst>
                <a:gd name="T0" fmla="*/ 2552 w 3005"/>
                <a:gd name="T1" fmla="*/ 1085 h 2804"/>
                <a:gd name="T2" fmla="*/ 2462 w 3005"/>
                <a:gd name="T3" fmla="*/ 890 h 2804"/>
                <a:gd name="T4" fmla="*/ 2308 w 3005"/>
                <a:gd name="T5" fmla="*/ 751 h 2804"/>
                <a:gd name="T6" fmla="*/ 2295 w 3005"/>
                <a:gd name="T7" fmla="*/ 793 h 2804"/>
                <a:gd name="T8" fmla="*/ 2065 w 3005"/>
                <a:gd name="T9" fmla="*/ 689 h 2804"/>
                <a:gd name="T10" fmla="*/ 1508 w 3005"/>
                <a:gd name="T11" fmla="*/ 264 h 2804"/>
                <a:gd name="T12" fmla="*/ 1084 w 3005"/>
                <a:gd name="T13" fmla="*/ 0 h 2804"/>
                <a:gd name="T14" fmla="*/ 1063 w 3005"/>
                <a:gd name="T15" fmla="*/ 167 h 2804"/>
                <a:gd name="T16" fmla="*/ 1001 w 3005"/>
                <a:gd name="T17" fmla="*/ 258 h 2804"/>
                <a:gd name="T18" fmla="*/ 855 w 3005"/>
                <a:gd name="T19" fmla="*/ 306 h 2804"/>
                <a:gd name="T20" fmla="*/ 813 w 3005"/>
                <a:gd name="T21" fmla="*/ 230 h 2804"/>
                <a:gd name="T22" fmla="*/ 737 w 3005"/>
                <a:gd name="T23" fmla="*/ 230 h 2804"/>
                <a:gd name="T24" fmla="*/ 716 w 3005"/>
                <a:gd name="T25" fmla="*/ 160 h 2804"/>
                <a:gd name="T26" fmla="*/ 577 w 3005"/>
                <a:gd name="T27" fmla="*/ 139 h 2804"/>
                <a:gd name="T28" fmla="*/ 529 w 3005"/>
                <a:gd name="T29" fmla="*/ 83 h 2804"/>
                <a:gd name="T30" fmla="*/ 424 w 3005"/>
                <a:gd name="T31" fmla="*/ 42 h 2804"/>
                <a:gd name="T32" fmla="*/ 292 w 3005"/>
                <a:gd name="T33" fmla="*/ 83 h 2804"/>
                <a:gd name="T34" fmla="*/ 216 w 3005"/>
                <a:gd name="T35" fmla="*/ 132 h 2804"/>
                <a:gd name="T36" fmla="*/ 104 w 3005"/>
                <a:gd name="T37" fmla="*/ 139 h 2804"/>
                <a:gd name="T38" fmla="*/ 90 w 3005"/>
                <a:gd name="T39" fmla="*/ 299 h 2804"/>
                <a:gd name="T40" fmla="*/ 21 w 3005"/>
                <a:gd name="T41" fmla="*/ 473 h 2804"/>
                <a:gd name="T42" fmla="*/ 202 w 3005"/>
                <a:gd name="T43" fmla="*/ 466 h 2804"/>
                <a:gd name="T44" fmla="*/ 389 w 3005"/>
                <a:gd name="T45" fmla="*/ 494 h 2804"/>
                <a:gd name="T46" fmla="*/ 396 w 3005"/>
                <a:gd name="T47" fmla="*/ 633 h 2804"/>
                <a:gd name="T48" fmla="*/ 320 w 3005"/>
                <a:gd name="T49" fmla="*/ 633 h 2804"/>
                <a:gd name="T50" fmla="*/ 153 w 3005"/>
                <a:gd name="T51" fmla="*/ 723 h 2804"/>
                <a:gd name="T52" fmla="*/ 327 w 3005"/>
                <a:gd name="T53" fmla="*/ 849 h 2804"/>
                <a:gd name="T54" fmla="*/ 424 w 3005"/>
                <a:gd name="T55" fmla="*/ 793 h 2804"/>
                <a:gd name="T56" fmla="*/ 417 w 3005"/>
                <a:gd name="T57" fmla="*/ 918 h 2804"/>
                <a:gd name="T58" fmla="*/ 452 w 3005"/>
                <a:gd name="T59" fmla="*/ 953 h 2804"/>
                <a:gd name="T60" fmla="*/ 549 w 3005"/>
                <a:gd name="T61" fmla="*/ 953 h 2804"/>
                <a:gd name="T62" fmla="*/ 675 w 3005"/>
                <a:gd name="T63" fmla="*/ 988 h 2804"/>
                <a:gd name="T64" fmla="*/ 868 w 3005"/>
                <a:gd name="T65" fmla="*/ 1211 h 2804"/>
                <a:gd name="T66" fmla="*/ 1035 w 3005"/>
                <a:gd name="T67" fmla="*/ 1127 h 2804"/>
                <a:gd name="T68" fmla="*/ 1119 w 3005"/>
                <a:gd name="T69" fmla="*/ 1169 h 2804"/>
                <a:gd name="T70" fmla="*/ 1084 w 3005"/>
                <a:gd name="T71" fmla="*/ 1280 h 2804"/>
                <a:gd name="T72" fmla="*/ 1133 w 3005"/>
                <a:gd name="T73" fmla="*/ 1377 h 2804"/>
                <a:gd name="T74" fmla="*/ 1202 w 3005"/>
                <a:gd name="T75" fmla="*/ 1538 h 2804"/>
                <a:gd name="T76" fmla="*/ 1272 w 3005"/>
                <a:gd name="T77" fmla="*/ 1656 h 2804"/>
                <a:gd name="T78" fmla="*/ 1265 w 3005"/>
                <a:gd name="T79" fmla="*/ 1851 h 2804"/>
                <a:gd name="T80" fmla="*/ 1328 w 3005"/>
                <a:gd name="T81" fmla="*/ 2031 h 2804"/>
                <a:gd name="T82" fmla="*/ 1314 w 3005"/>
                <a:gd name="T83" fmla="*/ 2205 h 2804"/>
                <a:gd name="T84" fmla="*/ 1460 w 3005"/>
                <a:gd name="T85" fmla="*/ 2282 h 2804"/>
                <a:gd name="T86" fmla="*/ 1495 w 3005"/>
                <a:gd name="T87" fmla="*/ 2344 h 2804"/>
                <a:gd name="T88" fmla="*/ 1578 w 3005"/>
                <a:gd name="T89" fmla="*/ 2303 h 2804"/>
                <a:gd name="T90" fmla="*/ 1759 w 3005"/>
                <a:gd name="T91" fmla="*/ 2497 h 2804"/>
                <a:gd name="T92" fmla="*/ 1926 w 3005"/>
                <a:gd name="T93" fmla="*/ 2532 h 2804"/>
                <a:gd name="T94" fmla="*/ 1884 w 3005"/>
                <a:gd name="T95" fmla="*/ 2643 h 2804"/>
                <a:gd name="T96" fmla="*/ 1801 w 3005"/>
                <a:gd name="T97" fmla="*/ 2706 h 2804"/>
                <a:gd name="T98" fmla="*/ 2037 w 3005"/>
                <a:gd name="T99" fmla="*/ 2762 h 2804"/>
                <a:gd name="T100" fmla="*/ 2211 w 3005"/>
                <a:gd name="T101" fmla="*/ 2776 h 2804"/>
                <a:gd name="T102" fmla="*/ 2322 w 3005"/>
                <a:gd name="T103" fmla="*/ 2623 h 2804"/>
                <a:gd name="T104" fmla="*/ 2510 w 3005"/>
                <a:gd name="T105" fmla="*/ 2532 h 2804"/>
                <a:gd name="T106" fmla="*/ 2649 w 3005"/>
                <a:gd name="T107" fmla="*/ 2525 h 2804"/>
                <a:gd name="T108" fmla="*/ 2747 w 3005"/>
                <a:gd name="T109" fmla="*/ 2435 h 2804"/>
                <a:gd name="T110" fmla="*/ 2962 w 3005"/>
                <a:gd name="T111" fmla="*/ 2365 h 2804"/>
                <a:gd name="T112" fmla="*/ 2948 w 3005"/>
                <a:gd name="T113" fmla="*/ 2212 h 2804"/>
                <a:gd name="T114" fmla="*/ 2886 w 3005"/>
                <a:gd name="T115" fmla="*/ 1948 h 2804"/>
                <a:gd name="T116" fmla="*/ 2775 w 3005"/>
                <a:gd name="T117" fmla="*/ 1614 h 2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005" h="2804">
                  <a:moveTo>
                    <a:pt x="2719" y="1475"/>
                  </a:moveTo>
                  <a:lnTo>
                    <a:pt x="2705" y="1447"/>
                  </a:lnTo>
                  <a:lnTo>
                    <a:pt x="2649" y="1357"/>
                  </a:lnTo>
                  <a:lnTo>
                    <a:pt x="2615" y="1231"/>
                  </a:lnTo>
                  <a:lnTo>
                    <a:pt x="2552" y="1085"/>
                  </a:lnTo>
                  <a:lnTo>
                    <a:pt x="2517" y="1016"/>
                  </a:lnTo>
                  <a:lnTo>
                    <a:pt x="2517" y="988"/>
                  </a:lnTo>
                  <a:lnTo>
                    <a:pt x="2524" y="918"/>
                  </a:lnTo>
                  <a:lnTo>
                    <a:pt x="2503" y="898"/>
                  </a:lnTo>
                  <a:lnTo>
                    <a:pt x="2462" y="890"/>
                  </a:lnTo>
                  <a:lnTo>
                    <a:pt x="2427" y="849"/>
                  </a:lnTo>
                  <a:lnTo>
                    <a:pt x="2441" y="856"/>
                  </a:lnTo>
                  <a:lnTo>
                    <a:pt x="2406" y="800"/>
                  </a:lnTo>
                  <a:lnTo>
                    <a:pt x="2329" y="751"/>
                  </a:lnTo>
                  <a:lnTo>
                    <a:pt x="2308" y="751"/>
                  </a:lnTo>
                  <a:lnTo>
                    <a:pt x="2322" y="751"/>
                  </a:lnTo>
                  <a:lnTo>
                    <a:pt x="2322" y="772"/>
                  </a:lnTo>
                  <a:lnTo>
                    <a:pt x="2315" y="758"/>
                  </a:lnTo>
                  <a:lnTo>
                    <a:pt x="2322" y="772"/>
                  </a:lnTo>
                  <a:lnTo>
                    <a:pt x="2295" y="793"/>
                  </a:lnTo>
                  <a:lnTo>
                    <a:pt x="2190" y="765"/>
                  </a:lnTo>
                  <a:lnTo>
                    <a:pt x="2128" y="723"/>
                  </a:lnTo>
                  <a:lnTo>
                    <a:pt x="2135" y="703"/>
                  </a:lnTo>
                  <a:lnTo>
                    <a:pt x="2121" y="723"/>
                  </a:lnTo>
                  <a:lnTo>
                    <a:pt x="2065" y="689"/>
                  </a:lnTo>
                  <a:lnTo>
                    <a:pt x="1995" y="640"/>
                  </a:lnTo>
                  <a:lnTo>
                    <a:pt x="1787" y="473"/>
                  </a:lnTo>
                  <a:lnTo>
                    <a:pt x="1717" y="431"/>
                  </a:lnTo>
                  <a:lnTo>
                    <a:pt x="1578" y="306"/>
                  </a:lnTo>
                  <a:lnTo>
                    <a:pt x="1508" y="264"/>
                  </a:lnTo>
                  <a:lnTo>
                    <a:pt x="1432" y="195"/>
                  </a:lnTo>
                  <a:lnTo>
                    <a:pt x="1335" y="104"/>
                  </a:lnTo>
                  <a:lnTo>
                    <a:pt x="1161" y="7"/>
                  </a:lnTo>
                  <a:lnTo>
                    <a:pt x="1140" y="7"/>
                  </a:lnTo>
                  <a:lnTo>
                    <a:pt x="1084" y="0"/>
                  </a:lnTo>
                  <a:lnTo>
                    <a:pt x="1077" y="35"/>
                  </a:lnTo>
                  <a:lnTo>
                    <a:pt x="1070" y="63"/>
                  </a:lnTo>
                  <a:lnTo>
                    <a:pt x="1049" y="83"/>
                  </a:lnTo>
                  <a:lnTo>
                    <a:pt x="1049" y="118"/>
                  </a:lnTo>
                  <a:lnTo>
                    <a:pt x="1063" y="167"/>
                  </a:lnTo>
                  <a:lnTo>
                    <a:pt x="1035" y="195"/>
                  </a:lnTo>
                  <a:lnTo>
                    <a:pt x="1063" y="209"/>
                  </a:lnTo>
                  <a:lnTo>
                    <a:pt x="1049" y="216"/>
                  </a:lnTo>
                  <a:lnTo>
                    <a:pt x="1035" y="237"/>
                  </a:lnTo>
                  <a:lnTo>
                    <a:pt x="1001" y="258"/>
                  </a:lnTo>
                  <a:lnTo>
                    <a:pt x="973" y="258"/>
                  </a:lnTo>
                  <a:lnTo>
                    <a:pt x="973" y="313"/>
                  </a:lnTo>
                  <a:lnTo>
                    <a:pt x="903" y="313"/>
                  </a:lnTo>
                  <a:lnTo>
                    <a:pt x="868" y="313"/>
                  </a:lnTo>
                  <a:lnTo>
                    <a:pt x="855" y="306"/>
                  </a:lnTo>
                  <a:lnTo>
                    <a:pt x="868" y="271"/>
                  </a:lnTo>
                  <a:lnTo>
                    <a:pt x="855" y="271"/>
                  </a:lnTo>
                  <a:lnTo>
                    <a:pt x="841" y="271"/>
                  </a:lnTo>
                  <a:lnTo>
                    <a:pt x="841" y="230"/>
                  </a:lnTo>
                  <a:lnTo>
                    <a:pt x="813" y="230"/>
                  </a:lnTo>
                  <a:lnTo>
                    <a:pt x="813" y="174"/>
                  </a:lnTo>
                  <a:lnTo>
                    <a:pt x="786" y="181"/>
                  </a:lnTo>
                  <a:lnTo>
                    <a:pt x="772" y="216"/>
                  </a:lnTo>
                  <a:lnTo>
                    <a:pt x="751" y="230"/>
                  </a:lnTo>
                  <a:lnTo>
                    <a:pt x="737" y="230"/>
                  </a:lnTo>
                  <a:lnTo>
                    <a:pt x="723" y="216"/>
                  </a:lnTo>
                  <a:lnTo>
                    <a:pt x="716" y="202"/>
                  </a:lnTo>
                  <a:lnTo>
                    <a:pt x="723" y="195"/>
                  </a:lnTo>
                  <a:lnTo>
                    <a:pt x="723" y="160"/>
                  </a:lnTo>
                  <a:lnTo>
                    <a:pt x="716" y="160"/>
                  </a:lnTo>
                  <a:lnTo>
                    <a:pt x="654" y="111"/>
                  </a:lnTo>
                  <a:lnTo>
                    <a:pt x="647" y="160"/>
                  </a:lnTo>
                  <a:lnTo>
                    <a:pt x="619" y="160"/>
                  </a:lnTo>
                  <a:lnTo>
                    <a:pt x="584" y="160"/>
                  </a:lnTo>
                  <a:lnTo>
                    <a:pt x="577" y="139"/>
                  </a:lnTo>
                  <a:lnTo>
                    <a:pt x="529" y="160"/>
                  </a:lnTo>
                  <a:lnTo>
                    <a:pt x="508" y="174"/>
                  </a:lnTo>
                  <a:lnTo>
                    <a:pt x="487" y="146"/>
                  </a:lnTo>
                  <a:lnTo>
                    <a:pt x="515" y="139"/>
                  </a:lnTo>
                  <a:lnTo>
                    <a:pt x="529" y="83"/>
                  </a:lnTo>
                  <a:lnTo>
                    <a:pt x="515" y="35"/>
                  </a:lnTo>
                  <a:lnTo>
                    <a:pt x="508" y="14"/>
                  </a:lnTo>
                  <a:lnTo>
                    <a:pt x="487" y="14"/>
                  </a:lnTo>
                  <a:lnTo>
                    <a:pt x="459" y="14"/>
                  </a:lnTo>
                  <a:lnTo>
                    <a:pt x="424" y="42"/>
                  </a:lnTo>
                  <a:lnTo>
                    <a:pt x="417" y="35"/>
                  </a:lnTo>
                  <a:lnTo>
                    <a:pt x="383" y="14"/>
                  </a:lnTo>
                  <a:lnTo>
                    <a:pt x="362" y="49"/>
                  </a:lnTo>
                  <a:lnTo>
                    <a:pt x="327" y="83"/>
                  </a:lnTo>
                  <a:lnTo>
                    <a:pt x="292" y="83"/>
                  </a:lnTo>
                  <a:lnTo>
                    <a:pt x="264" y="104"/>
                  </a:lnTo>
                  <a:lnTo>
                    <a:pt x="264" y="118"/>
                  </a:lnTo>
                  <a:lnTo>
                    <a:pt x="229" y="111"/>
                  </a:lnTo>
                  <a:lnTo>
                    <a:pt x="216" y="111"/>
                  </a:lnTo>
                  <a:lnTo>
                    <a:pt x="216" y="132"/>
                  </a:lnTo>
                  <a:lnTo>
                    <a:pt x="181" y="118"/>
                  </a:lnTo>
                  <a:lnTo>
                    <a:pt x="167" y="111"/>
                  </a:lnTo>
                  <a:lnTo>
                    <a:pt x="125" y="98"/>
                  </a:lnTo>
                  <a:lnTo>
                    <a:pt x="118" y="98"/>
                  </a:lnTo>
                  <a:lnTo>
                    <a:pt x="104" y="139"/>
                  </a:lnTo>
                  <a:lnTo>
                    <a:pt x="125" y="160"/>
                  </a:lnTo>
                  <a:lnTo>
                    <a:pt x="104" y="202"/>
                  </a:lnTo>
                  <a:lnTo>
                    <a:pt x="83" y="237"/>
                  </a:lnTo>
                  <a:lnTo>
                    <a:pt x="70" y="264"/>
                  </a:lnTo>
                  <a:lnTo>
                    <a:pt x="90" y="299"/>
                  </a:lnTo>
                  <a:lnTo>
                    <a:pt x="35" y="341"/>
                  </a:lnTo>
                  <a:lnTo>
                    <a:pt x="35" y="376"/>
                  </a:lnTo>
                  <a:lnTo>
                    <a:pt x="7" y="397"/>
                  </a:lnTo>
                  <a:lnTo>
                    <a:pt x="0" y="445"/>
                  </a:lnTo>
                  <a:lnTo>
                    <a:pt x="21" y="473"/>
                  </a:lnTo>
                  <a:lnTo>
                    <a:pt x="70" y="473"/>
                  </a:lnTo>
                  <a:lnTo>
                    <a:pt x="118" y="459"/>
                  </a:lnTo>
                  <a:lnTo>
                    <a:pt x="160" y="522"/>
                  </a:lnTo>
                  <a:lnTo>
                    <a:pt x="167" y="494"/>
                  </a:lnTo>
                  <a:lnTo>
                    <a:pt x="202" y="466"/>
                  </a:lnTo>
                  <a:lnTo>
                    <a:pt x="264" y="473"/>
                  </a:lnTo>
                  <a:lnTo>
                    <a:pt x="264" y="459"/>
                  </a:lnTo>
                  <a:lnTo>
                    <a:pt x="313" y="445"/>
                  </a:lnTo>
                  <a:lnTo>
                    <a:pt x="348" y="466"/>
                  </a:lnTo>
                  <a:lnTo>
                    <a:pt x="389" y="494"/>
                  </a:lnTo>
                  <a:lnTo>
                    <a:pt x="396" y="508"/>
                  </a:lnTo>
                  <a:lnTo>
                    <a:pt x="459" y="571"/>
                  </a:lnTo>
                  <a:lnTo>
                    <a:pt x="424" y="577"/>
                  </a:lnTo>
                  <a:lnTo>
                    <a:pt x="396" y="571"/>
                  </a:lnTo>
                  <a:lnTo>
                    <a:pt x="396" y="633"/>
                  </a:lnTo>
                  <a:lnTo>
                    <a:pt x="362" y="633"/>
                  </a:lnTo>
                  <a:lnTo>
                    <a:pt x="362" y="591"/>
                  </a:lnTo>
                  <a:lnTo>
                    <a:pt x="355" y="529"/>
                  </a:lnTo>
                  <a:lnTo>
                    <a:pt x="348" y="591"/>
                  </a:lnTo>
                  <a:lnTo>
                    <a:pt x="320" y="633"/>
                  </a:lnTo>
                  <a:lnTo>
                    <a:pt x="250" y="626"/>
                  </a:lnTo>
                  <a:lnTo>
                    <a:pt x="250" y="668"/>
                  </a:lnTo>
                  <a:lnTo>
                    <a:pt x="195" y="703"/>
                  </a:lnTo>
                  <a:lnTo>
                    <a:pt x="167" y="717"/>
                  </a:lnTo>
                  <a:lnTo>
                    <a:pt x="153" y="723"/>
                  </a:lnTo>
                  <a:lnTo>
                    <a:pt x="195" y="786"/>
                  </a:lnTo>
                  <a:lnTo>
                    <a:pt x="216" y="828"/>
                  </a:lnTo>
                  <a:lnTo>
                    <a:pt x="264" y="828"/>
                  </a:lnTo>
                  <a:lnTo>
                    <a:pt x="334" y="828"/>
                  </a:lnTo>
                  <a:lnTo>
                    <a:pt x="327" y="849"/>
                  </a:lnTo>
                  <a:lnTo>
                    <a:pt x="355" y="828"/>
                  </a:lnTo>
                  <a:lnTo>
                    <a:pt x="362" y="800"/>
                  </a:lnTo>
                  <a:lnTo>
                    <a:pt x="383" y="807"/>
                  </a:lnTo>
                  <a:lnTo>
                    <a:pt x="396" y="786"/>
                  </a:lnTo>
                  <a:lnTo>
                    <a:pt x="424" y="793"/>
                  </a:lnTo>
                  <a:lnTo>
                    <a:pt x="431" y="772"/>
                  </a:lnTo>
                  <a:lnTo>
                    <a:pt x="459" y="786"/>
                  </a:lnTo>
                  <a:lnTo>
                    <a:pt x="445" y="800"/>
                  </a:lnTo>
                  <a:lnTo>
                    <a:pt x="459" y="849"/>
                  </a:lnTo>
                  <a:lnTo>
                    <a:pt x="417" y="918"/>
                  </a:lnTo>
                  <a:lnTo>
                    <a:pt x="376" y="904"/>
                  </a:lnTo>
                  <a:lnTo>
                    <a:pt x="362" y="932"/>
                  </a:lnTo>
                  <a:lnTo>
                    <a:pt x="389" y="967"/>
                  </a:lnTo>
                  <a:lnTo>
                    <a:pt x="424" y="981"/>
                  </a:lnTo>
                  <a:lnTo>
                    <a:pt x="452" y="953"/>
                  </a:lnTo>
                  <a:lnTo>
                    <a:pt x="487" y="981"/>
                  </a:lnTo>
                  <a:lnTo>
                    <a:pt x="480" y="1002"/>
                  </a:lnTo>
                  <a:lnTo>
                    <a:pt x="508" y="1002"/>
                  </a:lnTo>
                  <a:lnTo>
                    <a:pt x="543" y="946"/>
                  </a:lnTo>
                  <a:lnTo>
                    <a:pt x="549" y="953"/>
                  </a:lnTo>
                  <a:lnTo>
                    <a:pt x="556" y="946"/>
                  </a:lnTo>
                  <a:lnTo>
                    <a:pt x="605" y="995"/>
                  </a:lnTo>
                  <a:lnTo>
                    <a:pt x="626" y="995"/>
                  </a:lnTo>
                  <a:lnTo>
                    <a:pt x="640" y="967"/>
                  </a:lnTo>
                  <a:lnTo>
                    <a:pt x="675" y="988"/>
                  </a:lnTo>
                  <a:lnTo>
                    <a:pt x="710" y="1023"/>
                  </a:lnTo>
                  <a:lnTo>
                    <a:pt x="744" y="1078"/>
                  </a:lnTo>
                  <a:lnTo>
                    <a:pt x="806" y="1148"/>
                  </a:lnTo>
                  <a:lnTo>
                    <a:pt x="875" y="1197"/>
                  </a:lnTo>
                  <a:lnTo>
                    <a:pt x="868" y="1211"/>
                  </a:lnTo>
                  <a:lnTo>
                    <a:pt x="910" y="1169"/>
                  </a:lnTo>
                  <a:lnTo>
                    <a:pt x="966" y="1169"/>
                  </a:lnTo>
                  <a:lnTo>
                    <a:pt x="1007" y="1190"/>
                  </a:lnTo>
                  <a:lnTo>
                    <a:pt x="1022" y="1148"/>
                  </a:lnTo>
                  <a:lnTo>
                    <a:pt x="1035" y="1127"/>
                  </a:lnTo>
                  <a:lnTo>
                    <a:pt x="1049" y="1099"/>
                  </a:lnTo>
                  <a:lnTo>
                    <a:pt x="1105" y="1113"/>
                  </a:lnTo>
                  <a:lnTo>
                    <a:pt x="1119" y="1134"/>
                  </a:lnTo>
                  <a:lnTo>
                    <a:pt x="1105" y="1148"/>
                  </a:lnTo>
                  <a:lnTo>
                    <a:pt x="1119" y="1169"/>
                  </a:lnTo>
                  <a:lnTo>
                    <a:pt x="1105" y="1169"/>
                  </a:lnTo>
                  <a:lnTo>
                    <a:pt x="1133" y="1211"/>
                  </a:lnTo>
                  <a:lnTo>
                    <a:pt x="1112" y="1245"/>
                  </a:lnTo>
                  <a:lnTo>
                    <a:pt x="1077" y="1266"/>
                  </a:lnTo>
                  <a:lnTo>
                    <a:pt x="1084" y="1280"/>
                  </a:lnTo>
                  <a:lnTo>
                    <a:pt x="1077" y="1287"/>
                  </a:lnTo>
                  <a:lnTo>
                    <a:pt x="1098" y="1322"/>
                  </a:lnTo>
                  <a:lnTo>
                    <a:pt x="1112" y="1329"/>
                  </a:lnTo>
                  <a:lnTo>
                    <a:pt x="1119" y="1357"/>
                  </a:lnTo>
                  <a:lnTo>
                    <a:pt x="1133" y="1377"/>
                  </a:lnTo>
                  <a:lnTo>
                    <a:pt x="1147" y="1391"/>
                  </a:lnTo>
                  <a:lnTo>
                    <a:pt x="1168" y="1489"/>
                  </a:lnTo>
                  <a:lnTo>
                    <a:pt x="1147" y="1510"/>
                  </a:lnTo>
                  <a:lnTo>
                    <a:pt x="1168" y="1538"/>
                  </a:lnTo>
                  <a:lnTo>
                    <a:pt x="1202" y="1538"/>
                  </a:lnTo>
                  <a:lnTo>
                    <a:pt x="1216" y="1551"/>
                  </a:lnTo>
                  <a:lnTo>
                    <a:pt x="1202" y="1579"/>
                  </a:lnTo>
                  <a:lnTo>
                    <a:pt x="1216" y="1649"/>
                  </a:lnTo>
                  <a:lnTo>
                    <a:pt x="1265" y="1670"/>
                  </a:lnTo>
                  <a:lnTo>
                    <a:pt x="1272" y="1656"/>
                  </a:lnTo>
                  <a:lnTo>
                    <a:pt x="1272" y="1739"/>
                  </a:lnTo>
                  <a:lnTo>
                    <a:pt x="1251" y="1781"/>
                  </a:lnTo>
                  <a:lnTo>
                    <a:pt x="1209" y="1809"/>
                  </a:lnTo>
                  <a:lnTo>
                    <a:pt x="1237" y="1857"/>
                  </a:lnTo>
                  <a:lnTo>
                    <a:pt x="1265" y="1851"/>
                  </a:lnTo>
                  <a:lnTo>
                    <a:pt x="1300" y="1857"/>
                  </a:lnTo>
                  <a:lnTo>
                    <a:pt x="1314" y="1920"/>
                  </a:lnTo>
                  <a:lnTo>
                    <a:pt x="1328" y="1913"/>
                  </a:lnTo>
                  <a:lnTo>
                    <a:pt x="1307" y="1997"/>
                  </a:lnTo>
                  <a:lnTo>
                    <a:pt x="1328" y="2031"/>
                  </a:lnTo>
                  <a:lnTo>
                    <a:pt x="1335" y="2080"/>
                  </a:lnTo>
                  <a:lnTo>
                    <a:pt x="1328" y="2073"/>
                  </a:lnTo>
                  <a:lnTo>
                    <a:pt x="1307" y="2101"/>
                  </a:lnTo>
                  <a:lnTo>
                    <a:pt x="1335" y="2170"/>
                  </a:lnTo>
                  <a:lnTo>
                    <a:pt x="1314" y="2205"/>
                  </a:lnTo>
                  <a:lnTo>
                    <a:pt x="1362" y="2226"/>
                  </a:lnTo>
                  <a:lnTo>
                    <a:pt x="1404" y="2247"/>
                  </a:lnTo>
                  <a:lnTo>
                    <a:pt x="1404" y="2261"/>
                  </a:lnTo>
                  <a:lnTo>
                    <a:pt x="1404" y="2275"/>
                  </a:lnTo>
                  <a:lnTo>
                    <a:pt x="1460" y="2282"/>
                  </a:lnTo>
                  <a:lnTo>
                    <a:pt x="1439" y="2358"/>
                  </a:lnTo>
                  <a:lnTo>
                    <a:pt x="1446" y="2407"/>
                  </a:lnTo>
                  <a:lnTo>
                    <a:pt x="1460" y="2407"/>
                  </a:lnTo>
                  <a:lnTo>
                    <a:pt x="1474" y="2407"/>
                  </a:lnTo>
                  <a:lnTo>
                    <a:pt x="1495" y="2344"/>
                  </a:lnTo>
                  <a:lnTo>
                    <a:pt x="1474" y="2344"/>
                  </a:lnTo>
                  <a:lnTo>
                    <a:pt x="1501" y="2310"/>
                  </a:lnTo>
                  <a:lnTo>
                    <a:pt x="1508" y="2337"/>
                  </a:lnTo>
                  <a:lnTo>
                    <a:pt x="1557" y="2330"/>
                  </a:lnTo>
                  <a:lnTo>
                    <a:pt x="1578" y="2303"/>
                  </a:lnTo>
                  <a:lnTo>
                    <a:pt x="1627" y="2344"/>
                  </a:lnTo>
                  <a:lnTo>
                    <a:pt x="1634" y="2337"/>
                  </a:lnTo>
                  <a:lnTo>
                    <a:pt x="1641" y="2358"/>
                  </a:lnTo>
                  <a:lnTo>
                    <a:pt x="1675" y="2372"/>
                  </a:lnTo>
                  <a:lnTo>
                    <a:pt x="1759" y="2497"/>
                  </a:lnTo>
                  <a:lnTo>
                    <a:pt x="1794" y="2476"/>
                  </a:lnTo>
                  <a:lnTo>
                    <a:pt x="1808" y="2476"/>
                  </a:lnTo>
                  <a:lnTo>
                    <a:pt x="1856" y="2463"/>
                  </a:lnTo>
                  <a:lnTo>
                    <a:pt x="1884" y="2414"/>
                  </a:lnTo>
                  <a:lnTo>
                    <a:pt x="1926" y="2532"/>
                  </a:lnTo>
                  <a:lnTo>
                    <a:pt x="1926" y="2546"/>
                  </a:lnTo>
                  <a:lnTo>
                    <a:pt x="1905" y="2574"/>
                  </a:lnTo>
                  <a:lnTo>
                    <a:pt x="1919" y="2588"/>
                  </a:lnTo>
                  <a:lnTo>
                    <a:pt x="1905" y="2588"/>
                  </a:lnTo>
                  <a:lnTo>
                    <a:pt x="1884" y="2643"/>
                  </a:lnTo>
                  <a:lnTo>
                    <a:pt x="1884" y="2630"/>
                  </a:lnTo>
                  <a:lnTo>
                    <a:pt x="1863" y="2630"/>
                  </a:lnTo>
                  <a:lnTo>
                    <a:pt x="1808" y="2643"/>
                  </a:lnTo>
                  <a:lnTo>
                    <a:pt x="1822" y="2664"/>
                  </a:lnTo>
                  <a:lnTo>
                    <a:pt x="1801" y="2706"/>
                  </a:lnTo>
                  <a:lnTo>
                    <a:pt x="1905" y="2734"/>
                  </a:lnTo>
                  <a:lnTo>
                    <a:pt x="1933" y="2692"/>
                  </a:lnTo>
                  <a:lnTo>
                    <a:pt x="1961" y="2692"/>
                  </a:lnTo>
                  <a:lnTo>
                    <a:pt x="1981" y="2720"/>
                  </a:lnTo>
                  <a:lnTo>
                    <a:pt x="2037" y="2762"/>
                  </a:lnTo>
                  <a:lnTo>
                    <a:pt x="2079" y="2797"/>
                  </a:lnTo>
                  <a:lnTo>
                    <a:pt x="2086" y="2790"/>
                  </a:lnTo>
                  <a:lnTo>
                    <a:pt x="2128" y="2803"/>
                  </a:lnTo>
                  <a:lnTo>
                    <a:pt x="2197" y="2762"/>
                  </a:lnTo>
                  <a:lnTo>
                    <a:pt x="2211" y="2776"/>
                  </a:lnTo>
                  <a:lnTo>
                    <a:pt x="2218" y="2720"/>
                  </a:lnTo>
                  <a:lnTo>
                    <a:pt x="2260" y="2706"/>
                  </a:lnTo>
                  <a:lnTo>
                    <a:pt x="2308" y="2699"/>
                  </a:lnTo>
                  <a:lnTo>
                    <a:pt x="2322" y="2664"/>
                  </a:lnTo>
                  <a:lnTo>
                    <a:pt x="2322" y="2623"/>
                  </a:lnTo>
                  <a:lnTo>
                    <a:pt x="2378" y="2546"/>
                  </a:lnTo>
                  <a:lnTo>
                    <a:pt x="2378" y="2525"/>
                  </a:lnTo>
                  <a:lnTo>
                    <a:pt x="2420" y="2560"/>
                  </a:lnTo>
                  <a:lnTo>
                    <a:pt x="2441" y="2560"/>
                  </a:lnTo>
                  <a:lnTo>
                    <a:pt x="2510" y="2532"/>
                  </a:lnTo>
                  <a:lnTo>
                    <a:pt x="2524" y="2532"/>
                  </a:lnTo>
                  <a:lnTo>
                    <a:pt x="2538" y="2560"/>
                  </a:lnTo>
                  <a:lnTo>
                    <a:pt x="2580" y="2546"/>
                  </a:lnTo>
                  <a:lnTo>
                    <a:pt x="2621" y="2525"/>
                  </a:lnTo>
                  <a:lnTo>
                    <a:pt x="2649" y="2525"/>
                  </a:lnTo>
                  <a:lnTo>
                    <a:pt x="2656" y="2491"/>
                  </a:lnTo>
                  <a:lnTo>
                    <a:pt x="2656" y="2456"/>
                  </a:lnTo>
                  <a:lnTo>
                    <a:pt x="2684" y="2442"/>
                  </a:lnTo>
                  <a:lnTo>
                    <a:pt x="2719" y="2442"/>
                  </a:lnTo>
                  <a:lnTo>
                    <a:pt x="2747" y="2435"/>
                  </a:lnTo>
                  <a:lnTo>
                    <a:pt x="2754" y="2435"/>
                  </a:lnTo>
                  <a:lnTo>
                    <a:pt x="2830" y="2400"/>
                  </a:lnTo>
                  <a:lnTo>
                    <a:pt x="2865" y="2379"/>
                  </a:lnTo>
                  <a:lnTo>
                    <a:pt x="2942" y="2365"/>
                  </a:lnTo>
                  <a:lnTo>
                    <a:pt x="2962" y="2365"/>
                  </a:lnTo>
                  <a:lnTo>
                    <a:pt x="3004" y="2358"/>
                  </a:lnTo>
                  <a:lnTo>
                    <a:pt x="2976" y="2282"/>
                  </a:lnTo>
                  <a:lnTo>
                    <a:pt x="2962" y="2226"/>
                  </a:lnTo>
                  <a:lnTo>
                    <a:pt x="2962" y="2233"/>
                  </a:lnTo>
                  <a:lnTo>
                    <a:pt x="2948" y="2212"/>
                  </a:lnTo>
                  <a:lnTo>
                    <a:pt x="2942" y="2205"/>
                  </a:lnTo>
                  <a:lnTo>
                    <a:pt x="2914" y="2101"/>
                  </a:lnTo>
                  <a:lnTo>
                    <a:pt x="2900" y="2003"/>
                  </a:lnTo>
                  <a:lnTo>
                    <a:pt x="2886" y="1976"/>
                  </a:lnTo>
                  <a:lnTo>
                    <a:pt x="2886" y="1948"/>
                  </a:lnTo>
                  <a:lnTo>
                    <a:pt x="2879" y="1899"/>
                  </a:lnTo>
                  <a:lnTo>
                    <a:pt x="2851" y="1844"/>
                  </a:lnTo>
                  <a:lnTo>
                    <a:pt x="2830" y="1767"/>
                  </a:lnTo>
                  <a:lnTo>
                    <a:pt x="2788" y="1684"/>
                  </a:lnTo>
                  <a:lnTo>
                    <a:pt x="2775" y="1614"/>
                  </a:lnTo>
                  <a:lnTo>
                    <a:pt x="2719" y="1475"/>
                  </a:lnTo>
                </a:path>
              </a:pathLst>
            </a:custGeom>
            <a:grpFill/>
            <a:ln w="9525" cap="flat" cmpd="sng">
              <a:solidFill>
                <a:schemeClr val="bg1"/>
              </a:solid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76" name="Freeform 73">
              <a:extLst>
                <a:ext uri="{FF2B5EF4-FFF2-40B4-BE49-F238E27FC236}">
                  <a16:creationId xmlns:a16="http://schemas.microsoft.com/office/drawing/2014/main" id="{ED3320AF-35A2-4F0C-A583-3C08450F7C69}"/>
                </a:ext>
              </a:extLst>
            </p:cNvPr>
            <p:cNvSpPr>
              <a:spLocks noChangeArrowheads="1"/>
            </p:cNvSpPr>
            <p:nvPr/>
          </p:nvSpPr>
          <p:spPr bwMode="auto">
            <a:xfrm>
              <a:off x="17344662" y="5903844"/>
              <a:ext cx="55920" cy="43497"/>
            </a:xfrm>
            <a:custGeom>
              <a:avLst/>
              <a:gdLst>
                <a:gd name="T0" fmla="*/ 0 w 119"/>
                <a:gd name="T1" fmla="*/ 0 h 91"/>
                <a:gd name="T2" fmla="*/ 0 w 119"/>
                <a:gd name="T3" fmla="*/ 28 h 91"/>
                <a:gd name="T4" fmla="*/ 14 w 119"/>
                <a:gd name="T5" fmla="*/ 62 h 91"/>
                <a:gd name="T6" fmla="*/ 35 w 119"/>
                <a:gd name="T7" fmla="*/ 90 h 91"/>
                <a:gd name="T8" fmla="*/ 90 w 119"/>
                <a:gd name="T9" fmla="*/ 56 h 91"/>
                <a:gd name="T10" fmla="*/ 118 w 119"/>
                <a:gd name="T11" fmla="*/ 49 h 91"/>
                <a:gd name="T12" fmla="*/ 84 w 119"/>
                <a:gd name="T13" fmla="*/ 0 h 91"/>
                <a:gd name="T14" fmla="*/ 70 w 119"/>
                <a:gd name="T15" fmla="*/ 14 h 91"/>
                <a:gd name="T16" fmla="*/ 0 w 119"/>
                <a:gd name="T17"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9" h="91">
                  <a:moveTo>
                    <a:pt x="0" y="0"/>
                  </a:moveTo>
                  <a:lnTo>
                    <a:pt x="0" y="28"/>
                  </a:lnTo>
                  <a:lnTo>
                    <a:pt x="14" y="62"/>
                  </a:lnTo>
                  <a:lnTo>
                    <a:pt x="35" y="90"/>
                  </a:lnTo>
                  <a:lnTo>
                    <a:pt x="90" y="56"/>
                  </a:lnTo>
                  <a:lnTo>
                    <a:pt x="118" y="49"/>
                  </a:lnTo>
                  <a:lnTo>
                    <a:pt x="84" y="0"/>
                  </a:lnTo>
                  <a:lnTo>
                    <a:pt x="70" y="14"/>
                  </a:lnTo>
                  <a:lnTo>
                    <a:pt x="0" y="0"/>
                  </a:lnTo>
                </a:path>
              </a:pathLst>
            </a:custGeom>
            <a:grpFill/>
            <a:ln w="9525" cap="flat" cmpd="sng">
              <a:solidFill>
                <a:schemeClr val="bg1"/>
              </a:solid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77" name="Freeform 74">
              <a:extLst>
                <a:ext uri="{FF2B5EF4-FFF2-40B4-BE49-F238E27FC236}">
                  <a16:creationId xmlns:a16="http://schemas.microsoft.com/office/drawing/2014/main" id="{3A333947-D65B-4089-8C43-4570598175B8}"/>
                </a:ext>
              </a:extLst>
            </p:cNvPr>
            <p:cNvSpPr>
              <a:spLocks noChangeArrowheads="1"/>
            </p:cNvSpPr>
            <p:nvPr/>
          </p:nvSpPr>
          <p:spPr bwMode="auto">
            <a:xfrm>
              <a:off x="15420601" y="5222407"/>
              <a:ext cx="2077322" cy="2172735"/>
            </a:xfrm>
            <a:custGeom>
              <a:avLst/>
              <a:gdLst>
                <a:gd name="T0" fmla="*/ 2247 w 4425"/>
                <a:gd name="T1" fmla="*/ 842 h 4627"/>
                <a:gd name="T2" fmla="*/ 2031 w 4425"/>
                <a:gd name="T3" fmla="*/ 904 h 4627"/>
                <a:gd name="T4" fmla="*/ 1899 w 4425"/>
                <a:gd name="T5" fmla="*/ 793 h 4627"/>
                <a:gd name="T6" fmla="*/ 1579 w 4425"/>
                <a:gd name="T7" fmla="*/ 696 h 4627"/>
                <a:gd name="T8" fmla="*/ 1474 w 4425"/>
                <a:gd name="T9" fmla="*/ 758 h 4627"/>
                <a:gd name="T10" fmla="*/ 1335 w 4425"/>
                <a:gd name="T11" fmla="*/ 564 h 4627"/>
                <a:gd name="T12" fmla="*/ 1099 w 4425"/>
                <a:gd name="T13" fmla="*/ 445 h 4627"/>
                <a:gd name="T14" fmla="*/ 841 w 4425"/>
                <a:gd name="T15" fmla="*/ 348 h 4627"/>
                <a:gd name="T16" fmla="*/ 598 w 4425"/>
                <a:gd name="T17" fmla="*/ 223 h 4627"/>
                <a:gd name="T18" fmla="*/ 466 w 4425"/>
                <a:gd name="T19" fmla="*/ 28 h 4627"/>
                <a:gd name="T20" fmla="*/ 118 w 4425"/>
                <a:gd name="T21" fmla="*/ 188 h 4627"/>
                <a:gd name="T22" fmla="*/ 69 w 4425"/>
                <a:gd name="T23" fmla="*/ 320 h 4627"/>
                <a:gd name="T24" fmla="*/ 278 w 4425"/>
                <a:gd name="T25" fmla="*/ 452 h 4627"/>
                <a:gd name="T26" fmla="*/ 333 w 4425"/>
                <a:gd name="T27" fmla="*/ 584 h 4627"/>
                <a:gd name="T28" fmla="*/ 347 w 4425"/>
                <a:gd name="T29" fmla="*/ 682 h 4627"/>
                <a:gd name="T30" fmla="*/ 487 w 4425"/>
                <a:gd name="T31" fmla="*/ 828 h 4627"/>
                <a:gd name="T32" fmla="*/ 563 w 4425"/>
                <a:gd name="T33" fmla="*/ 904 h 4627"/>
                <a:gd name="T34" fmla="*/ 814 w 4425"/>
                <a:gd name="T35" fmla="*/ 1169 h 4627"/>
                <a:gd name="T36" fmla="*/ 966 w 4425"/>
                <a:gd name="T37" fmla="*/ 1579 h 4627"/>
                <a:gd name="T38" fmla="*/ 1043 w 4425"/>
                <a:gd name="T39" fmla="*/ 2136 h 4627"/>
                <a:gd name="T40" fmla="*/ 1217 w 4425"/>
                <a:gd name="T41" fmla="*/ 2365 h 4627"/>
                <a:gd name="T42" fmla="*/ 1405 w 4425"/>
                <a:gd name="T43" fmla="*/ 2984 h 4627"/>
                <a:gd name="T44" fmla="*/ 1342 w 4425"/>
                <a:gd name="T45" fmla="*/ 3381 h 4627"/>
                <a:gd name="T46" fmla="*/ 1739 w 4425"/>
                <a:gd name="T47" fmla="*/ 3388 h 4627"/>
                <a:gd name="T48" fmla="*/ 1739 w 4425"/>
                <a:gd name="T49" fmla="*/ 3652 h 4627"/>
                <a:gd name="T50" fmla="*/ 2184 w 4425"/>
                <a:gd name="T51" fmla="*/ 3993 h 4627"/>
                <a:gd name="T52" fmla="*/ 2421 w 4425"/>
                <a:gd name="T53" fmla="*/ 4188 h 4627"/>
                <a:gd name="T54" fmla="*/ 2316 w 4425"/>
                <a:gd name="T55" fmla="*/ 4487 h 4627"/>
                <a:gd name="T56" fmla="*/ 2476 w 4425"/>
                <a:gd name="T57" fmla="*/ 4626 h 4627"/>
                <a:gd name="T58" fmla="*/ 2615 w 4425"/>
                <a:gd name="T59" fmla="*/ 4501 h 4627"/>
                <a:gd name="T60" fmla="*/ 2970 w 4425"/>
                <a:gd name="T61" fmla="*/ 4459 h 4627"/>
                <a:gd name="T62" fmla="*/ 3109 w 4425"/>
                <a:gd name="T63" fmla="*/ 4299 h 4627"/>
                <a:gd name="T64" fmla="*/ 3179 w 4425"/>
                <a:gd name="T65" fmla="*/ 4195 h 4627"/>
                <a:gd name="T66" fmla="*/ 3339 w 4425"/>
                <a:gd name="T67" fmla="*/ 4090 h 4627"/>
                <a:gd name="T68" fmla="*/ 3492 w 4425"/>
                <a:gd name="T69" fmla="*/ 4007 h 4627"/>
                <a:gd name="T70" fmla="*/ 3513 w 4425"/>
                <a:gd name="T71" fmla="*/ 3791 h 4627"/>
                <a:gd name="T72" fmla="*/ 3443 w 4425"/>
                <a:gd name="T73" fmla="*/ 3617 h 4627"/>
                <a:gd name="T74" fmla="*/ 3631 w 4425"/>
                <a:gd name="T75" fmla="*/ 3576 h 4627"/>
                <a:gd name="T76" fmla="*/ 3728 w 4425"/>
                <a:gd name="T77" fmla="*/ 3443 h 4627"/>
                <a:gd name="T78" fmla="*/ 3784 w 4425"/>
                <a:gd name="T79" fmla="*/ 3109 h 4627"/>
                <a:gd name="T80" fmla="*/ 3687 w 4425"/>
                <a:gd name="T81" fmla="*/ 2915 h 4627"/>
                <a:gd name="T82" fmla="*/ 3902 w 4425"/>
                <a:gd name="T83" fmla="*/ 2685 h 4627"/>
                <a:gd name="T84" fmla="*/ 4181 w 4425"/>
                <a:gd name="T85" fmla="*/ 2588 h 4627"/>
                <a:gd name="T86" fmla="*/ 4035 w 4425"/>
                <a:gd name="T87" fmla="*/ 2483 h 4627"/>
                <a:gd name="T88" fmla="*/ 3854 w 4425"/>
                <a:gd name="T89" fmla="*/ 2323 h 4627"/>
                <a:gd name="T90" fmla="*/ 4048 w 4425"/>
                <a:gd name="T91" fmla="*/ 2184 h 4627"/>
                <a:gd name="T92" fmla="*/ 4090 w 4425"/>
                <a:gd name="T93" fmla="*/ 1990 h 4627"/>
                <a:gd name="T94" fmla="*/ 4215 w 4425"/>
                <a:gd name="T95" fmla="*/ 1732 h 4627"/>
                <a:gd name="T96" fmla="*/ 4361 w 4425"/>
                <a:gd name="T97" fmla="*/ 1677 h 4627"/>
                <a:gd name="T98" fmla="*/ 4278 w 4425"/>
                <a:gd name="T99" fmla="*/ 1551 h 4627"/>
                <a:gd name="T100" fmla="*/ 4083 w 4425"/>
                <a:gd name="T101" fmla="*/ 1565 h 4627"/>
                <a:gd name="T102" fmla="*/ 3833 w 4425"/>
                <a:gd name="T103" fmla="*/ 1565 h 4627"/>
                <a:gd name="T104" fmla="*/ 3603 w 4425"/>
                <a:gd name="T105" fmla="*/ 1447 h 4627"/>
                <a:gd name="T106" fmla="*/ 3339 w 4425"/>
                <a:gd name="T107" fmla="*/ 1308 h 4627"/>
                <a:gd name="T108" fmla="*/ 3228 w 4425"/>
                <a:gd name="T109" fmla="*/ 1050 h 4627"/>
                <a:gd name="T110" fmla="*/ 3367 w 4425"/>
                <a:gd name="T111" fmla="*/ 856 h 4627"/>
                <a:gd name="T112" fmla="*/ 3248 w 4425"/>
                <a:gd name="T113" fmla="*/ 807 h 4627"/>
                <a:gd name="T114" fmla="*/ 3179 w 4425"/>
                <a:gd name="T115" fmla="*/ 724 h 4627"/>
                <a:gd name="T116" fmla="*/ 3019 w 4425"/>
                <a:gd name="T117" fmla="*/ 696 h 4627"/>
                <a:gd name="T118" fmla="*/ 2866 w 4425"/>
                <a:gd name="T119" fmla="*/ 522 h 4627"/>
                <a:gd name="T120" fmla="*/ 2650 w 4425"/>
                <a:gd name="T121" fmla="*/ 661 h 4627"/>
                <a:gd name="T122" fmla="*/ 2594 w 4425"/>
                <a:gd name="T123" fmla="*/ 814 h 4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425" h="4627">
                  <a:moveTo>
                    <a:pt x="2490" y="821"/>
                  </a:moveTo>
                  <a:lnTo>
                    <a:pt x="2483" y="814"/>
                  </a:lnTo>
                  <a:lnTo>
                    <a:pt x="2379" y="793"/>
                  </a:lnTo>
                  <a:lnTo>
                    <a:pt x="2323" y="828"/>
                  </a:lnTo>
                  <a:lnTo>
                    <a:pt x="2316" y="842"/>
                  </a:lnTo>
                  <a:lnTo>
                    <a:pt x="2247" y="842"/>
                  </a:lnTo>
                  <a:lnTo>
                    <a:pt x="2219" y="828"/>
                  </a:lnTo>
                  <a:lnTo>
                    <a:pt x="2170" y="807"/>
                  </a:lnTo>
                  <a:lnTo>
                    <a:pt x="2191" y="751"/>
                  </a:lnTo>
                  <a:lnTo>
                    <a:pt x="2170" y="730"/>
                  </a:lnTo>
                  <a:lnTo>
                    <a:pt x="2115" y="807"/>
                  </a:lnTo>
                  <a:lnTo>
                    <a:pt x="2031" y="904"/>
                  </a:lnTo>
                  <a:lnTo>
                    <a:pt x="2003" y="904"/>
                  </a:lnTo>
                  <a:lnTo>
                    <a:pt x="2003" y="863"/>
                  </a:lnTo>
                  <a:lnTo>
                    <a:pt x="1968" y="821"/>
                  </a:lnTo>
                  <a:lnTo>
                    <a:pt x="1940" y="821"/>
                  </a:lnTo>
                  <a:lnTo>
                    <a:pt x="1927" y="821"/>
                  </a:lnTo>
                  <a:lnTo>
                    <a:pt x="1899" y="793"/>
                  </a:lnTo>
                  <a:lnTo>
                    <a:pt x="1864" y="786"/>
                  </a:lnTo>
                  <a:lnTo>
                    <a:pt x="1801" y="751"/>
                  </a:lnTo>
                  <a:lnTo>
                    <a:pt x="1767" y="710"/>
                  </a:lnTo>
                  <a:lnTo>
                    <a:pt x="1690" y="696"/>
                  </a:lnTo>
                  <a:lnTo>
                    <a:pt x="1634" y="696"/>
                  </a:lnTo>
                  <a:lnTo>
                    <a:pt x="1579" y="696"/>
                  </a:lnTo>
                  <a:lnTo>
                    <a:pt x="1544" y="724"/>
                  </a:lnTo>
                  <a:lnTo>
                    <a:pt x="1544" y="765"/>
                  </a:lnTo>
                  <a:lnTo>
                    <a:pt x="1544" y="779"/>
                  </a:lnTo>
                  <a:lnTo>
                    <a:pt x="1523" y="779"/>
                  </a:lnTo>
                  <a:lnTo>
                    <a:pt x="1474" y="779"/>
                  </a:lnTo>
                  <a:lnTo>
                    <a:pt x="1474" y="758"/>
                  </a:lnTo>
                  <a:lnTo>
                    <a:pt x="1384" y="696"/>
                  </a:lnTo>
                  <a:lnTo>
                    <a:pt x="1377" y="682"/>
                  </a:lnTo>
                  <a:lnTo>
                    <a:pt x="1377" y="654"/>
                  </a:lnTo>
                  <a:lnTo>
                    <a:pt x="1349" y="626"/>
                  </a:lnTo>
                  <a:lnTo>
                    <a:pt x="1328" y="612"/>
                  </a:lnTo>
                  <a:lnTo>
                    <a:pt x="1335" y="564"/>
                  </a:lnTo>
                  <a:lnTo>
                    <a:pt x="1294" y="536"/>
                  </a:lnTo>
                  <a:lnTo>
                    <a:pt x="1238" y="536"/>
                  </a:lnTo>
                  <a:lnTo>
                    <a:pt x="1203" y="522"/>
                  </a:lnTo>
                  <a:lnTo>
                    <a:pt x="1182" y="494"/>
                  </a:lnTo>
                  <a:lnTo>
                    <a:pt x="1141" y="459"/>
                  </a:lnTo>
                  <a:lnTo>
                    <a:pt x="1099" y="445"/>
                  </a:lnTo>
                  <a:lnTo>
                    <a:pt x="1008" y="403"/>
                  </a:lnTo>
                  <a:lnTo>
                    <a:pt x="939" y="452"/>
                  </a:lnTo>
                  <a:lnTo>
                    <a:pt x="904" y="397"/>
                  </a:lnTo>
                  <a:lnTo>
                    <a:pt x="876" y="369"/>
                  </a:lnTo>
                  <a:lnTo>
                    <a:pt x="848" y="355"/>
                  </a:lnTo>
                  <a:lnTo>
                    <a:pt x="841" y="348"/>
                  </a:lnTo>
                  <a:lnTo>
                    <a:pt x="834" y="334"/>
                  </a:lnTo>
                  <a:lnTo>
                    <a:pt x="786" y="299"/>
                  </a:lnTo>
                  <a:lnTo>
                    <a:pt x="751" y="264"/>
                  </a:lnTo>
                  <a:lnTo>
                    <a:pt x="681" y="271"/>
                  </a:lnTo>
                  <a:lnTo>
                    <a:pt x="647" y="257"/>
                  </a:lnTo>
                  <a:lnTo>
                    <a:pt x="598" y="223"/>
                  </a:lnTo>
                  <a:lnTo>
                    <a:pt x="542" y="195"/>
                  </a:lnTo>
                  <a:lnTo>
                    <a:pt x="493" y="153"/>
                  </a:lnTo>
                  <a:lnTo>
                    <a:pt x="521" y="76"/>
                  </a:lnTo>
                  <a:lnTo>
                    <a:pt x="493" y="63"/>
                  </a:lnTo>
                  <a:lnTo>
                    <a:pt x="466" y="42"/>
                  </a:lnTo>
                  <a:lnTo>
                    <a:pt x="466" y="28"/>
                  </a:lnTo>
                  <a:lnTo>
                    <a:pt x="382" y="0"/>
                  </a:lnTo>
                  <a:lnTo>
                    <a:pt x="347" y="0"/>
                  </a:lnTo>
                  <a:lnTo>
                    <a:pt x="222" y="7"/>
                  </a:lnTo>
                  <a:lnTo>
                    <a:pt x="215" y="42"/>
                  </a:lnTo>
                  <a:lnTo>
                    <a:pt x="118" y="153"/>
                  </a:lnTo>
                  <a:lnTo>
                    <a:pt x="118" y="188"/>
                  </a:lnTo>
                  <a:lnTo>
                    <a:pt x="97" y="188"/>
                  </a:lnTo>
                  <a:lnTo>
                    <a:pt x="90" y="202"/>
                  </a:lnTo>
                  <a:lnTo>
                    <a:pt x="62" y="202"/>
                  </a:lnTo>
                  <a:lnTo>
                    <a:pt x="0" y="230"/>
                  </a:lnTo>
                  <a:lnTo>
                    <a:pt x="34" y="237"/>
                  </a:lnTo>
                  <a:lnTo>
                    <a:pt x="69" y="320"/>
                  </a:lnTo>
                  <a:lnTo>
                    <a:pt x="118" y="348"/>
                  </a:lnTo>
                  <a:lnTo>
                    <a:pt x="160" y="390"/>
                  </a:lnTo>
                  <a:lnTo>
                    <a:pt x="201" y="417"/>
                  </a:lnTo>
                  <a:lnTo>
                    <a:pt x="215" y="417"/>
                  </a:lnTo>
                  <a:lnTo>
                    <a:pt x="222" y="424"/>
                  </a:lnTo>
                  <a:lnTo>
                    <a:pt x="278" y="452"/>
                  </a:lnTo>
                  <a:lnTo>
                    <a:pt x="292" y="536"/>
                  </a:lnTo>
                  <a:lnTo>
                    <a:pt x="313" y="549"/>
                  </a:lnTo>
                  <a:lnTo>
                    <a:pt x="285" y="612"/>
                  </a:lnTo>
                  <a:lnTo>
                    <a:pt x="292" y="647"/>
                  </a:lnTo>
                  <a:lnTo>
                    <a:pt x="326" y="591"/>
                  </a:lnTo>
                  <a:lnTo>
                    <a:pt x="333" y="584"/>
                  </a:lnTo>
                  <a:lnTo>
                    <a:pt x="361" y="577"/>
                  </a:lnTo>
                  <a:lnTo>
                    <a:pt x="389" y="598"/>
                  </a:lnTo>
                  <a:lnTo>
                    <a:pt x="410" y="612"/>
                  </a:lnTo>
                  <a:lnTo>
                    <a:pt x="396" y="612"/>
                  </a:lnTo>
                  <a:lnTo>
                    <a:pt x="347" y="661"/>
                  </a:lnTo>
                  <a:lnTo>
                    <a:pt x="347" y="682"/>
                  </a:lnTo>
                  <a:lnTo>
                    <a:pt x="396" y="675"/>
                  </a:lnTo>
                  <a:lnTo>
                    <a:pt x="452" y="675"/>
                  </a:lnTo>
                  <a:lnTo>
                    <a:pt x="480" y="689"/>
                  </a:lnTo>
                  <a:lnTo>
                    <a:pt x="487" y="765"/>
                  </a:lnTo>
                  <a:lnTo>
                    <a:pt x="507" y="793"/>
                  </a:lnTo>
                  <a:lnTo>
                    <a:pt x="487" y="828"/>
                  </a:lnTo>
                  <a:lnTo>
                    <a:pt x="507" y="842"/>
                  </a:lnTo>
                  <a:lnTo>
                    <a:pt x="542" y="779"/>
                  </a:lnTo>
                  <a:lnTo>
                    <a:pt x="591" y="786"/>
                  </a:lnTo>
                  <a:lnTo>
                    <a:pt x="626" y="821"/>
                  </a:lnTo>
                  <a:lnTo>
                    <a:pt x="626" y="849"/>
                  </a:lnTo>
                  <a:lnTo>
                    <a:pt x="563" y="904"/>
                  </a:lnTo>
                  <a:lnTo>
                    <a:pt x="549" y="939"/>
                  </a:lnTo>
                  <a:lnTo>
                    <a:pt x="549" y="946"/>
                  </a:lnTo>
                  <a:lnTo>
                    <a:pt x="619" y="974"/>
                  </a:lnTo>
                  <a:lnTo>
                    <a:pt x="744" y="1078"/>
                  </a:lnTo>
                  <a:lnTo>
                    <a:pt x="751" y="1092"/>
                  </a:lnTo>
                  <a:lnTo>
                    <a:pt x="814" y="1169"/>
                  </a:lnTo>
                  <a:lnTo>
                    <a:pt x="869" y="1238"/>
                  </a:lnTo>
                  <a:lnTo>
                    <a:pt x="890" y="1287"/>
                  </a:lnTo>
                  <a:lnTo>
                    <a:pt x="918" y="1343"/>
                  </a:lnTo>
                  <a:lnTo>
                    <a:pt x="946" y="1447"/>
                  </a:lnTo>
                  <a:lnTo>
                    <a:pt x="953" y="1516"/>
                  </a:lnTo>
                  <a:lnTo>
                    <a:pt x="966" y="1579"/>
                  </a:lnTo>
                  <a:lnTo>
                    <a:pt x="981" y="1725"/>
                  </a:lnTo>
                  <a:lnTo>
                    <a:pt x="966" y="1739"/>
                  </a:lnTo>
                  <a:lnTo>
                    <a:pt x="1008" y="1962"/>
                  </a:lnTo>
                  <a:lnTo>
                    <a:pt x="1008" y="2010"/>
                  </a:lnTo>
                  <a:lnTo>
                    <a:pt x="1015" y="2066"/>
                  </a:lnTo>
                  <a:lnTo>
                    <a:pt x="1043" y="2136"/>
                  </a:lnTo>
                  <a:lnTo>
                    <a:pt x="1064" y="2191"/>
                  </a:lnTo>
                  <a:lnTo>
                    <a:pt x="1099" y="2219"/>
                  </a:lnTo>
                  <a:lnTo>
                    <a:pt x="1141" y="2254"/>
                  </a:lnTo>
                  <a:lnTo>
                    <a:pt x="1182" y="2337"/>
                  </a:lnTo>
                  <a:lnTo>
                    <a:pt x="1196" y="2351"/>
                  </a:lnTo>
                  <a:lnTo>
                    <a:pt x="1217" y="2365"/>
                  </a:lnTo>
                  <a:lnTo>
                    <a:pt x="1273" y="2497"/>
                  </a:lnTo>
                  <a:lnTo>
                    <a:pt x="1280" y="2532"/>
                  </a:lnTo>
                  <a:lnTo>
                    <a:pt x="1335" y="2588"/>
                  </a:lnTo>
                  <a:lnTo>
                    <a:pt x="1363" y="2630"/>
                  </a:lnTo>
                  <a:lnTo>
                    <a:pt x="1384" y="2720"/>
                  </a:lnTo>
                  <a:lnTo>
                    <a:pt x="1405" y="2984"/>
                  </a:lnTo>
                  <a:lnTo>
                    <a:pt x="1370" y="3193"/>
                  </a:lnTo>
                  <a:lnTo>
                    <a:pt x="1363" y="3193"/>
                  </a:lnTo>
                  <a:lnTo>
                    <a:pt x="1363" y="3235"/>
                  </a:lnTo>
                  <a:lnTo>
                    <a:pt x="1328" y="3249"/>
                  </a:lnTo>
                  <a:lnTo>
                    <a:pt x="1314" y="3290"/>
                  </a:lnTo>
                  <a:lnTo>
                    <a:pt x="1342" y="3381"/>
                  </a:lnTo>
                  <a:lnTo>
                    <a:pt x="1370" y="3388"/>
                  </a:lnTo>
                  <a:lnTo>
                    <a:pt x="1405" y="3409"/>
                  </a:lnTo>
                  <a:lnTo>
                    <a:pt x="1405" y="3367"/>
                  </a:lnTo>
                  <a:lnTo>
                    <a:pt x="1447" y="3339"/>
                  </a:lnTo>
                  <a:lnTo>
                    <a:pt x="1600" y="3339"/>
                  </a:lnTo>
                  <a:lnTo>
                    <a:pt x="1739" y="3388"/>
                  </a:lnTo>
                  <a:lnTo>
                    <a:pt x="1787" y="3423"/>
                  </a:lnTo>
                  <a:lnTo>
                    <a:pt x="1801" y="3485"/>
                  </a:lnTo>
                  <a:lnTo>
                    <a:pt x="1787" y="3541"/>
                  </a:lnTo>
                  <a:lnTo>
                    <a:pt x="1794" y="3576"/>
                  </a:lnTo>
                  <a:lnTo>
                    <a:pt x="1773" y="3638"/>
                  </a:lnTo>
                  <a:lnTo>
                    <a:pt x="1739" y="3652"/>
                  </a:lnTo>
                  <a:lnTo>
                    <a:pt x="1711" y="3666"/>
                  </a:lnTo>
                  <a:lnTo>
                    <a:pt x="1822" y="3729"/>
                  </a:lnTo>
                  <a:lnTo>
                    <a:pt x="1989" y="3763"/>
                  </a:lnTo>
                  <a:lnTo>
                    <a:pt x="2121" y="3833"/>
                  </a:lnTo>
                  <a:lnTo>
                    <a:pt x="2163" y="3930"/>
                  </a:lnTo>
                  <a:lnTo>
                    <a:pt x="2184" y="3993"/>
                  </a:lnTo>
                  <a:lnTo>
                    <a:pt x="2309" y="4042"/>
                  </a:lnTo>
                  <a:lnTo>
                    <a:pt x="2295" y="4070"/>
                  </a:lnTo>
                  <a:lnTo>
                    <a:pt x="2330" y="4111"/>
                  </a:lnTo>
                  <a:lnTo>
                    <a:pt x="2358" y="4188"/>
                  </a:lnTo>
                  <a:lnTo>
                    <a:pt x="2386" y="4202"/>
                  </a:lnTo>
                  <a:lnTo>
                    <a:pt x="2421" y="4188"/>
                  </a:lnTo>
                  <a:lnTo>
                    <a:pt x="2476" y="4292"/>
                  </a:lnTo>
                  <a:lnTo>
                    <a:pt x="2462" y="4424"/>
                  </a:lnTo>
                  <a:lnTo>
                    <a:pt x="2421" y="4466"/>
                  </a:lnTo>
                  <a:lnTo>
                    <a:pt x="2379" y="4459"/>
                  </a:lnTo>
                  <a:lnTo>
                    <a:pt x="2330" y="4438"/>
                  </a:lnTo>
                  <a:lnTo>
                    <a:pt x="2316" y="4487"/>
                  </a:lnTo>
                  <a:lnTo>
                    <a:pt x="2316" y="4515"/>
                  </a:lnTo>
                  <a:lnTo>
                    <a:pt x="2323" y="4556"/>
                  </a:lnTo>
                  <a:lnTo>
                    <a:pt x="2393" y="4591"/>
                  </a:lnTo>
                  <a:lnTo>
                    <a:pt x="2413" y="4626"/>
                  </a:lnTo>
                  <a:lnTo>
                    <a:pt x="2427" y="4619"/>
                  </a:lnTo>
                  <a:lnTo>
                    <a:pt x="2476" y="4626"/>
                  </a:lnTo>
                  <a:lnTo>
                    <a:pt x="2476" y="4612"/>
                  </a:lnTo>
                  <a:lnTo>
                    <a:pt x="2511" y="4570"/>
                  </a:lnTo>
                  <a:lnTo>
                    <a:pt x="2497" y="4556"/>
                  </a:lnTo>
                  <a:lnTo>
                    <a:pt x="2497" y="4536"/>
                  </a:lnTo>
                  <a:lnTo>
                    <a:pt x="2518" y="4522"/>
                  </a:lnTo>
                  <a:lnTo>
                    <a:pt x="2615" y="4501"/>
                  </a:lnTo>
                  <a:lnTo>
                    <a:pt x="2643" y="4536"/>
                  </a:lnTo>
                  <a:lnTo>
                    <a:pt x="2685" y="4529"/>
                  </a:lnTo>
                  <a:lnTo>
                    <a:pt x="2907" y="4591"/>
                  </a:lnTo>
                  <a:lnTo>
                    <a:pt x="2914" y="4536"/>
                  </a:lnTo>
                  <a:lnTo>
                    <a:pt x="2956" y="4494"/>
                  </a:lnTo>
                  <a:lnTo>
                    <a:pt x="2970" y="4459"/>
                  </a:lnTo>
                  <a:lnTo>
                    <a:pt x="3019" y="4466"/>
                  </a:lnTo>
                  <a:lnTo>
                    <a:pt x="3068" y="4459"/>
                  </a:lnTo>
                  <a:lnTo>
                    <a:pt x="3179" y="4466"/>
                  </a:lnTo>
                  <a:lnTo>
                    <a:pt x="3179" y="4355"/>
                  </a:lnTo>
                  <a:lnTo>
                    <a:pt x="3130" y="4327"/>
                  </a:lnTo>
                  <a:lnTo>
                    <a:pt x="3109" y="4299"/>
                  </a:lnTo>
                  <a:lnTo>
                    <a:pt x="3095" y="4285"/>
                  </a:lnTo>
                  <a:lnTo>
                    <a:pt x="3130" y="4230"/>
                  </a:lnTo>
                  <a:lnTo>
                    <a:pt x="3130" y="4222"/>
                  </a:lnTo>
                  <a:lnTo>
                    <a:pt x="3116" y="4188"/>
                  </a:lnTo>
                  <a:lnTo>
                    <a:pt x="3151" y="4174"/>
                  </a:lnTo>
                  <a:lnTo>
                    <a:pt x="3179" y="4195"/>
                  </a:lnTo>
                  <a:lnTo>
                    <a:pt x="3207" y="4174"/>
                  </a:lnTo>
                  <a:lnTo>
                    <a:pt x="3234" y="4174"/>
                  </a:lnTo>
                  <a:lnTo>
                    <a:pt x="3262" y="4160"/>
                  </a:lnTo>
                  <a:lnTo>
                    <a:pt x="3297" y="4132"/>
                  </a:lnTo>
                  <a:lnTo>
                    <a:pt x="3283" y="4111"/>
                  </a:lnTo>
                  <a:lnTo>
                    <a:pt x="3339" y="4090"/>
                  </a:lnTo>
                  <a:lnTo>
                    <a:pt x="3374" y="4090"/>
                  </a:lnTo>
                  <a:lnTo>
                    <a:pt x="3401" y="4035"/>
                  </a:lnTo>
                  <a:lnTo>
                    <a:pt x="3408" y="4021"/>
                  </a:lnTo>
                  <a:lnTo>
                    <a:pt x="3457" y="4035"/>
                  </a:lnTo>
                  <a:lnTo>
                    <a:pt x="3478" y="4021"/>
                  </a:lnTo>
                  <a:lnTo>
                    <a:pt x="3492" y="4007"/>
                  </a:lnTo>
                  <a:lnTo>
                    <a:pt x="3492" y="3958"/>
                  </a:lnTo>
                  <a:lnTo>
                    <a:pt x="3457" y="3937"/>
                  </a:lnTo>
                  <a:lnTo>
                    <a:pt x="3443" y="3868"/>
                  </a:lnTo>
                  <a:lnTo>
                    <a:pt x="3478" y="3868"/>
                  </a:lnTo>
                  <a:lnTo>
                    <a:pt x="3499" y="3812"/>
                  </a:lnTo>
                  <a:lnTo>
                    <a:pt x="3513" y="3791"/>
                  </a:lnTo>
                  <a:lnTo>
                    <a:pt x="3457" y="3763"/>
                  </a:lnTo>
                  <a:lnTo>
                    <a:pt x="3457" y="3743"/>
                  </a:lnTo>
                  <a:lnTo>
                    <a:pt x="3422" y="3715"/>
                  </a:lnTo>
                  <a:lnTo>
                    <a:pt x="3394" y="3701"/>
                  </a:lnTo>
                  <a:lnTo>
                    <a:pt x="3429" y="3631"/>
                  </a:lnTo>
                  <a:lnTo>
                    <a:pt x="3443" y="3617"/>
                  </a:lnTo>
                  <a:lnTo>
                    <a:pt x="3492" y="3680"/>
                  </a:lnTo>
                  <a:lnTo>
                    <a:pt x="3499" y="3652"/>
                  </a:lnTo>
                  <a:lnTo>
                    <a:pt x="3513" y="3610"/>
                  </a:lnTo>
                  <a:lnTo>
                    <a:pt x="3568" y="3582"/>
                  </a:lnTo>
                  <a:lnTo>
                    <a:pt x="3638" y="3597"/>
                  </a:lnTo>
                  <a:lnTo>
                    <a:pt x="3631" y="3576"/>
                  </a:lnTo>
                  <a:lnTo>
                    <a:pt x="3652" y="3569"/>
                  </a:lnTo>
                  <a:lnTo>
                    <a:pt x="3700" y="3513"/>
                  </a:lnTo>
                  <a:lnTo>
                    <a:pt x="3742" y="3520"/>
                  </a:lnTo>
                  <a:lnTo>
                    <a:pt x="3742" y="3506"/>
                  </a:lnTo>
                  <a:lnTo>
                    <a:pt x="3742" y="3471"/>
                  </a:lnTo>
                  <a:lnTo>
                    <a:pt x="3728" y="3443"/>
                  </a:lnTo>
                  <a:lnTo>
                    <a:pt x="3700" y="3436"/>
                  </a:lnTo>
                  <a:lnTo>
                    <a:pt x="3728" y="3353"/>
                  </a:lnTo>
                  <a:lnTo>
                    <a:pt x="3728" y="3276"/>
                  </a:lnTo>
                  <a:lnTo>
                    <a:pt x="3756" y="3193"/>
                  </a:lnTo>
                  <a:lnTo>
                    <a:pt x="3763" y="3186"/>
                  </a:lnTo>
                  <a:lnTo>
                    <a:pt x="3784" y="3109"/>
                  </a:lnTo>
                  <a:lnTo>
                    <a:pt x="3735" y="3082"/>
                  </a:lnTo>
                  <a:lnTo>
                    <a:pt x="3708" y="3109"/>
                  </a:lnTo>
                  <a:lnTo>
                    <a:pt x="3687" y="3061"/>
                  </a:lnTo>
                  <a:lnTo>
                    <a:pt x="3693" y="3040"/>
                  </a:lnTo>
                  <a:lnTo>
                    <a:pt x="3673" y="2957"/>
                  </a:lnTo>
                  <a:lnTo>
                    <a:pt x="3687" y="2915"/>
                  </a:lnTo>
                  <a:lnTo>
                    <a:pt x="3742" y="2859"/>
                  </a:lnTo>
                  <a:lnTo>
                    <a:pt x="3805" y="2831"/>
                  </a:lnTo>
                  <a:lnTo>
                    <a:pt x="3840" y="2824"/>
                  </a:lnTo>
                  <a:lnTo>
                    <a:pt x="3881" y="2720"/>
                  </a:lnTo>
                  <a:lnTo>
                    <a:pt x="3881" y="2685"/>
                  </a:lnTo>
                  <a:lnTo>
                    <a:pt x="3902" y="2685"/>
                  </a:lnTo>
                  <a:lnTo>
                    <a:pt x="3965" y="2713"/>
                  </a:lnTo>
                  <a:lnTo>
                    <a:pt x="4021" y="2678"/>
                  </a:lnTo>
                  <a:lnTo>
                    <a:pt x="4062" y="2664"/>
                  </a:lnTo>
                  <a:lnTo>
                    <a:pt x="4146" y="2616"/>
                  </a:lnTo>
                  <a:lnTo>
                    <a:pt x="4153" y="2616"/>
                  </a:lnTo>
                  <a:lnTo>
                    <a:pt x="4181" y="2588"/>
                  </a:lnTo>
                  <a:lnTo>
                    <a:pt x="4132" y="2546"/>
                  </a:lnTo>
                  <a:lnTo>
                    <a:pt x="4118" y="2567"/>
                  </a:lnTo>
                  <a:lnTo>
                    <a:pt x="4097" y="2616"/>
                  </a:lnTo>
                  <a:lnTo>
                    <a:pt x="4035" y="2588"/>
                  </a:lnTo>
                  <a:lnTo>
                    <a:pt x="4021" y="2553"/>
                  </a:lnTo>
                  <a:lnTo>
                    <a:pt x="4035" y="2483"/>
                  </a:lnTo>
                  <a:lnTo>
                    <a:pt x="3986" y="2421"/>
                  </a:lnTo>
                  <a:lnTo>
                    <a:pt x="3937" y="2428"/>
                  </a:lnTo>
                  <a:lnTo>
                    <a:pt x="3930" y="2351"/>
                  </a:lnTo>
                  <a:lnTo>
                    <a:pt x="3916" y="2351"/>
                  </a:lnTo>
                  <a:lnTo>
                    <a:pt x="3860" y="2351"/>
                  </a:lnTo>
                  <a:lnTo>
                    <a:pt x="3854" y="2323"/>
                  </a:lnTo>
                  <a:lnTo>
                    <a:pt x="3902" y="2275"/>
                  </a:lnTo>
                  <a:lnTo>
                    <a:pt x="3958" y="2268"/>
                  </a:lnTo>
                  <a:lnTo>
                    <a:pt x="3972" y="2240"/>
                  </a:lnTo>
                  <a:lnTo>
                    <a:pt x="4027" y="2198"/>
                  </a:lnTo>
                  <a:lnTo>
                    <a:pt x="4048" y="2198"/>
                  </a:lnTo>
                  <a:lnTo>
                    <a:pt x="4048" y="2184"/>
                  </a:lnTo>
                  <a:lnTo>
                    <a:pt x="4027" y="2163"/>
                  </a:lnTo>
                  <a:lnTo>
                    <a:pt x="3958" y="2122"/>
                  </a:lnTo>
                  <a:lnTo>
                    <a:pt x="3986" y="2066"/>
                  </a:lnTo>
                  <a:lnTo>
                    <a:pt x="4048" y="2066"/>
                  </a:lnTo>
                  <a:lnTo>
                    <a:pt x="4062" y="2073"/>
                  </a:lnTo>
                  <a:lnTo>
                    <a:pt x="4090" y="1990"/>
                  </a:lnTo>
                  <a:lnTo>
                    <a:pt x="4160" y="1892"/>
                  </a:lnTo>
                  <a:lnTo>
                    <a:pt x="4118" y="1829"/>
                  </a:lnTo>
                  <a:lnTo>
                    <a:pt x="4132" y="1823"/>
                  </a:lnTo>
                  <a:lnTo>
                    <a:pt x="4160" y="1809"/>
                  </a:lnTo>
                  <a:lnTo>
                    <a:pt x="4215" y="1774"/>
                  </a:lnTo>
                  <a:lnTo>
                    <a:pt x="4215" y="1732"/>
                  </a:lnTo>
                  <a:lnTo>
                    <a:pt x="4285" y="1739"/>
                  </a:lnTo>
                  <a:lnTo>
                    <a:pt x="4313" y="1697"/>
                  </a:lnTo>
                  <a:lnTo>
                    <a:pt x="4327" y="1697"/>
                  </a:lnTo>
                  <a:lnTo>
                    <a:pt x="4327" y="1739"/>
                  </a:lnTo>
                  <a:lnTo>
                    <a:pt x="4361" y="1739"/>
                  </a:lnTo>
                  <a:lnTo>
                    <a:pt x="4361" y="1677"/>
                  </a:lnTo>
                  <a:lnTo>
                    <a:pt x="4389" y="1683"/>
                  </a:lnTo>
                  <a:lnTo>
                    <a:pt x="4424" y="1677"/>
                  </a:lnTo>
                  <a:lnTo>
                    <a:pt x="4361" y="1614"/>
                  </a:lnTo>
                  <a:lnTo>
                    <a:pt x="4354" y="1600"/>
                  </a:lnTo>
                  <a:lnTo>
                    <a:pt x="4313" y="1572"/>
                  </a:lnTo>
                  <a:lnTo>
                    <a:pt x="4278" y="1551"/>
                  </a:lnTo>
                  <a:lnTo>
                    <a:pt x="4229" y="1565"/>
                  </a:lnTo>
                  <a:lnTo>
                    <a:pt x="4229" y="1579"/>
                  </a:lnTo>
                  <a:lnTo>
                    <a:pt x="4167" y="1572"/>
                  </a:lnTo>
                  <a:lnTo>
                    <a:pt x="4132" y="1600"/>
                  </a:lnTo>
                  <a:lnTo>
                    <a:pt x="4125" y="1628"/>
                  </a:lnTo>
                  <a:lnTo>
                    <a:pt x="4083" y="1565"/>
                  </a:lnTo>
                  <a:lnTo>
                    <a:pt x="4035" y="1579"/>
                  </a:lnTo>
                  <a:lnTo>
                    <a:pt x="3986" y="1579"/>
                  </a:lnTo>
                  <a:lnTo>
                    <a:pt x="3930" y="1607"/>
                  </a:lnTo>
                  <a:lnTo>
                    <a:pt x="3916" y="1593"/>
                  </a:lnTo>
                  <a:lnTo>
                    <a:pt x="3881" y="1572"/>
                  </a:lnTo>
                  <a:lnTo>
                    <a:pt x="3833" y="1565"/>
                  </a:lnTo>
                  <a:lnTo>
                    <a:pt x="3791" y="1565"/>
                  </a:lnTo>
                  <a:lnTo>
                    <a:pt x="3728" y="1510"/>
                  </a:lnTo>
                  <a:lnTo>
                    <a:pt x="3673" y="1482"/>
                  </a:lnTo>
                  <a:lnTo>
                    <a:pt x="3673" y="1454"/>
                  </a:lnTo>
                  <a:lnTo>
                    <a:pt x="3652" y="1454"/>
                  </a:lnTo>
                  <a:lnTo>
                    <a:pt x="3603" y="1447"/>
                  </a:lnTo>
                  <a:lnTo>
                    <a:pt x="3561" y="1454"/>
                  </a:lnTo>
                  <a:lnTo>
                    <a:pt x="3554" y="1454"/>
                  </a:lnTo>
                  <a:lnTo>
                    <a:pt x="3499" y="1412"/>
                  </a:lnTo>
                  <a:lnTo>
                    <a:pt x="3464" y="1377"/>
                  </a:lnTo>
                  <a:lnTo>
                    <a:pt x="3422" y="1364"/>
                  </a:lnTo>
                  <a:lnTo>
                    <a:pt x="3339" y="1308"/>
                  </a:lnTo>
                  <a:lnTo>
                    <a:pt x="3339" y="1252"/>
                  </a:lnTo>
                  <a:lnTo>
                    <a:pt x="3339" y="1210"/>
                  </a:lnTo>
                  <a:lnTo>
                    <a:pt x="3283" y="1176"/>
                  </a:lnTo>
                  <a:lnTo>
                    <a:pt x="3304" y="1141"/>
                  </a:lnTo>
                  <a:lnTo>
                    <a:pt x="3248" y="1092"/>
                  </a:lnTo>
                  <a:lnTo>
                    <a:pt x="3228" y="1050"/>
                  </a:lnTo>
                  <a:lnTo>
                    <a:pt x="3234" y="1037"/>
                  </a:lnTo>
                  <a:lnTo>
                    <a:pt x="3248" y="1037"/>
                  </a:lnTo>
                  <a:lnTo>
                    <a:pt x="3241" y="995"/>
                  </a:lnTo>
                  <a:lnTo>
                    <a:pt x="3283" y="988"/>
                  </a:lnTo>
                  <a:lnTo>
                    <a:pt x="3311" y="939"/>
                  </a:lnTo>
                  <a:lnTo>
                    <a:pt x="3367" y="856"/>
                  </a:lnTo>
                  <a:lnTo>
                    <a:pt x="3401" y="786"/>
                  </a:lnTo>
                  <a:lnTo>
                    <a:pt x="3401" y="779"/>
                  </a:lnTo>
                  <a:lnTo>
                    <a:pt x="3394" y="765"/>
                  </a:lnTo>
                  <a:lnTo>
                    <a:pt x="3339" y="765"/>
                  </a:lnTo>
                  <a:lnTo>
                    <a:pt x="3297" y="765"/>
                  </a:lnTo>
                  <a:lnTo>
                    <a:pt x="3248" y="807"/>
                  </a:lnTo>
                  <a:lnTo>
                    <a:pt x="3228" y="814"/>
                  </a:lnTo>
                  <a:lnTo>
                    <a:pt x="3179" y="779"/>
                  </a:lnTo>
                  <a:lnTo>
                    <a:pt x="3130" y="793"/>
                  </a:lnTo>
                  <a:lnTo>
                    <a:pt x="3130" y="786"/>
                  </a:lnTo>
                  <a:lnTo>
                    <a:pt x="3151" y="751"/>
                  </a:lnTo>
                  <a:lnTo>
                    <a:pt x="3179" y="724"/>
                  </a:lnTo>
                  <a:lnTo>
                    <a:pt x="3172" y="696"/>
                  </a:lnTo>
                  <a:lnTo>
                    <a:pt x="3165" y="689"/>
                  </a:lnTo>
                  <a:lnTo>
                    <a:pt x="3081" y="675"/>
                  </a:lnTo>
                  <a:lnTo>
                    <a:pt x="3068" y="696"/>
                  </a:lnTo>
                  <a:lnTo>
                    <a:pt x="3033" y="689"/>
                  </a:lnTo>
                  <a:lnTo>
                    <a:pt x="3019" y="696"/>
                  </a:lnTo>
                  <a:lnTo>
                    <a:pt x="3005" y="682"/>
                  </a:lnTo>
                  <a:lnTo>
                    <a:pt x="2970" y="647"/>
                  </a:lnTo>
                  <a:lnTo>
                    <a:pt x="2921" y="619"/>
                  </a:lnTo>
                  <a:lnTo>
                    <a:pt x="2907" y="612"/>
                  </a:lnTo>
                  <a:lnTo>
                    <a:pt x="2914" y="577"/>
                  </a:lnTo>
                  <a:lnTo>
                    <a:pt x="2866" y="522"/>
                  </a:lnTo>
                  <a:lnTo>
                    <a:pt x="2803" y="577"/>
                  </a:lnTo>
                  <a:lnTo>
                    <a:pt x="2803" y="591"/>
                  </a:lnTo>
                  <a:lnTo>
                    <a:pt x="2768" y="591"/>
                  </a:lnTo>
                  <a:lnTo>
                    <a:pt x="2713" y="598"/>
                  </a:lnTo>
                  <a:lnTo>
                    <a:pt x="2692" y="633"/>
                  </a:lnTo>
                  <a:lnTo>
                    <a:pt x="2650" y="661"/>
                  </a:lnTo>
                  <a:lnTo>
                    <a:pt x="2629" y="689"/>
                  </a:lnTo>
                  <a:lnTo>
                    <a:pt x="2615" y="689"/>
                  </a:lnTo>
                  <a:lnTo>
                    <a:pt x="2490" y="710"/>
                  </a:lnTo>
                  <a:lnTo>
                    <a:pt x="2518" y="751"/>
                  </a:lnTo>
                  <a:lnTo>
                    <a:pt x="2594" y="793"/>
                  </a:lnTo>
                  <a:lnTo>
                    <a:pt x="2594" y="814"/>
                  </a:lnTo>
                  <a:lnTo>
                    <a:pt x="2574" y="821"/>
                  </a:lnTo>
                  <a:lnTo>
                    <a:pt x="2490" y="821"/>
                  </a:lnTo>
                </a:path>
              </a:pathLst>
            </a:custGeom>
            <a:solidFill>
              <a:srgbClr val="D9D9D9"/>
            </a:solidFill>
            <a:ln w="9525" cap="flat" cmpd="sng">
              <a:solidFill>
                <a:schemeClr val="bg1"/>
              </a:solidFill>
              <a:bevel/>
              <a:headEnd/>
              <a:tailEnd/>
            </a:ln>
            <a:effectLst/>
          </p:spPr>
          <p:txBody>
            <a:bodyPr wrap="none" anchor="ctr"/>
            <a:lstStyle/>
            <a:p>
              <a:endParaRPr lang="en-US" dirty="0">
                <a:latin typeface="Open Sans Regular" charset="0"/>
              </a:endParaRPr>
            </a:p>
          </p:txBody>
        </p:sp>
        <p:sp>
          <p:nvSpPr>
            <p:cNvPr id="78" name="Freeform 75">
              <a:extLst>
                <a:ext uri="{FF2B5EF4-FFF2-40B4-BE49-F238E27FC236}">
                  <a16:creationId xmlns:a16="http://schemas.microsoft.com/office/drawing/2014/main" id="{F47014DD-F4B6-417D-9736-0133C7C074DA}"/>
                </a:ext>
              </a:extLst>
            </p:cNvPr>
            <p:cNvSpPr>
              <a:spLocks noChangeArrowheads="1"/>
            </p:cNvSpPr>
            <p:nvPr/>
          </p:nvSpPr>
          <p:spPr bwMode="auto">
            <a:xfrm>
              <a:off x="15743696" y="6871116"/>
              <a:ext cx="258888" cy="163628"/>
            </a:xfrm>
            <a:custGeom>
              <a:avLst/>
              <a:gdLst>
                <a:gd name="T0" fmla="*/ 425 w 551"/>
                <a:gd name="T1" fmla="*/ 132 h 349"/>
                <a:gd name="T2" fmla="*/ 411 w 551"/>
                <a:gd name="T3" fmla="*/ 160 h 349"/>
                <a:gd name="T4" fmla="*/ 348 w 551"/>
                <a:gd name="T5" fmla="*/ 132 h 349"/>
                <a:gd name="T6" fmla="*/ 376 w 551"/>
                <a:gd name="T7" fmla="*/ 118 h 349"/>
                <a:gd name="T8" fmla="*/ 265 w 551"/>
                <a:gd name="T9" fmla="*/ 97 h 349"/>
                <a:gd name="T10" fmla="*/ 258 w 551"/>
                <a:gd name="T11" fmla="*/ 97 h 349"/>
                <a:gd name="T12" fmla="*/ 278 w 551"/>
                <a:gd name="T13" fmla="*/ 118 h 349"/>
                <a:gd name="T14" fmla="*/ 265 w 551"/>
                <a:gd name="T15" fmla="*/ 139 h 349"/>
                <a:gd name="T16" fmla="*/ 265 w 551"/>
                <a:gd name="T17" fmla="*/ 153 h 349"/>
                <a:gd name="T18" fmla="*/ 258 w 551"/>
                <a:gd name="T19" fmla="*/ 160 h 349"/>
                <a:gd name="T20" fmla="*/ 237 w 551"/>
                <a:gd name="T21" fmla="*/ 160 h 349"/>
                <a:gd name="T22" fmla="*/ 237 w 551"/>
                <a:gd name="T23" fmla="*/ 181 h 349"/>
                <a:gd name="T24" fmla="*/ 202 w 551"/>
                <a:gd name="T25" fmla="*/ 181 h 349"/>
                <a:gd name="T26" fmla="*/ 153 w 551"/>
                <a:gd name="T27" fmla="*/ 132 h 349"/>
                <a:gd name="T28" fmla="*/ 105 w 551"/>
                <a:gd name="T29" fmla="*/ 139 h 349"/>
                <a:gd name="T30" fmla="*/ 63 w 551"/>
                <a:gd name="T31" fmla="*/ 139 h 349"/>
                <a:gd name="T32" fmla="*/ 21 w 551"/>
                <a:gd name="T33" fmla="*/ 167 h 349"/>
                <a:gd name="T34" fmla="*/ 0 w 551"/>
                <a:gd name="T35" fmla="*/ 216 h 349"/>
                <a:gd name="T36" fmla="*/ 28 w 551"/>
                <a:gd name="T37" fmla="*/ 278 h 349"/>
                <a:gd name="T38" fmla="*/ 28 w 551"/>
                <a:gd name="T39" fmla="*/ 285 h 349"/>
                <a:gd name="T40" fmla="*/ 91 w 551"/>
                <a:gd name="T41" fmla="*/ 320 h 349"/>
                <a:gd name="T42" fmla="*/ 91 w 551"/>
                <a:gd name="T43" fmla="*/ 313 h 349"/>
                <a:gd name="T44" fmla="*/ 132 w 551"/>
                <a:gd name="T45" fmla="*/ 292 h 349"/>
                <a:gd name="T46" fmla="*/ 223 w 551"/>
                <a:gd name="T47" fmla="*/ 320 h 349"/>
                <a:gd name="T48" fmla="*/ 216 w 551"/>
                <a:gd name="T49" fmla="*/ 278 h 349"/>
                <a:gd name="T50" fmla="*/ 265 w 551"/>
                <a:gd name="T51" fmla="*/ 278 h 349"/>
                <a:gd name="T52" fmla="*/ 286 w 551"/>
                <a:gd name="T53" fmla="*/ 292 h 349"/>
                <a:gd name="T54" fmla="*/ 299 w 551"/>
                <a:gd name="T55" fmla="*/ 285 h 349"/>
                <a:gd name="T56" fmla="*/ 320 w 551"/>
                <a:gd name="T57" fmla="*/ 250 h 349"/>
                <a:gd name="T58" fmla="*/ 348 w 551"/>
                <a:gd name="T59" fmla="*/ 257 h 349"/>
                <a:gd name="T60" fmla="*/ 355 w 551"/>
                <a:gd name="T61" fmla="*/ 292 h 349"/>
                <a:gd name="T62" fmla="*/ 362 w 551"/>
                <a:gd name="T63" fmla="*/ 236 h 349"/>
                <a:gd name="T64" fmla="*/ 418 w 551"/>
                <a:gd name="T65" fmla="*/ 250 h 349"/>
                <a:gd name="T66" fmla="*/ 432 w 551"/>
                <a:gd name="T67" fmla="*/ 313 h 349"/>
                <a:gd name="T68" fmla="*/ 466 w 551"/>
                <a:gd name="T69" fmla="*/ 348 h 349"/>
                <a:gd name="T70" fmla="*/ 487 w 551"/>
                <a:gd name="T71" fmla="*/ 348 h 349"/>
                <a:gd name="T72" fmla="*/ 515 w 551"/>
                <a:gd name="T73" fmla="*/ 348 h 349"/>
                <a:gd name="T74" fmla="*/ 529 w 551"/>
                <a:gd name="T75" fmla="*/ 348 h 349"/>
                <a:gd name="T76" fmla="*/ 543 w 551"/>
                <a:gd name="T77" fmla="*/ 299 h 349"/>
                <a:gd name="T78" fmla="*/ 494 w 551"/>
                <a:gd name="T79" fmla="*/ 264 h 349"/>
                <a:gd name="T80" fmla="*/ 494 w 551"/>
                <a:gd name="T81" fmla="*/ 250 h 349"/>
                <a:gd name="T82" fmla="*/ 466 w 551"/>
                <a:gd name="T83" fmla="*/ 236 h 349"/>
                <a:gd name="T84" fmla="*/ 494 w 551"/>
                <a:gd name="T85" fmla="*/ 230 h 349"/>
                <a:gd name="T86" fmla="*/ 522 w 551"/>
                <a:gd name="T87" fmla="*/ 216 h 349"/>
                <a:gd name="T88" fmla="*/ 550 w 551"/>
                <a:gd name="T89" fmla="*/ 195 h 349"/>
                <a:gd name="T90" fmla="*/ 550 w 551"/>
                <a:gd name="T91" fmla="*/ 160 h 349"/>
                <a:gd name="T92" fmla="*/ 543 w 551"/>
                <a:gd name="T93" fmla="*/ 97 h 349"/>
                <a:gd name="T94" fmla="*/ 550 w 551"/>
                <a:gd name="T95" fmla="*/ 49 h 349"/>
                <a:gd name="T96" fmla="*/ 522 w 551"/>
                <a:gd name="T97" fmla="*/ 7 h 349"/>
                <a:gd name="T98" fmla="*/ 494 w 551"/>
                <a:gd name="T99" fmla="*/ 0 h 349"/>
                <a:gd name="T100" fmla="*/ 466 w 551"/>
                <a:gd name="T101" fmla="*/ 56 h 349"/>
                <a:gd name="T102" fmla="*/ 459 w 551"/>
                <a:gd name="T103" fmla="*/ 84 h 349"/>
                <a:gd name="T104" fmla="*/ 425 w 551"/>
                <a:gd name="T105" fmla="*/ 118 h 349"/>
                <a:gd name="T106" fmla="*/ 425 w 551"/>
                <a:gd name="T107" fmla="*/ 132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1" h="349">
                  <a:moveTo>
                    <a:pt x="425" y="132"/>
                  </a:moveTo>
                  <a:lnTo>
                    <a:pt x="411" y="160"/>
                  </a:lnTo>
                  <a:lnTo>
                    <a:pt x="348" y="132"/>
                  </a:lnTo>
                  <a:lnTo>
                    <a:pt x="376" y="118"/>
                  </a:lnTo>
                  <a:lnTo>
                    <a:pt x="265" y="97"/>
                  </a:lnTo>
                  <a:lnTo>
                    <a:pt x="258" y="97"/>
                  </a:lnTo>
                  <a:lnTo>
                    <a:pt x="278" y="118"/>
                  </a:lnTo>
                  <a:lnTo>
                    <a:pt x="265" y="139"/>
                  </a:lnTo>
                  <a:lnTo>
                    <a:pt x="265" y="153"/>
                  </a:lnTo>
                  <a:lnTo>
                    <a:pt x="258" y="160"/>
                  </a:lnTo>
                  <a:lnTo>
                    <a:pt x="237" y="160"/>
                  </a:lnTo>
                  <a:lnTo>
                    <a:pt x="237" y="181"/>
                  </a:lnTo>
                  <a:lnTo>
                    <a:pt x="202" y="181"/>
                  </a:lnTo>
                  <a:lnTo>
                    <a:pt x="153" y="132"/>
                  </a:lnTo>
                  <a:lnTo>
                    <a:pt x="105" y="139"/>
                  </a:lnTo>
                  <a:lnTo>
                    <a:pt x="63" y="139"/>
                  </a:lnTo>
                  <a:lnTo>
                    <a:pt x="21" y="167"/>
                  </a:lnTo>
                  <a:lnTo>
                    <a:pt x="0" y="216"/>
                  </a:lnTo>
                  <a:lnTo>
                    <a:pt x="28" y="278"/>
                  </a:lnTo>
                  <a:lnTo>
                    <a:pt x="28" y="285"/>
                  </a:lnTo>
                  <a:lnTo>
                    <a:pt x="91" y="320"/>
                  </a:lnTo>
                  <a:lnTo>
                    <a:pt x="91" y="313"/>
                  </a:lnTo>
                  <a:lnTo>
                    <a:pt x="132" y="292"/>
                  </a:lnTo>
                  <a:lnTo>
                    <a:pt x="223" y="320"/>
                  </a:lnTo>
                  <a:lnTo>
                    <a:pt x="216" y="278"/>
                  </a:lnTo>
                  <a:lnTo>
                    <a:pt x="265" y="278"/>
                  </a:lnTo>
                  <a:lnTo>
                    <a:pt x="286" y="292"/>
                  </a:lnTo>
                  <a:lnTo>
                    <a:pt x="299" y="285"/>
                  </a:lnTo>
                  <a:lnTo>
                    <a:pt x="320" y="250"/>
                  </a:lnTo>
                  <a:lnTo>
                    <a:pt x="348" y="257"/>
                  </a:lnTo>
                  <a:lnTo>
                    <a:pt x="355" y="292"/>
                  </a:lnTo>
                  <a:lnTo>
                    <a:pt x="362" y="236"/>
                  </a:lnTo>
                  <a:lnTo>
                    <a:pt x="418" y="250"/>
                  </a:lnTo>
                  <a:lnTo>
                    <a:pt x="432" y="313"/>
                  </a:lnTo>
                  <a:lnTo>
                    <a:pt x="466" y="348"/>
                  </a:lnTo>
                  <a:lnTo>
                    <a:pt x="487" y="348"/>
                  </a:lnTo>
                  <a:lnTo>
                    <a:pt x="515" y="348"/>
                  </a:lnTo>
                  <a:lnTo>
                    <a:pt x="529" y="348"/>
                  </a:lnTo>
                  <a:lnTo>
                    <a:pt x="543" y="299"/>
                  </a:lnTo>
                  <a:lnTo>
                    <a:pt x="494" y="264"/>
                  </a:lnTo>
                  <a:lnTo>
                    <a:pt x="494" y="250"/>
                  </a:lnTo>
                  <a:lnTo>
                    <a:pt x="466" y="236"/>
                  </a:lnTo>
                  <a:lnTo>
                    <a:pt x="494" y="230"/>
                  </a:lnTo>
                  <a:lnTo>
                    <a:pt x="522" y="216"/>
                  </a:lnTo>
                  <a:lnTo>
                    <a:pt x="550" y="195"/>
                  </a:lnTo>
                  <a:lnTo>
                    <a:pt x="550" y="160"/>
                  </a:lnTo>
                  <a:lnTo>
                    <a:pt x="543" y="97"/>
                  </a:lnTo>
                  <a:lnTo>
                    <a:pt x="550" y="49"/>
                  </a:lnTo>
                  <a:lnTo>
                    <a:pt x="522" y="7"/>
                  </a:lnTo>
                  <a:lnTo>
                    <a:pt x="494" y="0"/>
                  </a:lnTo>
                  <a:lnTo>
                    <a:pt x="466" y="56"/>
                  </a:lnTo>
                  <a:lnTo>
                    <a:pt x="459" y="84"/>
                  </a:lnTo>
                  <a:lnTo>
                    <a:pt x="425" y="118"/>
                  </a:lnTo>
                  <a:lnTo>
                    <a:pt x="425" y="132"/>
                  </a:lnTo>
                </a:path>
              </a:pathLst>
            </a:custGeom>
            <a:grpFill/>
            <a:ln w="9525" cap="flat" cmpd="sng">
              <a:solidFill>
                <a:schemeClr val="bg1"/>
              </a:solid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79" name="Freeform 76">
              <a:extLst>
                <a:ext uri="{FF2B5EF4-FFF2-40B4-BE49-F238E27FC236}">
                  <a16:creationId xmlns:a16="http://schemas.microsoft.com/office/drawing/2014/main" id="{D069834D-DAAD-42F4-8C1F-B4C44B23697C}"/>
                </a:ext>
              </a:extLst>
            </p:cNvPr>
            <p:cNvSpPr>
              <a:spLocks noChangeArrowheads="1"/>
            </p:cNvSpPr>
            <p:nvPr/>
          </p:nvSpPr>
          <p:spPr bwMode="auto">
            <a:xfrm>
              <a:off x="16331890" y="7368215"/>
              <a:ext cx="53848" cy="72493"/>
            </a:xfrm>
            <a:custGeom>
              <a:avLst/>
              <a:gdLst>
                <a:gd name="T0" fmla="*/ 56 w 113"/>
                <a:gd name="T1" fmla="*/ 14 h 154"/>
                <a:gd name="T2" fmla="*/ 84 w 113"/>
                <a:gd name="T3" fmla="*/ 42 h 154"/>
                <a:gd name="T4" fmla="*/ 98 w 113"/>
                <a:gd name="T5" fmla="*/ 77 h 154"/>
                <a:gd name="T6" fmla="*/ 112 w 113"/>
                <a:gd name="T7" fmla="*/ 112 h 154"/>
                <a:gd name="T8" fmla="*/ 91 w 113"/>
                <a:gd name="T9" fmla="*/ 153 h 154"/>
                <a:gd name="T10" fmla="*/ 77 w 113"/>
                <a:gd name="T11" fmla="*/ 146 h 154"/>
                <a:gd name="T12" fmla="*/ 28 w 113"/>
                <a:gd name="T13" fmla="*/ 91 h 154"/>
                <a:gd name="T14" fmla="*/ 14 w 113"/>
                <a:gd name="T15" fmla="*/ 77 h 154"/>
                <a:gd name="T16" fmla="*/ 0 w 113"/>
                <a:gd name="T17" fmla="*/ 49 h 154"/>
                <a:gd name="T18" fmla="*/ 21 w 113"/>
                <a:gd name="T19" fmla="*/ 49 h 154"/>
                <a:gd name="T20" fmla="*/ 28 w 113"/>
                <a:gd name="T21" fmla="*/ 0 h 154"/>
                <a:gd name="T22" fmla="*/ 56 w 113"/>
                <a:gd name="T23" fmla="*/ 1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3" h="154">
                  <a:moveTo>
                    <a:pt x="56" y="14"/>
                  </a:moveTo>
                  <a:lnTo>
                    <a:pt x="84" y="42"/>
                  </a:lnTo>
                  <a:lnTo>
                    <a:pt x="98" y="77"/>
                  </a:lnTo>
                  <a:lnTo>
                    <a:pt x="112" y="112"/>
                  </a:lnTo>
                  <a:lnTo>
                    <a:pt x="91" y="153"/>
                  </a:lnTo>
                  <a:lnTo>
                    <a:pt x="77" y="146"/>
                  </a:lnTo>
                  <a:lnTo>
                    <a:pt x="28" y="91"/>
                  </a:lnTo>
                  <a:lnTo>
                    <a:pt x="14" y="77"/>
                  </a:lnTo>
                  <a:lnTo>
                    <a:pt x="0" y="49"/>
                  </a:lnTo>
                  <a:lnTo>
                    <a:pt x="21" y="49"/>
                  </a:lnTo>
                  <a:lnTo>
                    <a:pt x="28" y="0"/>
                  </a:lnTo>
                  <a:lnTo>
                    <a:pt x="56" y="14"/>
                  </a:lnTo>
                </a:path>
              </a:pathLst>
            </a:custGeom>
            <a:grpFill/>
            <a:ln w="9525" cap="flat" cmpd="sng">
              <a:solidFill>
                <a:schemeClr val="bg1"/>
              </a:solid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80" name="Freeform 77">
              <a:extLst>
                <a:ext uri="{FF2B5EF4-FFF2-40B4-BE49-F238E27FC236}">
                  <a16:creationId xmlns:a16="http://schemas.microsoft.com/office/drawing/2014/main" id="{2F60EF7A-F427-4473-B97B-00BE8C15541C}"/>
                </a:ext>
              </a:extLst>
            </p:cNvPr>
            <p:cNvSpPr>
              <a:spLocks noChangeArrowheads="1"/>
            </p:cNvSpPr>
            <p:nvPr/>
          </p:nvSpPr>
          <p:spPr bwMode="auto">
            <a:xfrm>
              <a:off x="15505518" y="6670205"/>
              <a:ext cx="37280" cy="66280"/>
            </a:xfrm>
            <a:custGeom>
              <a:avLst/>
              <a:gdLst>
                <a:gd name="T0" fmla="*/ 56 w 78"/>
                <a:gd name="T1" fmla="*/ 0 h 140"/>
                <a:gd name="T2" fmla="*/ 77 w 78"/>
                <a:gd name="T3" fmla="*/ 41 h 140"/>
                <a:gd name="T4" fmla="*/ 77 w 78"/>
                <a:gd name="T5" fmla="*/ 69 h 140"/>
                <a:gd name="T6" fmla="*/ 70 w 78"/>
                <a:gd name="T7" fmla="*/ 90 h 140"/>
                <a:gd name="T8" fmla="*/ 21 w 78"/>
                <a:gd name="T9" fmla="*/ 139 h 140"/>
                <a:gd name="T10" fmla="*/ 0 w 78"/>
                <a:gd name="T11" fmla="*/ 90 h 140"/>
                <a:gd name="T12" fmla="*/ 21 w 78"/>
                <a:gd name="T13" fmla="*/ 7 h 140"/>
                <a:gd name="T14" fmla="*/ 42 w 78"/>
                <a:gd name="T15" fmla="*/ 0 h 140"/>
                <a:gd name="T16" fmla="*/ 56 w 78"/>
                <a:gd name="T17" fmla="*/ 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 h="140">
                  <a:moveTo>
                    <a:pt x="56" y="0"/>
                  </a:moveTo>
                  <a:lnTo>
                    <a:pt x="77" y="41"/>
                  </a:lnTo>
                  <a:lnTo>
                    <a:pt x="77" y="69"/>
                  </a:lnTo>
                  <a:lnTo>
                    <a:pt x="70" y="90"/>
                  </a:lnTo>
                  <a:lnTo>
                    <a:pt x="21" y="139"/>
                  </a:lnTo>
                  <a:lnTo>
                    <a:pt x="0" y="90"/>
                  </a:lnTo>
                  <a:lnTo>
                    <a:pt x="21" y="7"/>
                  </a:lnTo>
                  <a:lnTo>
                    <a:pt x="42" y="0"/>
                  </a:lnTo>
                  <a:lnTo>
                    <a:pt x="56" y="0"/>
                  </a:lnTo>
                </a:path>
              </a:pathLst>
            </a:custGeom>
            <a:grpFill/>
            <a:ln w="9525" cap="flat" cmpd="sng">
              <a:solidFill>
                <a:schemeClr val="bg1"/>
              </a:solid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81" name="Freeform 78">
              <a:extLst>
                <a:ext uri="{FF2B5EF4-FFF2-40B4-BE49-F238E27FC236}">
                  <a16:creationId xmlns:a16="http://schemas.microsoft.com/office/drawing/2014/main" id="{34C141B7-0629-4921-9403-2C85C7CD4BDA}"/>
                </a:ext>
              </a:extLst>
            </p:cNvPr>
            <p:cNvSpPr>
              <a:spLocks noChangeArrowheads="1"/>
            </p:cNvSpPr>
            <p:nvPr/>
          </p:nvSpPr>
          <p:spPr bwMode="auto">
            <a:xfrm>
              <a:off x="15698131" y="7134165"/>
              <a:ext cx="43493" cy="45567"/>
            </a:xfrm>
            <a:custGeom>
              <a:avLst/>
              <a:gdLst>
                <a:gd name="T0" fmla="*/ 21 w 91"/>
                <a:gd name="T1" fmla="*/ 62 h 98"/>
                <a:gd name="T2" fmla="*/ 56 w 91"/>
                <a:gd name="T3" fmla="*/ 41 h 98"/>
                <a:gd name="T4" fmla="*/ 63 w 91"/>
                <a:gd name="T5" fmla="*/ 0 h 98"/>
                <a:gd name="T6" fmla="*/ 69 w 91"/>
                <a:gd name="T7" fmla="*/ 34 h 98"/>
                <a:gd name="T8" fmla="*/ 90 w 91"/>
                <a:gd name="T9" fmla="*/ 69 h 98"/>
                <a:gd name="T10" fmla="*/ 90 w 91"/>
                <a:gd name="T11" fmla="*/ 90 h 98"/>
                <a:gd name="T12" fmla="*/ 63 w 91"/>
                <a:gd name="T13" fmla="*/ 97 h 98"/>
                <a:gd name="T14" fmla="*/ 0 w 91"/>
                <a:gd name="T15" fmla="*/ 83 h 98"/>
                <a:gd name="T16" fmla="*/ 21 w 91"/>
                <a:gd name="T17" fmla="*/ 62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1" h="98">
                  <a:moveTo>
                    <a:pt x="21" y="62"/>
                  </a:moveTo>
                  <a:lnTo>
                    <a:pt x="56" y="41"/>
                  </a:lnTo>
                  <a:lnTo>
                    <a:pt x="63" y="0"/>
                  </a:lnTo>
                  <a:lnTo>
                    <a:pt x="69" y="34"/>
                  </a:lnTo>
                  <a:lnTo>
                    <a:pt x="90" y="69"/>
                  </a:lnTo>
                  <a:lnTo>
                    <a:pt x="90" y="90"/>
                  </a:lnTo>
                  <a:lnTo>
                    <a:pt x="63" y="97"/>
                  </a:lnTo>
                  <a:lnTo>
                    <a:pt x="0" y="83"/>
                  </a:lnTo>
                  <a:lnTo>
                    <a:pt x="21" y="62"/>
                  </a:lnTo>
                </a:path>
              </a:pathLst>
            </a:custGeom>
            <a:grpFill/>
            <a:ln w="9525" cap="flat" cmpd="sng">
              <a:solidFill>
                <a:schemeClr val="bg1"/>
              </a:solid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82" name="Freeform 79">
              <a:extLst>
                <a:ext uri="{FF2B5EF4-FFF2-40B4-BE49-F238E27FC236}">
                  <a16:creationId xmlns:a16="http://schemas.microsoft.com/office/drawing/2014/main" id="{970A1C69-723D-4BF3-8CCD-39C1F2EA4879}"/>
                </a:ext>
              </a:extLst>
            </p:cNvPr>
            <p:cNvSpPr>
              <a:spLocks noChangeArrowheads="1"/>
            </p:cNvSpPr>
            <p:nvPr/>
          </p:nvSpPr>
          <p:spPr bwMode="auto">
            <a:xfrm>
              <a:off x="15890743" y="7407568"/>
              <a:ext cx="22783" cy="33140"/>
            </a:xfrm>
            <a:custGeom>
              <a:avLst/>
              <a:gdLst>
                <a:gd name="T0" fmla="*/ 42 w 50"/>
                <a:gd name="T1" fmla="*/ 69 h 70"/>
                <a:gd name="T2" fmla="*/ 49 w 50"/>
                <a:gd name="T3" fmla="*/ 69 h 70"/>
                <a:gd name="T4" fmla="*/ 49 w 50"/>
                <a:gd name="T5" fmla="*/ 28 h 70"/>
                <a:gd name="T6" fmla="*/ 35 w 50"/>
                <a:gd name="T7" fmla="*/ 0 h 70"/>
                <a:gd name="T8" fmla="*/ 7 w 50"/>
                <a:gd name="T9" fmla="*/ 7 h 70"/>
                <a:gd name="T10" fmla="*/ 0 w 50"/>
                <a:gd name="T11" fmla="*/ 69 h 70"/>
                <a:gd name="T12" fmla="*/ 42 w 50"/>
                <a:gd name="T13" fmla="*/ 69 h 70"/>
              </a:gdLst>
              <a:ahLst/>
              <a:cxnLst>
                <a:cxn ang="0">
                  <a:pos x="T0" y="T1"/>
                </a:cxn>
                <a:cxn ang="0">
                  <a:pos x="T2" y="T3"/>
                </a:cxn>
                <a:cxn ang="0">
                  <a:pos x="T4" y="T5"/>
                </a:cxn>
                <a:cxn ang="0">
                  <a:pos x="T6" y="T7"/>
                </a:cxn>
                <a:cxn ang="0">
                  <a:pos x="T8" y="T9"/>
                </a:cxn>
                <a:cxn ang="0">
                  <a:pos x="T10" y="T11"/>
                </a:cxn>
                <a:cxn ang="0">
                  <a:pos x="T12" y="T13"/>
                </a:cxn>
              </a:cxnLst>
              <a:rect l="0" t="0" r="r" b="b"/>
              <a:pathLst>
                <a:path w="50" h="70">
                  <a:moveTo>
                    <a:pt x="42" y="69"/>
                  </a:moveTo>
                  <a:lnTo>
                    <a:pt x="49" y="69"/>
                  </a:lnTo>
                  <a:lnTo>
                    <a:pt x="49" y="28"/>
                  </a:lnTo>
                  <a:lnTo>
                    <a:pt x="35" y="0"/>
                  </a:lnTo>
                  <a:lnTo>
                    <a:pt x="7" y="7"/>
                  </a:lnTo>
                  <a:lnTo>
                    <a:pt x="0" y="69"/>
                  </a:lnTo>
                  <a:lnTo>
                    <a:pt x="42" y="69"/>
                  </a:lnTo>
                </a:path>
              </a:pathLst>
            </a:custGeom>
            <a:grpFill/>
            <a:ln w="9525" cap="flat" cmpd="sng">
              <a:solidFill>
                <a:schemeClr val="bg1"/>
              </a:solid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83" name="Freeform 80">
              <a:extLst>
                <a:ext uri="{FF2B5EF4-FFF2-40B4-BE49-F238E27FC236}">
                  <a16:creationId xmlns:a16="http://schemas.microsoft.com/office/drawing/2014/main" id="{3EC78F2C-BAC2-4BA2-B09D-AFFEF0524766}"/>
                </a:ext>
              </a:extLst>
            </p:cNvPr>
            <p:cNvSpPr>
              <a:spLocks noChangeArrowheads="1"/>
            </p:cNvSpPr>
            <p:nvPr/>
          </p:nvSpPr>
          <p:spPr bwMode="auto">
            <a:xfrm>
              <a:off x="16512076" y="7498704"/>
              <a:ext cx="14498" cy="22784"/>
            </a:xfrm>
            <a:custGeom>
              <a:avLst/>
              <a:gdLst>
                <a:gd name="T0" fmla="*/ 21 w 29"/>
                <a:gd name="T1" fmla="*/ 0 h 49"/>
                <a:gd name="T2" fmla="*/ 28 w 29"/>
                <a:gd name="T3" fmla="*/ 7 h 49"/>
                <a:gd name="T4" fmla="*/ 7 w 29"/>
                <a:gd name="T5" fmla="*/ 27 h 49"/>
                <a:gd name="T6" fmla="*/ 21 w 29"/>
                <a:gd name="T7" fmla="*/ 34 h 49"/>
                <a:gd name="T8" fmla="*/ 7 w 29"/>
                <a:gd name="T9" fmla="*/ 48 h 49"/>
                <a:gd name="T10" fmla="*/ 0 w 29"/>
                <a:gd name="T11" fmla="*/ 27 h 49"/>
                <a:gd name="T12" fmla="*/ 21 w 29"/>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9" h="49">
                  <a:moveTo>
                    <a:pt x="21" y="0"/>
                  </a:moveTo>
                  <a:lnTo>
                    <a:pt x="28" y="7"/>
                  </a:lnTo>
                  <a:lnTo>
                    <a:pt x="7" y="27"/>
                  </a:lnTo>
                  <a:lnTo>
                    <a:pt x="21" y="34"/>
                  </a:lnTo>
                  <a:lnTo>
                    <a:pt x="7" y="48"/>
                  </a:lnTo>
                  <a:lnTo>
                    <a:pt x="0" y="27"/>
                  </a:lnTo>
                  <a:lnTo>
                    <a:pt x="21" y="0"/>
                  </a:lnTo>
                </a:path>
              </a:pathLst>
            </a:custGeom>
            <a:grpFill/>
            <a:ln w="9525" cap="flat" cmpd="sng">
              <a:solidFill>
                <a:schemeClr val="bg1"/>
              </a:solid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84" name="Freeform 81">
              <a:extLst>
                <a:ext uri="{FF2B5EF4-FFF2-40B4-BE49-F238E27FC236}">
                  <a16:creationId xmlns:a16="http://schemas.microsoft.com/office/drawing/2014/main" id="{7AA85553-3F56-4F19-8835-F2C568518B26}"/>
                </a:ext>
              </a:extLst>
            </p:cNvPr>
            <p:cNvSpPr>
              <a:spLocks noChangeArrowheads="1"/>
            </p:cNvSpPr>
            <p:nvPr/>
          </p:nvSpPr>
          <p:spPr bwMode="auto">
            <a:xfrm>
              <a:off x="15575935" y="6287025"/>
              <a:ext cx="14498" cy="16570"/>
            </a:xfrm>
            <a:custGeom>
              <a:avLst/>
              <a:gdLst>
                <a:gd name="T0" fmla="*/ 0 w 29"/>
                <a:gd name="T1" fmla="*/ 21 h 36"/>
                <a:gd name="T2" fmla="*/ 14 w 29"/>
                <a:gd name="T3" fmla="*/ 35 h 36"/>
                <a:gd name="T4" fmla="*/ 28 w 29"/>
                <a:gd name="T5" fmla="*/ 7 h 36"/>
                <a:gd name="T6" fmla="*/ 14 w 29"/>
                <a:gd name="T7" fmla="*/ 0 h 36"/>
                <a:gd name="T8" fmla="*/ 0 w 29"/>
                <a:gd name="T9" fmla="*/ 21 h 36"/>
              </a:gdLst>
              <a:ahLst/>
              <a:cxnLst>
                <a:cxn ang="0">
                  <a:pos x="T0" y="T1"/>
                </a:cxn>
                <a:cxn ang="0">
                  <a:pos x="T2" y="T3"/>
                </a:cxn>
                <a:cxn ang="0">
                  <a:pos x="T4" y="T5"/>
                </a:cxn>
                <a:cxn ang="0">
                  <a:pos x="T6" y="T7"/>
                </a:cxn>
                <a:cxn ang="0">
                  <a:pos x="T8" y="T9"/>
                </a:cxn>
              </a:cxnLst>
              <a:rect l="0" t="0" r="r" b="b"/>
              <a:pathLst>
                <a:path w="29" h="36">
                  <a:moveTo>
                    <a:pt x="0" y="21"/>
                  </a:moveTo>
                  <a:lnTo>
                    <a:pt x="14" y="35"/>
                  </a:lnTo>
                  <a:lnTo>
                    <a:pt x="28" y="7"/>
                  </a:lnTo>
                  <a:lnTo>
                    <a:pt x="14" y="0"/>
                  </a:lnTo>
                  <a:lnTo>
                    <a:pt x="0" y="21"/>
                  </a:lnTo>
                </a:path>
              </a:pathLst>
            </a:custGeom>
            <a:grpFill/>
            <a:ln w="9525" cap="flat" cmpd="sng">
              <a:solidFill>
                <a:schemeClr val="bg1"/>
              </a:solid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85" name="Freeform 82">
              <a:extLst>
                <a:ext uri="{FF2B5EF4-FFF2-40B4-BE49-F238E27FC236}">
                  <a16:creationId xmlns:a16="http://schemas.microsoft.com/office/drawing/2014/main" id="{9C770F91-A390-4A76-B602-D2245C825778}"/>
                </a:ext>
              </a:extLst>
            </p:cNvPr>
            <p:cNvSpPr>
              <a:spLocks noChangeArrowheads="1"/>
            </p:cNvSpPr>
            <p:nvPr/>
          </p:nvSpPr>
          <p:spPr bwMode="auto">
            <a:xfrm>
              <a:off x="16083356" y="6881473"/>
              <a:ext cx="6213" cy="6214"/>
            </a:xfrm>
            <a:custGeom>
              <a:avLst/>
              <a:gdLst>
                <a:gd name="T0" fmla="*/ 0 w 15"/>
                <a:gd name="T1" fmla="*/ 7 h 15"/>
                <a:gd name="T2" fmla="*/ 0 w 15"/>
                <a:gd name="T3" fmla="*/ 14 h 15"/>
                <a:gd name="T4" fmla="*/ 14 w 15"/>
                <a:gd name="T5" fmla="*/ 0 h 15"/>
                <a:gd name="T6" fmla="*/ 0 w 15"/>
                <a:gd name="T7" fmla="*/ 0 h 15"/>
                <a:gd name="T8" fmla="*/ 0 w 15"/>
                <a:gd name="T9" fmla="*/ 7 h 15"/>
              </a:gdLst>
              <a:ahLst/>
              <a:cxnLst>
                <a:cxn ang="0">
                  <a:pos x="T0" y="T1"/>
                </a:cxn>
                <a:cxn ang="0">
                  <a:pos x="T2" y="T3"/>
                </a:cxn>
                <a:cxn ang="0">
                  <a:pos x="T4" y="T5"/>
                </a:cxn>
                <a:cxn ang="0">
                  <a:pos x="T6" y="T7"/>
                </a:cxn>
                <a:cxn ang="0">
                  <a:pos x="T8" y="T9"/>
                </a:cxn>
              </a:cxnLst>
              <a:rect l="0" t="0" r="r" b="b"/>
              <a:pathLst>
                <a:path w="15" h="15">
                  <a:moveTo>
                    <a:pt x="0" y="7"/>
                  </a:moveTo>
                  <a:lnTo>
                    <a:pt x="0" y="14"/>
                  </a:lnTo>
                  <a:lnTo>
                    <a:pt x="14" y="0"/>
                  </a:lnTo>
                  <a:lnTo>
                    <a:pt x="0" y="0"/>
                  </a:lnTo>
                  <a:lnTo>
                    <a:pt x="0" y="7"/>
                  </a:lnTo>
                </a:path>
              </a:pathLst>
            </a:custGeom>
            <a:grpFill/>
            <a:ln w="9525" cap="flat" cmpd="sng">
              <a:solidFill>
                <a:schemeClr val="bg1"/>
              </a:solid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86" name="Freeform 83">
              <a:extLst>
                <a:ext uri="{FF2B5EF4-FFF2-40B4-BE49-F238E27FC236}">
                  <a16:creationId xmlns:a16="http://schemas.microsoft.com/office/drawing/2014/main" id="{DE87E32D-6394-4EBF-95BD-D1AE41F4A08B}"/>
                </a:ext>
              </a:extLst>
            </p:cNvPr>
            <p:cNvSpPr>
              <a:spLocks noChangeArrowheads="1"/>
            </p:cNvSpPr>
            <p:nvPr/>
          </p:nvSpPr>
          <p:spPr bwMode="auto">
            <a:xfrm>
              <a:off x="15538655" y="5655295"/>
              <a:ext cx="14498" cy="16570"/>
            </a:xfrm>
            <a:custGeom>
              <a:avLst/>
              <a:gdLst>
                <a:gd name="T0" fmla="*/ 14 w 29"/>
                <a:gd name="T1" fmla="*/ 0 h 36"/>
                <a:gd name="T2" fmla="*/ 28 w 29"/>
                <a:gd name="T3" fmla="*/ 14 h 36"/>
                <a:gd name="T4" fmla="*/ 7 w 29"/>
                <a:gd name="T5" fmla="*/ 35 h 36"/>
                <a:gd name="T6" fmla="*/ 0 w 29"/>
                <a:gd name="T7" fmla="*/ 14 h 36"/>
                <a:gd name="T8" fmla="*/ 14 w 29"/>
                <a:gd name="T9" fmla="*/ 0 h 36"/>
              </a:gdLst>
              <a:ahLst/>
              <a:cxnLst>
                <a:cxn ang="0">
                  <a:pos x="T0" y="T1"/>
                </a:cxn>
                <a:cxn ang="0">
                  <a:pos x="T2" y="T3"/>
                </a:cxn>
                <a:cxn ang="0">
                  <a:pos x="T4" y="T5"/>
                </a:cxn>
                <a:cxn ang="0">
                  <a:pos x="T6" y="T7"/>
                </a:cxn>
                <a:cxn ang="0">
                  <a:pos x="T8" y="T9"/>
                </a:cxn>
              </a:cxnLst>
              <a:rect l="0" t="0" r="r" b="b"/>
              <a:pathLst>
                <a:path w="29" h="36">
                  <a:moveTo>
                    <a:pt x="14" y="0"/>
                  </a:moveTo>
                  <a:lnTo>
                    <a:pt x="28" y="14"/>
                  </a:lnTo>
                  <a:lnTo>
                    <a:pt x="7" y="35"/>
                  </a:lnTo>
                  <a:lnTo>
                    <a:pt x="0" y="14"/>
                  </a:lnTo>
                  <a:lnTo>
                    <a:pt x="14" y="0"/>
                  </a:lnTo>
                </a:path>
              </a:pathLst>
            </a:custGeom>
            <a:grpFill/>
            <a:ln w="9525" cap="flat" cmpd="sng">
              <a:solidFill>
                <a:schemeClr val="bg1"/>
              </a:solid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87" name="Freeform 84">
              <a:extLst>
                <a:ext uri="{FF2B5EF4-FFF2-40B4-BE49-F238E27FC236}">
                  <a16:creationId xmlns:a16="http://schemas.microsoft.com/office/drawing/2014/main" id="{E5AD343E-7C2F-4B48-ACF9-199E5F71394A}"/>
                </a:ext>
              </a:extLst>
            </p:cNvPr>
            <p:cNvSpPr>
              <a:spLocks noChangeArrowheads="1"/>
            </p:cNvSpPr>
            <p:nvPr/>
          </p:nvSpPr>
          <p:spPr bwMode="auto">
            <a:xfrm>
              <a:off x="17344662" y="5903844"/>
              <a:ext cx="55920" cy="43497"/>
            </a:xfrm>
            <a:custGeom>
              <a:avLst/>
              <a:gdLst>
                <a:gd name="T0" fmla="*/ 35 w 119"/>
                <a:gd name="T1" fmla="*/ 90 h 91"/>
                <a:gd name="T2" fmla="*/ 90 w 119"/>
                <a:gd name="T3" fmla="*/ 56 h 91"/>
                <a:gd name="T4" fmla="*/ 118 w 119"/>
                <a:gd name="T5" fmla="*/ 49 h 91"/>
                <a:gd name="T6" fmla="*/ 84 w 119"/>
                <a:gd name="T7" fmla="*/ 0 h 91"/>
                <a:gd name="T8" fmla="*/ 70 w 119"/>
                <a:gd name="T9" fmla="*/ 14 h 91"/>
                <a:gd name="T10" fmla="*/ 0 w 119"/>
                <a:gd name="T11" fmla="*/ 0 h 91"/>
                <a:gd name="T12" fmla="*/ 0 w 119"/>
                <a:gd name="T13" fmla="*/ 28 h 91"/>
                <a:gd name="T14" fmla="*/ 14 w 119"/>
                <a:gd name="T15" fmla="*/ 62 h 91"/>
                <a:gd name="T16" fmla="*/ 35 w 119"/>
                <a:gd name="T17" fmla="*/ 9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9" h="91">
                  <a:moveTo>
                    <a:pt x="35" y="90"/>
                  </a:moveTo>
                  <a:lnTo>
                    <a:pt x="90" y="56"/>
                  </a:lnTo>
                  <a:lnTo>
                    <a:pt x="118" y="49"/>
                  </a:lnTo>
                  <a:lnTo>
                    <a:pt x="84" y="0"/>
                  </a:lnTo>
                  <a:lnTo>
                    <a:pt x="70" y="14"/>
                  </a:lnTo>
                  <a:lnTo>
                    <a:pt x="0" y="0"/>
                  </a:lnTo>
                  <a:lnTo>
                    <a:pt x="0" y="28"/>
                  </a:lnTo>
                  <a:lnTo>
                    <a:pt x="14" y="62"/>
                  </a:lnTo>
                  <a:lnTo>
                    <a:pt x="35" y="90"/>
                  </a:lnTo>
                </a:path>
              </a:pathLst>
            </a:custGeom>
            <a:grpFill/>
            <a:ln w="9525" cap="flat" cmpd="sng">
              <a:solidFill>
                <a:schemeClr val="bg1"/>
              </a:solid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88" name="Freeform 85">
              <a:extLst>
                <a:ext uri="{FF2B5EF4-FFF2-40B4-BE49-F238E27FC236}">
                  <a16:creationId xmlns:a16="http://schemas.microsoft.com/office/drawing/2014/main" id="{530B3860-5D6D-41D4-931F-EDC137F3BBA0}"/>
                </a:ext>
              </a:extLst>
            </p:cNvPr>
            <p:cNvSpPr>
              <a:spLocks noChangeArrowheads="1"/>
            </p:cNvSpPr>
            <p:nvPr/>
          </p:nvSpPr>
          <p:spPr bwMode="auto">
            <a:xfrm>
              <a:off x="17526919" y="6110970"/>
              <a:ext cx="16569" cy="20712"/>
            </a:xfrm>
            <a:custGeom>
              <a:avLst/>
              <a:gdLst>
                <a:gd name="T0" fmla="*/ 34 w 35"/>
                <a:gd name="T1" fmla="*/ 7 h 43"/>
                <a:gd name="T2" fmla="*/ 34 w 35"/>
                <a:gd name="T3" fmla="*/ 42 h 43"/>
                <a:gd name="T4" fmla="*/ 0 w 35"/>
                <a:gd name="T5" fmla="*/ 14 h 43"/>
                <a:gd name="T6" fmla="*/ 21 w 35"/>
                <a:gd name="T7" fmla="*/ 0 h 43"/>
                <a:gd name="T8" fmla="*/ 34 w 35"/>
                <a:gd name="T9" fmla="*/ 7 h 43"/>
              </a:gdLst>
              <a:ahLst/>
              <a:cxnLst>
                <a:cxn ang="0">
                  <a:pos x="T0" y="T1"/>
                </a:cxn>
                <a:cxn ang="0">
                  <a:pos x="T2" y="T3"/>
                </a:cxn>
                <a:cxn ang="0">
                  <a:pos x="T4" y="T5"/>
                </a:cxn>
                <a:cxn ang="0">
                  <a:pos x="T6" y="T7"/>
                </a:cxn>
                <a:cxn ang="0">
                  <a:pos x="T8" y="T9"/>
                </a:cxn>
              </a:cxnLst>
              <a:rect l="0" t="0" r="r" b="b"/>
              <a:pathLst>
                <a:path w="35" h="43">
                  <a:moveTo>
                    <a:pt x="34" y="7"/>
                  </a:moveTo>
                  <a:lnTo>
                    <a:pt x="34" y="42"/>
                  </a:lnTo>
                  <a:lnTo>
                    <a:pt x="0" y="14"/>
                  </a:lnTo>
                  <a:lnTo>
                    <a:pt x="21" y="0"/>
                  </a:lnTo>
                  <a:lnTo>
                    <a:pt x="34" y="7"/>
                  </a:lnTo>
                </a:path>
              </a:pathLst>
            </a:custGeom>
            <a:grpFill/>
            <a:ln w="9525" cap="flat" cmpd="sng">
              <a:solidFill>
                <a:schemeClr val="bg1"/>
              </a:solid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89" name="Freeform 86">
              <a:extLst>
                <a:ext uri="{FF2B5EF4-FFF2-40B4-BE49-F238E27FC236}">
                  <a16:creationId xmlns:a16="http://schemas.microsoft.com/office/drawing/2014/main" id="{A2D9CE46-E277-438D-8320-7BAFDE630253}"/>
                </a:ext>
              </a:extLst>
            </p:cNvPr>
            <p:cNvSpPr>
              <a:spLocks noChangeArrowheads="1"/>
            </p:cNvSpPr>
            <p:nvPr/>
          </p:nvSpPr>
          <p:spPr bwMode="auto">
            <a:xfrm>
              <a:off x="15114078" y="4986285"/>
              <a:ext cx="12426" cy="4142"/>
            </a:xfrm>
            <a:custGeom>
              <a:avLst/>
              <a:gdLst>
                <a:gd name="T0" fmla="*/ 0 w 28"/>
                <a:gd name="T1" fmla="*/ 7 h 8"/>
                <a:gd name="T2" fmla="*/ 27 w 28"/>
                <a:gd name="T3" fmla="*/ 0 h 8"/>
                <a:gd name="T4" fmla="*/ 7 w 28"/>
                <a:gd name="T5" fmla="*/ 0 h 8"/>
                <a:gd name="T6" fmla="*/ 0 w 28"/>
                <a:gd name="T7" fmla="*/ 7 h 8"/>
              </a:gdLst>
              <a:ahLst/>
              <a:cxnLst>
                <a:cxn ang="0">
                  <a:pos x="T0" y="T1"/>
                </a:cxn>
                <a:cxn ang="0">
                  <a:pos x="T2" y="T3"/>
                </a:cxn>
                <a:cxn ang="0">
                  <a:pos x="T4" y="T5"/>
                </a:cxn>
                <a:cxn ang="0">
                  <a:pos x="T6" y="T7"/>
                </a:cxn>
              </a:cxnLst>
              <a:rect l="0" t="0" r="r" b="b"/>
              <a:pathLst>
                <a:path w="28" h="8">
                  <a:moveTo>
                    <a:pt x="0" y="7"/>
                  </a:moveTo>
                  <a:lnTo>
                    <a:pt x="27" y="0"/>
                  </a:lnTo>
                  <a:lnTo>
                    <a:pt x="7" y="0"/>
                  </a:lnTo>
                  <a:lnTo>
                    <a:pt x="0" y="7"/>
                  </a:lnTo>
                </a:path>
              </a:pathLst>
            </a:custGeom>
            <a:grpFill/>
            <a:ln w="9525" cap="flat" cmpd="sng">
              <a:solidFill>
                <a:schemeClr val="bg1"/>
              </a:solid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90" name="Freeform 87">
              <a:extLst>
                <a:ext uri="{FF2B5EF4-FFF2-40B4-BE49-F238E27FC236}">
                  <a16:creationId xmlns:a16="http://schemas.microsoft.com/office/drawing/2014/main" id="{8AF259D3-EFB0-4164-94B4-57C85F0F3694}"/>
                </a:ext>
              </a:extLst>
            </p:cNvPr>
            <p:cNvSpPr>
              <a:spLocks noChangeArrowheads="1"/>
            </p:cNvSpPr>
            <p:nvPr/>
          </p:nvSpPr>
          <p:spPr bwMode="auto">
            <a:xfrm>
              <a:off x="15122363" y="4992498"/>
              <a:ext cx="4142" cy="6214"/>
            </a:xfrm>
            <a:custGeom>
              <a:avLst/>
              <a:gdLst>
                <a:gd name="T0" fmla="*/ 0 w 7"/>
                <a:gd name="T1" fmla="*/ 14 h 15"/>
                <a:gd name="T2" fmla="*/ 6 w 7"/>
                <a:gd name="T3" fmla="*/ 14 h 15"/>
                <a:gd name="T4" fmla="*/ 6 w 7"/>
                <a:gd name="T5" fmla="*/ 0 h 15"/>
                <a:gd name="T6" fmla="*/ 0 w 7"/>
                <a:gd name="T7" fmla="*/ 14 h 15"/>
              </a:gdLst>
              <a:ahLst/>
              <a:cxnLst>
                <a:cxn ang="0">
                  <a:pos x="T0" y="T1"/>
                </a:cxn>
                <a:cxn ang="0">
                  <a:pos x="T2" y="T3"/>
                </a:cxn>
                <a:cxn ang="0">
                  <a:pos x="T4" y="T5"/>
                </a:cxn>
                <a:cxn ang="0">
                  <a:pos x="T6" y="T7"/>
                </a:cxn>
              </a:cxnLst>
              <a:rect l="0" t="0" r="r" b="b"/>
              <a:pathLst>
                <a:path w="7" h="15">
                  <a:moveTo>
                    <a:pt x="0" y="14"/>
                  </a:moveTo>
                  <a:lnTo>
                    <a:pt x="6" y="14"/>
                  </a:lnTo>
                  <a:lnTo>
                    <a:pt x="6" y="0"/>
                  </a:lnTo>
                  <a:lnTo>
                    <a:pt x="0" y="14"/>
                  </a:lnTo>
                </a:path>
              </a:pathLst>
            </a:custGeom>
            <a:grpFill/>
            <a:ln w="9525" cap="flat" cmpd="sng">
              <a:solidFill>
                <a:schemeClr val="bg1"/>
              </a:solid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91" name="Freeform 88">
              <a:extLst>
                <a:ext uri="{FF2B5EF4-FFF2-40B4-BE49-F238E27FC236}">
                  <a16:creationId xmlns:a16="http://schemas.microsoft.com/office/drawing/2014/main" id="{4A44E4B9-B54C-49DE-BB46-EE865E7B59D1}"/>
                </a:ext>
              </a:extLst>
            </p:cNvPr>
            <p:cNvSpPr>
              <a:spLocks noChangeArrowheads="1"/>
            </p:cNvSpPr>
            <p:nvPr/>
          </p:nvSpPr>
          <p:spPr bwMode="auto">
            <a:xfrm>
              <a:off x="15114078" y="4986285"/>
              <a:ext cx="12426" cy="4142"/>
            </a:xfrm>
            <a:custGeom>
              <a:avLst/>
              <a:gdLst>
                <a:gd name="T0" fmla="*/ 0 w 28"/>
                <a:gd name="T1" fmla="*/ 7 h 8"/>
                <a:gd name="T2" fmla="*/ 27 w 28"/>
                <a:gd name="T3" fmla="*/ 0 h 8"/>
                <a:gd name="T4" fmla="*/ 7 w 28"/>
                <a:gd name="T5" fmla="*/ 0 h 8"/>
                <a:gd name="T6" fmla="*/ 0 w 28"/>
                <a:gd name="T7" fmla="*/ 7 h 8"/>
              </a:gdLst>
              <a:ahLst/>
              <a:cxnLst>
                <a:cxn ang="0">
                  <a:pos x="T0" y="T1"/>
                </a:cxn>
                <a:cxn ang="0">
                  <a:pos x="T2" y="T3"/>
                </a:cxn>
                <a:cxn ang="0">
                  <a:pos x="T4" y="T5"/>
                </a:cxn>
                <a:cxn ang="0">
                  <a:pos x="T6" y="T7"/>
                </a:cxn>
              </a:cxnLst>
              <a:rect l="0" t="0" r="r" b="b"/>
              <a:pathLst>
                <a:path w="28" h="8">
                  <a:moveTo>
                    <a:pt x="0" y="7"/>
                  </a:moveTo>
                  <a:lnTo>
                    <a:pt x="27" y="0"/>
                  </a:lnTo>
                  <a:lnTo>
                    <a:pt x="7" y="0"/>
                  </a:lnTo>
                  <a:lnTo>
                    <a:pt x="0" y="7"/>
                  </a:lnTo>
                </a:path>
              </a:pathLst>
            </a:custGeom>
            <a:grpFill/>
            <a:ln w="9525" cap="flat" cmpd="sng">
              <a:solidFill>
                <a:schemeClr val="bg1"/>
              </a:solid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92" name="Freeform 89">
              <a:extLst>
                <a:ext uri="{FF2B5EF4-FFF2-40B4-BE49-F238E27FC236}">
                  <a16:creationId xmlns:a16="http://schemas.microsoft.com/office/drawing/2014/main" id="{8C22E5A7-79A9-4632-B0F2-83AFF308919F}"/>
                </a:ext>
              </a:extLst>
            </p:cNvPr>
            <p:cNvSpPr>
              <a:spLocks noChangeArrowheads="1"/>
            </p:cNvSpPr>
            <p:nvPr/>
          </p:nvSpPr>
          <p:spPr bwMode="auto">
            <a:xfrm>
              <a:off x="15122363" y="4992498"/>
              <a:ext cx="4142" cy="6214"/>
            </a:xfrm>
            <a:custGeom>
              <a:avLst/>
              <a:gdLst>
                <a:gd name="T0" fmla="*/ 0 w 7"/>
                <a:gd name="T1" fmla="*/ 14 h 15"/>
                <a:gd name="T2" fmla="*/ 6 w 7"/>
                <a:gd name="T3" fmla="*/ 14 h 15"/>
                <a:gd name="T4" fmla="*/ 6 w 7"/>
                <a:gd name="T5" fmla="*/ 0 h 15"/>
                <a:gd name="T6" fmla="*/ 0 w 7"/>
                <a:gd name="T7" fmla="*/ 14 h 15"/>
              </a:gdLst>
              <a:ahLst/>
              <a:cxnLst>
                <a:cxn ang="0">
                  <a:pos x="T0" y="T1"/>
                </a:cxn>
                <a:cxn ang="0">
                  <a:pos x="T2" y="T3"/>
                </a:cxn>
                <a:cxn ang="0">
                  <a:pos x="T4" y="T5"/>
                </a:cxn>
                <a:cxn ang="0">
                  <a:pos x="T6" y="T7"/>
                </a:cxn>
              </a:cxnLst>
              <a:rect l="0" t="0" r="r" b="b"/>
              <a:pathLst>
                <a:path w="7" h="15">
                  <a:moveTo>
                    <a:pt x="0" y="14"/>
                  </a:moveTo>
                  <a:lnTo>
                    <a:pt x="6" y="14"/>
                  </a:lnTo>
                  <a:lnTo>
                    <a:pt x="6" y="0"/>
                  </a:lnTo>
                  <a:lnTo>
                    <a:pt x="0" y="14"/>
                  </a:lnTo>
                </a:path>
              </a:pathLst>
            </a:custGeom>
            <a:grpFill/>
            <a:ln w="9525" cap="flat" cmpd="sng">
              <a:solidFill>
                <a:schemeClr val="bg1"/>
              </a:solid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93" name="Freeform 90">
              <a:extLst>
                <a:ext uri="{FF2B5EF4-FFF2-40B4-BE49-F238E27FC236}">
                  <a16:creationId xmlns:a16="http://schemas.microsoft.com/office/drawing/2014/main" id="{7D60E017-25CC-4D9E-93B5-2F8A39F12D1A}"/>
                </a:ext>
              </a:extLst>
            </p:cNvPr>
            <p:cNvSpPr>
              <a:spLocks noChangeArrowheads="1"/>
            </p:cNvSpPr>
            <p:nvPr/>
          </p:nvSpPr>
          <p:spPr bwMode="auto">
            <a:xfrm>
              <a:off x="15043659" y="4538896"/>
              <a:ext cx="2748362" cy="1437444"/>
            </a:xfrm>
            <a:custGeom>
              <a:avLst/>
              <a:gdLst>
                <a:gd name="T0" fmla="*/ 3081 w 5850"/>
                <a:gd name="T1" fmla="*/ 390 h 3062"/>
                <a:gd name="T2" fmla="*/ 2782 w 5850"/>
                <a:gd name="T3" fmla="*/ 494 h 3062"/>
                <a:gd name="T4" fmla="*/ 2650 w 5850"/>
                <a:gd name="T5" fmla="*/ 445 h 3062"/>
                <a:gd name="T6" fmla="*/ 2462 w 5850"/>
                <a:gd name="T7" fmla="*/ 390 h 3062"/>
                <a:gd name="T8" fmla="*/ 2184 w 5850"/>
                <a:gd name="T9" fmla="*/ 494 h 3062"/>
                <a:gd name="T10" fmla="*/ 1843 w 5850"/>
                <a:gd name="T11" fmla="*/ 334 h 3062"/>
                <a:gd name="T12" fmla="*/ 1593 w 5850"/>
                <a:gd name="T13" fmla="*/ 209 h 3062"/>
                <a:gd name="T14" fmla="*/ 1384 w 5850"/>
                <a:gd name="T15" fmla="*/ 160 h 3062"/>
                <a:gd name="T16" fmla="*/ 1182 w 5850"/>
                <a:gd name="T17" fmla="*/ 84 h 3062"/>
                <a:gd name="T18" fmla="*/ 1064 w 5850"/>
                <a:gd name="T19" fmla="*/ 84 h 3062"/>
                <a:gd name="T20" fmla="*/ 904 w 5850"/>
                <a:gd name="T21" fmla="*/ 63 h 3062"/>
                <a:gd name="T22" fmla="*/ 709 w 5850"/>
                <a:gd name="T23" fmla="*/ 14 h 3062"/>
                <a:gd name="T24" fmla="*/ 577 w 5850"/>
                <a:gd name="T25" fmla="*/ 98 h 3062"/>
                <a:gd name="T26" fmla="*/ 306 w 5850"/>
                <a:gd name="T27" fmla="*/ 160 h 3062"/>
                <a:gd name="T28" fmla="*/ 208 w 5850"/>
                <a:gd name="T29" fmla="*/ 397 h 3062"/>
                <a:gd name="T30" fmla="*/ 132 w 5850"/>
                <a:gd name="T31" fmla="*/ 529 h 3062"/>
                <a:gd name="T32" fmla="*/ 271 w 5850"/>
                <a:gd name="T33" fmla="*/ 696 h 3062"/>
                <a:gd name="T34" fmla="*/ 180 w 5850"/>
                <a:gd name="T35" fmla="*/ 960 h 3062"/>
                <a:gd name="T36" fmla="*/ 7 w 5850"/>
                <a:gd name="T37" fmla="*/ 988 h 3062"/>
                <a:gd name="T38" fmla="*/ 139 w 5850"/>
                <a:gd name="T39" fmla="*/ 1155 h 3062"/>
                <a:gd name="T40" fmla="*/ 334 w 5850"/>
                <a:gd name="T41" fmla="*/ 1183 h 3062"/>
                <a:gd name="T42" fmla="*/ 473 w 5850"/>
                <a:gd name="T43" fmla="*/ 1294 h 3062"/>
                <a:gd name="T44" fmla="*/ 396 w 5850"/>
                <a:gd name="T45" fmla="*/ 1579 h 3062"/>
                <a:gd name="T46" fmla="*/ 667 w 5850"/>
                <a:gd name="T47" fmla="*/ 1530 h 3062"/>
                <a:gd name="T48" fmla="*/ 918 w 5850"/>
                <a:gd name="T49" fmla="*/ 1642 h 3062"/>
                <a:gd name="T50" fmla="*/ 1293 w 5850"/>
                <a:gd name="T51" fmla="*/ 1517 h 3062"/>
                <a:gd name="T52" fmla="*/ 1586 w 5850"/>
                <a:gd name="T53" fmla="*/ 1753 h 3062"/>
                <a:gd name="T54" fmla="*/ 1899 w 5850"/>
                <a:gd name="T55" fmla="*/ 1899 h 3062"/>
                <a:gd name="T56" fmla="*/ 2149 w 5850"/>
                <a:gd name="T57" fmla="*/ 2080 h 3062"/>
                <a:gd name="T58" fmla="*/ 2344 w 5850"/>
                <a:gd name="T59" fmla="*/ 2219 h 3062"/>
                <a:gd name="T60" fmla="*/ 2699 w 5850"/>
                <a:gd name="T61" fmla="*/ 2247 h 3062"/>
                <a:gd name="T62" fmla="*/ 2970 w 5850"/>
                <a:gd name="T63" fmla="*/ 2184 h 3062"/>
                <a:gd name="T64" fmla="*/ 3283 w 5850"/>
                <a:gd name="T65" fmla="*/ 2268 h 3062"/>
                <a:gd name="T66" fmla="*/ 3429 w 5850"/>
                <a:gd name="T67" fmla="*/ 2143 h 3062"/>
                <a:gd name="T68" fmla="*/ 3714 w 5850"/>
                <a:gd name="T69" fmla="*/ 2031 h 3062"/>
                <a:gd name="T70" fmla="*/ 3881 w 5850"/>
                <a:gd name="T71" fmla="*/ 2129 h 3062"/>
                <a:gd name="T72" fmla="*/ 4028 w 5850"/>
                <a:gd name="T73" fmla="*/ 2268 h 3062"/>
                <a:gd name="T74" fmla="*/ 4111 w 5850"/>
                <a:gd name="T75" fmla="*/ 2393 h 3062"/>
                <a:gd name="T76" fmla="*/ 4083 w 5850"/>
                <a:gd name="T77" fmla="*/ 2630 h 3062"/>
                <a:gd name="T78" fmla="*/ 4361 w 5850"/>
                <a:gd name="T79" fmla="*/ 2908 h 3062"/>
                <a:gd name="T80" fmla="*/ 4681 w 5850"/>
                <a:gd name="T81" fmla="*/ 3026 h 3062"/>
                <a:gd name="T82" fmla="*/ 4855 w 5850"/>
                <a:gd name="T83" fmla="*/ 2859 h 3062"/>
                <a:gd name="T84" fmla="*/ 4932 w 5850"/>
                <a:gd name="T85" fmla="*/ 2671 h 3062"/>
                <a:gd name="T86" fmla="*/ 5092 w 5850"/>
                <a:gd name="T87" fmla="*/ 2643 h 3062"/>
                <a:gd name="T88" fmla="*/ 5280 w 5850"/>
                <a:gd name="T89" fmla="*/ 2595 h 3062"/>
                <a:gd name="T90" fmla="*/ 5467 w 5850"/>
                <a:gd name="T91" fmla="*/ 2623 h 3062"/>
                <a:gd name="T92" fmla="*/ 5502 w 5850"/>
                <a:gd name="T93" fmla="*/ 2790 h 3062"/>
                <a:gd name="T94" fmla="*/ 5620 w 5850"/>
                <a:gd name="T95" fmla="*/ 2831 h 3062"/>
                <a:gd name="T96" fmla="*/ 5800 w 5850"/>
                <a:gd name="T97" fmla="*/ 2797 h 3062"/>
                <a:gd name="T98" fmla="*/ 5842 w 5850"/>
                <a:gd name="T99" fmla="*/ 2595 h 3062"/>
                <a:gd name="T100" fmla="*/ 5440 w 5850"/>
                <a:gd name="T101" fmla="*/ 2240 h 3062"/>
                <a:gd name="T102" fmla="*/ 5141 w 5850"/>
                <a:gd name="T103" fmla="*/ 1607 h 3062"/>
                <a:gd name="T104" fmla="*/ 5022 w 5850"/>
                <a:gd name="T105" fmla="*/ 828 h 3062"/>
                <a:gd name="T106" fmla="*/ 5182 w 5850"/>
                <a:gd name="T107" fmla="*/ 696 h 3062"/>
                <a:gd name="T108" fmla="*/ 5085 w 5850"/>
                <a:gd name="T109" fmla="*/ 536 h 3062"/>
                <a:gd name="T110" fmla="*/ 4987 w 5850"/>
                <a:gd name="T111" fmla="*/ 466 h 3062"/>
                <a:gd name="T112" fmla="*/ 4772 w 5850"/>
                <a:gd name="T113" fmla="*/ 362 h 3062"/>
                <a:gd name="T114" fmla="*/ 4493 w 5850"/>
                <a:gd name="T115" fmla="*/ 348 h 3062"/>
                <a:gd name="T116" fmla="*/ 4160 w 5850"/>
                <a:gd name="T117" fmla="*/ 459 h 3062"/>
                <a:gd name="T118" fmla="*/ 3721 w 5850"/>
                <a:gd name="T119" fmla="*/ 438 h 3062"/>
                <a:gd name="T120" fmla="*/ 3471 w 5850"/>
                <a:gd name="T121" fmla="*/ 390 h 30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850" h="3062">
                  <a:moveTo>
                    <a:pt x="3374" y="411"/>
                  </a:moveTo>
                  <a:lnTo>
                    <a:pt x="3318" y="431"/>
                  </a:lnTo>
                  <a:lnTo>
                    <a:pt x="3297" y="431"/>
                  </a:lnTo>
                  <a:lnTo>
                    <a:pt x="3227" y="431"/>
                  </a:lnTo>
                  <a:lnTo>
                    <a:pt x="3213" y="445"/>
                  </a:lnTo>
                  <a:lnTo>
                    <a:pt x="3165" y="411"/>
                  </a:lnTo>
                  <a:lnTo>
                    <a:pt x="3116" y="390"/>
                  </a:lnTo>
                  <a:lnTo>
                    <a:pt x="3081" y="390"/>
                  </a:lnTo>
                  <a:lnTo>
                    <a:pt x="3061" y="411"/>
                  </a:lnTo>
                  <a:lnTo>
                    <a:pt x="3012" y="404"/>
                  </a:lnTo>
                  <a:lnTo>
                    <a:pt x="2970" y="397"/>
                  </a:lnTo>
                  <a:lnTo>
                    <a:pt x="2928" y="431"/>
                  </a:lnTo>
                  <a:lnTo>
                    <a:pt x="2887" y="445"/>
                  </a:lnTo>
                  <a:lnTo>
                    <a:pt x="2880" y="466"/>
                  </a:lnTo>
                  <a:lnTo>
                    <a:pt x="2824" y="466"/>
                  </a:lnTo>
                  <a:lnTo>
                    <a:pt x="2782" y="494"/>
                  </a:lnTo>
                  <a:lnTo>
                    <a:pt x="2796" y="473"/>
                  </a:lnTo>
                  <a:lnTo>
                    <a:pt x="2761" y="480"/>
                  </a:lnTo>
                  <a:lnTo>
                    <a:pt x="2761" y="473"/>
                  </a:lnTo>
                  <a:lnTo>
                    <a:pt x="2754" y="473"/>
                  </a:lnTo>
                  <a:lnTo>
                    <a:pt x="2740" y="459"/>
                  </a:lnTo>
                  <a:lnTo>
                    <a:pt x="2706" y="459"/>
                  </a:lnTo>
                  <a:lnTo>
                    <a:pt x="2671" y="438"/>
                  </a:lnTo>
                  <a:lnTo>
                    <a:pt x="2650" y="445"/>
                  </a:lnTo>
                  <a:lnTo>
                    <a:pt x="2636" y="438"/>
                  </a:lnTo>
                  <a:lnTo>
                    <a:pt x="2587" y="431"/>
                  </a:lnTo>
                  <a:lnTo>
                    <a:pt x="2539" y="404"/>
                  </a:lnTo>
                  <a:lnTo>
                    <a:pt x="2553" y="390"/>
                  </a:lnTo>
                  <a:lnTo>
                    <a:pt x="2525" y="327"/>
                  </a:lnTo>
                  <a:lnTo>
                    <a:pt x="2504" y="327"/>
                  </a:lnTo>
                  <a:lnTo>
                    <a:pt x="2490" y="348"/>
                  </a:lnTo>
                  <a:lnTo>
                    <a:pt x="2462" y="390"/>
                  </a:lnTo>
                  <a:lnTo>
                    <a:pt x="2462" y="369"/>
                  </a:lnTo>
                  <a:lnTo>
                    <a:pt x="2441" y="334"/>
                  </a:lnTo>
                  <a:lnTo>
                    <a:pt x="2379" y="411"/>
                  </a:lnTo>
                  <a:lnTo>
                    <a:pt x="2358" y="459"/>
                  </a:lnTo>
                  <a:lnTo>
                    <a:pt x="2330" y="473"/>
                  </a:lnTo>
                  <a:lnTo>
                    <a:pt x="2295" y="494"/>
                  </a:lnTo>
                  <a:lnTo>
                    <a:pt x="2274" y="494"/>
                  </a:lnTo>
                  <a:lnTo>
                    <a:pt x="2184" y="494"/>
                  </a:lnTo>
                  <a:lnTo>
                    <a:pt x="2149" y="473"/>
                  </a:lnTo>
                  <a:lnTo>
                    <a:pt x="2080" y="438"/>
                  </a:lnTo>
                  <a:lnTo>
                    <a:pt x="2045" y="431"/>
                  </a:lnTo>
                  <a:lnTo>
                    <a:pt x="2017" y="390"/>
                  </a:lnTo>
                  <a:lnTo>
                    <a:pt x="2003" y="348"/>
                  </a:lnTo>
                  <a:lnTo>
                    <a:pt x="1968" y="334"/>
                  </a:lnTo>
                  <a:lnTo>
                    <a:pt x="1906" y="376"/>
                  </a:lnTo>
                  <a:lnTo>
                    <a:pt x="1843" y="334"/>
                  </a:lnTo>
                  <a:lnTo>
                    <a:pt x="1822" y="334"/>
                  </a:lnTo>
                  <a:lnTo>
                    <a:pt x="1815" y="313"/>
                  </a:lnTo>
                  <a:lnTo>
                    <a:pt x="1766" y="299"/>
                  </a:lnTo>
                  <a:lnTo>
                    <a:pt x="1753" y="292"/>
                  </a:lnTo>
                  <a:lnTo>
                    <a:pt x="1718" y="250"/>
                  </a:lnTo>
                  <a:lnTo>
                    <a:pt x="1669" y="230"/>
                  </a:lnTo>
                  <a:lnTo>
                    <a:pt x="1614" y="237"/>
                  </a:lnTo>
                  <a:lnTo>
                    <a:pt x="1593" y="209"/>
                  </a:lnTo>
                  <a:lnTo>
                    <a:pt x="1572" y="209"/>
                  </a:lnTo>
                  <a:lnTo>
                    <a:pt x="1537" y="237"/>
                  </a:lnTo>
                  <a:lnTo>
                    <a:pt x="1516" y="244"/>
                  </a:lnTo>
                  <a:lnTo>
                    <a:pt x="1474" y="244"/>
                  </a:lnTo>
                  <a:lnTo>
                    <a:pt x="1454" y="202"/>
                  </a:lnTo>
                  <a:lnTo>
                    <a:pt x="1398" y="209"/>
                  </a:lnTo>
                  <a:lnTo>
                    <a:pt x="1398" y="195"/>
                  </a:lnTo>
                  <a:lnTo>
                    <a:pt x="1384" y="160"/>
                  </a:lnTo>
                  <a:lnTo>
                    <a:pt x="1356" y="146"/>
                  </a:lnTo>
                  <a:lnTo>
                    <a:pt x="1363" y="111"/>
                  </a:lnTo>
                  <a:lnTo>
                    <a:pt x="1349" y="70"/>
                  </a:lnTo>
                  <a:lnTo>
                    <a:pt x="1293" y="14"/>
                  </a:lnTo>
                  <a:lnTo>
                    <a:pt x="1266" y="14"/>
                  </a:lnTo>
                  <a:lnTo>
                    <a:pt x="1266" y="21"/>
                  </a:lnTo>
                  <a:lnTo>
                    <a:pt x="1224" y="63"/>
                  </a:lnTo>
                  <a:lnTo>
                    <a:pt x="1182" y="84"/>
                  </a:lnTo>
                  <a:lnTo>
                    <a:pt x="1189" y="63"/>
                  </a:lnTo>
                  <a:lnTo>
                    <a:pt x="1196" y="14"/>
                  </a:lnTo>
                  <a:lnTo>
                    <a:pt x="1161" y="0"/>
                  </a:lnTo>
                  <a:lnTo>
                    <a:pt x="1133" y="14"/>
                  </a:lnTo>
                  <a:lnTo>
                    <a:pt x="1113" y="42"/>
                  </a:lnTo>
                  <a:lnTo>
                    <a:pt x="1154" y="104"/>
                  </a:lnTo>
                  <a:lnTo>
                    <a:pt x="1126" y="139"/>
                  </a:lnTo>
                  <a:lnTo>
                    <a:pt x="1064" y="84"/>
                  </a:lnTo>
                  <a:lnTo>
                    <a:pt x="1057" y="84"/>
                  </a:lnTo>
                  <a:lnTo>
                    <a:pt x="1036" y="132"/>
                  </a:lnTo>
                  <a:lnTo>
                    <a:pt x="1029" y="174"/>
                  </a:lnTo>
                  <a:lnTo>
                    <a:pt x="1022" y="139"/>
                  </a:lnTo>
                  <a:lnTo>
                    <a:pt x="960" y="104"/>
                  </a:lnTo>
                  <a:lnTo>
                    <a:pt x="925" y="63"/>
                  </a:lnTo>
                  <a:lnTo>
                    <a:pt x="918" y="49"/>
                  </a:lnTo>
                  <a:lnTo>
                    <a:pt x="904" y="63"/>
                  </a:lnTo>
                  <a:lnTo>
                    <a:pt x="897" y="70"/>
                  </a:lnTo>
                  <a:lnTo>
                    <a:pt x="925" y="104"/>
                  </a:lnTo>
                  <a:lnTo>
                    <a:pt x="855" y="167"/>
                  </a:lnTo>
                  <a:lnTo>
                    <a:pt x="772" y="132"/>
                  </a:lnTo>
                  <a:lnTo>
                    <a:pt x="709" y="111"/>
                  </a:lnTo>
                  <a:lnTo>
                    <a:pt x="723" y="70"/>
                  </a:lnTo>
                  <a:lnTo>
                    <a:pt x="723" y="21"/>
                  </a:lnTo>
                  <a:lnTo>
                    <a:pt x="709" y="14"/>
                  </a:lnTo>
                  <a:lnTo>
                    <a:pt x="688" y="7"/>
                  </a:lnTo>
                  <a:lnTo>
                    <a:pt x="674" y="63"/>
                  </a:lnTo>
                  <a:lnTo>
                    <a:pt x="612" y="77"/>
                  </a:lnTo>
                  <a:lnTo>
                    <a:pt x="577" y="14"/>
                  </a:lnTo>
                  <a:lnTo>
                    <a:pt x="563" y="14"/>
                  </a:lnTo>
                  <a:lnTo>
                    <a:pt x="556" y="21"/>
                  </a:lnTo>
                  <a:lnTo>
                    <a:pt x="556" y="35"/>
                  </a:lnTo>
                  <a:lnTo>
                    <a:pt x="577" y="98"/>
                  </a:lnTo>
                  <a:lnTo>
                    <a:pt x="542" y="132"/>
                  </a:lnTo>
                  <a:lnTo>
                    <a:pt x="535" y="132"/>
                  </a:lnTo>
                  <a:lnTo>
                    <a:pt x="501" y="77"/>
                  </a:lnTo>
                  <a:lnTo>
                    <a:pt x="466" y="84"/>
                  </a:lnTo>
                  <a:lnTo>
                    <a:pt x="396" y="98"/>
                  </a:lnTo>
                  <a:lnTo>
                    <a:pt x="382" y="111"/>
                  </a:lnTo>
                  <a:lnTo>
                    <a:pt x="347" y="132"/>
                  </a:lnTo>
                  <a:lnTo>
                    <a:pt x="306" y="160"/>
                  </a:lnTo>
                  <a:lnTo>
                    <a:pt x="278" y="202"/>
                  </a:lnTo>
                  <a:lnTo>
                    <a:pt x="292" y="202"/>
                  </a:lnTo>
                  <a:lnTo>
                    <a:pt x="278" y="244"/>
                  </a:lnTo>
                  <a:lnTo>
                    <a:pt x="292" y="250"/>
                  </a:lnTo>
                  <a:lnTo>
                    <a:pt x="278" y="271"/>
                  </a:lnTo>
                  <a:lnTo>
                    <a:pt x="243" y="306"/>
                  </a:lnTo>
                  <a:lnTo>
                    <a:pt x="229" y="376"/>
                  </a:lnTo>
                  <a:lnTo>
                    <a:pt x="208" y="397"/>
                  </a:lnTo>
                  <a:lnTo>
                    <a:pt x="201" y="411"/>
                  </a:lnTo>
                  <a:lnTo>
                    <a:pt x="180" y="438"/>
                  </a:lnTo>
                  <a:lnTo>
                    <a:pt x="173" y="445"/>
                  </a:lnTo>
                  <a:lnTo>
                    <a:pt x="146" y="445"/>
                  </a:lnTo>
                  <a:lnTo>
                    <a:pt x="146" y="466"/>
                  </a:lnTo>
                  <a:lnTo>
                    <a:pt x="153" y="473"/>
                  </a:lnTo>
                  <a:lnTo>
                    <a:pt x="146" y="501"/>
                  </a:lnTo>
                  <a:lnTo>
                    <a:pt x="132" y="529"/>
                  </a:lnTo>
                  <a:lnTo>
                    <a:pt x="132" y="536"/>
                  </a:lnTo>
                  <a:lnTo>
                    <a:pt x="153" y="543"/>
                  </a:lnTo>
                  <a:lnTo>
                    <a:pt x="153" y="571"/>
                  </a:lnTo>
                  <a:lnTo>
                    <a:pt x="194" y="563"/>
                  </a:lnTo>
                  <a:lnTo>
                    <a:pt x="208" y="577"/>
                  </a:lnTo>
                  <a:lnTo>
                    <a:pt x="236" y="591"/>
                  </a:lnTo>
                  <a:lnTo>
                    <a:pt x="264" y="689"/>
                  </a:lnTo>
                  <a:lnTo>
                    <a:pt x="271" y="696"/>
                  </a:lnTo>
                  <a:lnTo>
                    <a:pt x="250" y="710"/>
                  </a:lnTo>
                  <a:lnTo>
                    <a:pt x="201" y="738"/>
                  </a:lnTo>
                  <a:lnTo>
                    <a:pt x="194" y="765"/>
                  </a:lnTo>
                  <a:lnTo>
                    <a:pt x="146" y="800"/>
                  </a:lnTo>
                  <a:lnTo>
                    <a:pt x="146" y="828"/>
                  </a:lnTo>
                  <a:lnTo>
                    <a:pt x="201" y="863"/>
                  </a:lnTo>
                  <a:lnTo>
                    <a:pt x="208" y="890"/>
                  </a:lnTo>
                  <a:lnTo>
                    <a:pt x="180" y="960"/>
                  </a:lnTo>
                  <a:lnTo>
                    <a:pt x="201" y="981"/>
                  </a:lnTo>
                  <a:lnTo>
                    <a:pt x="167" y="988"/>
                  </a:lnTo>
                  <a:lnTo>
                    <a:pt x="167" y="1002"/>
                  </a:lnTo>
                  <a:lnTo>
                    <a:pt x="104" y="1002"/>
                  </a:lnTo>
                  <a:lnTo>
                    <a:pt x="97" y="981"/>
                  </a:lnTo>
                  <a:lnTo>
                    <a:pt x="62" y="925"/>
                  </a:lnTo>
                  <a:lnTo>
                    <a:pt x="69" y="995"/>
                  </a:lnTo>
                  <a:lnTo>
                    <a:pt x="7" y="988"/>
                  </a:lnTo>
                  <a:lnTo>
                    <a:pt x="13" y="1023"/>
                  </a:lnTo>
                  <a:lnTo>
                    <a:pt x="0" y="1065"/>
                  </a:lnTo>
                  <a:lnTo>
                    <a:pt x="7" y="1148"/>
                  </a:lnTo>
                  <a:lnTo>
                    <a:pt x="76" y="1127"/>
                  </a:lnTo>
                  <a:lnTo>
                    <a:pt x="97" y="1155"/>
                  </a:lnTo>
                  <a:lnTo>
                    <a:pt x="69" y="1183"/>
                  </a:lnTo>
                  <a:lnTo>
                    <a:pt x="139" y="1183"/>
                  </a:lnTo>
                  <a:lnTo>
                    <a:pt x="139" y="1155"/>
                  </a:lnTo>
                  <a:lnTo>
                    <a:pt x="167" y="1162"/>
                  </a:lnTo>
                  <a:lnTo>
                    <a:pt x="180" y="1183"/>
                  </a:lnTo>
                  <a:lnTo>
                    <a:pt x="250" y="1231"/>
                  </a:lnTo>
                  <a:lnTo>
                    <a:pt x="278" y="1217"/>
                  </a:lnTo>
                  <a:lnTo>
                    <a:pt x="299" y="1224"/>
                  </a:lnTo>
                  <a:lnTo>
                    <a:pt x="313" y="1197"/>
                  </a:lnTo>
                  <a:lnTo>
                    <a:pt x="327" y="1211"/>
                  </a:lnTo>
                  <a:lnTo>
                    <a:pt x="334" y="1183"/>
                  </a:lnTo>
                  <a:lnTo>
                    <a:pt x="361" y="1197"/>
                  </a:lnTo>
                  <a:lnTo>
                    <a:pt x="361" y="1231"/>
                  </a:lnTo>
                  <a:lnTo>
                    <a:pt x="396" y="1245"/>
                  </a:lnTo>
                  <a:lnTo>
                    <a:pt x="410" y="1231"/>
                  </a:lnTo>
                  <a:lnTo>
                    <a:pt x="424" y="1259"/>
                  </a:lnTo>
                  <a:lnTo>
                    <a:pt x="480" y="1266"/>
                  </a:lnTo>
                  <a:lnTo>
                    <a:pt x="480" y="1280"/>
                  </a:lnTo>
                  <a:lnTo>
                    <a:pt x="473" y="1294"/>
                  </a:lnTo>
                  <a:lnTo>
                    <a:pt x="501" y="1329"/>
                  </a:lnTo>
                  <a:lnTo>
                    <a:pt x="480" y="1391"/>
                  </a:lnTo>
                  <a:lnTo>
                    <a:pt x="480" y="1440"/>
                  </a:lnTo>
                  <a:lnTo>
                    <a:pt x="445" y="1440"/>
                  </a:lnTo>
                  <a:lnTo>
                    <a:pt x="445" y="1447"/>
                  </a:lnTo>
                  <a:lnTo>
                    <a:pt x="410" y="1524"/>
                  </a:lnTo>
                  <a:lnTo>
                    <a:pt x="382" y="1579"/>
                  </a:lnTo>
                  <a:lnTo>
                    <a:pt x="396" y="1579"/>
                  </a:lnTo>
                  <a:lnTo>
                    <a:pt x="445" y="1558"/>
                  </a:lnTo>
                  <a:lnTo>
                    <a:pt x="459" y="1593"/>
                  </a:lnTo>
                  <a:lnTo>
                    <a:pt x="494" y="1558"/>
                  </a:lnTo>
                  <a:lnTo>
                    <a:pt x="577" y="1551"/>
                  </a:lnTo>
                  <a:lnTo>
                    <a:pt x="591" y="1530"/>
                  </a:lnTo>
                  <a:lnTo>
                    <a:pt x="626" y="1544"/>
                  </a:lnTo>
                  <a:lnTo>
                    <a:pt x="626" y="1551"/>
                  </a:lnTo>
                  <a:lnTo>
                    <a:pt x="667" y="1530"/>
                  </a:lnTo>
                  <a:lnTo>
                    <a:pt x="695" y="1572"/>
                  </a:lnTo>
                  <a:lnTo>
                    <a:pt x="751" y="1586"/>
                  </a:lnTo>
                  <a:lnTo>
                    <a:pt x="786" y="1684"/>
                  </a:lnTo>
                  <a:lnTo>
                    <a:pt x="800" y="1684"/>
                  </a:lnTo>
                  <a:lnTo>
                    <a:pt x="862" y="1656"/>
                  </a:lnTo>
                  <a:lnTo>
                    <a:pt x="890" y="1656"/>
                  </a:lnTo>
                  <a:lnTo>
                    <a:pt x="897" y="1642"/>
                  </a:lnTo>
                  <a:lnTo>
                    <a:pt x="918" y="1642"/>
                  </a:lnTo>
                  <a:lnTo>
                    <a:pt x="918" y="1607"/>
                  </a:lnTo>
                  <a:lnTo>
                    <a:pt x="1015" y="1496"/>
                  </a:lnTo>
                  <a:lnTo>
                    <a:pt x="1022" y="1461"/>
                  </a:lnTo>
                  <a:lnTo>
                    <a:pt x="1147" y="1454"/>
                  </a:lnTo>
                  <a:lnTo>
                    <a:pt x="1182" y="1454"/>
                  </a:lnTo>
                  <a:lnTo>
                    <a:pt x="1266" y="1482"/>
                  </a:lnTo>
                  <a:lnTo>
                    <a:pt x="1266" y="1496"/>
                  </a:lnTo>
                  <a:lnTo>
                    <a:pt x="1293" y="1517"/>
                  </a:lnTo>
                  <a:lnTo>
                    <a:pt x="1321" y="1530"/>
                  </a:lnTo>
                  <a:lnTo>
                    <a:pt x="1293" y="1607"/>
                  </a:lnTo>
                  <a:lnTo>
                    <a:pt x="1342" y="1649"/>
                  </a:lnTo>
                  <a:lnTo>
                    <a:pt x="1398" y="1677"/>
                  </a:lnTo>
                  <a:lnTo>
                    <a:pt x="1447" y="1711"/>
                  </a:lnTo>
                  <a:lnTo>
                    <a:pt x="1481" y="1725"/>
                  </a:lnTo>
                  <a:lnTo>
                    <a:pt x="1551" y="1718"/>
                  </a:lnTo>
                  <a:lnTo>
                    <a:pt x="1586" y="1753"/>
                  </a:lnTo>
                  <a:lnTo>
                    <a:pt x="1634" y="1788"/>
                  </a:lnTo>
                  <a:lnTo>
                    <a:pt x="1641" y="1802"/>
                  </a:lnTo>
                  <a:lnTo>
                    <a:pt x="1648" y="1809"/>
                  </a:lnTo>
                  <a:lnTo>
                    <a:pt x="1676" y="1823"/>
                  </a:lnTo>
                  <a:lnTo>
                    <a:pt x="1704" y="1851"/>
                  </a:lnTo>
                  <a:lnTo>
                    <a:pt x="1739" y="1906"/>
                  </a:lnTo>
                  <a:lnTo>
                    <a:pt x="1808" y="1857"/>
                  </a:lnTo>
                  <a:lnTo>
                    <a:pt x="1899" y="1899"/>
                  </a:lnTo>
                  <a:lnTo>
                    <a:pt x="1941" y="1913"/>
                  </a:lnTo>
                  <a:lnTo>
                    <a:pt x="1982" y="1948"/>
                  </a:lnTo>
                  <a:lnTo>
                    <a:pt x="2003" y="1976"/>
                  </a:lnTo>
                  <a:lnTo>
                    <a:pt x="2038" y="1990"/>
                  </a:lnTo>
                  <a:lnTo>
                    <a:pt x="2094" y="1990"/>
                  </a:lnTo>
                  <a:lnTo>
                    <a:pt x="2135" y="2018"/>
                  </a:lnTo>
                  <a:lnTo>
                    <a:pt x="2128" y="2066"/>
                  </a:lnTo>
                  <a:lnTo>
                    <a:pt x="2149" y="2080"/>
                  </a:lnTo>
                  <a:lnTo>
                    <a:pt x="2177" y="2108"/>
                  </a:lnTo>
                  <a:lnTo>
                    <a:pt x="2177" y="2136"/>
                  </a:lnTo>
                  <a:lnTo>
                    <a:pt x="2184" y="2150"/>
                  </a:lnTo>
                  <a:lnTo>
                    <a:pt x="2274" y="2212"/>
                  </a:lnTo>
                  <a:lnTo>
                    <a:pt x="2274" y="2233"/>
                  </a:lnTo>
                  <a:lnTo>
                    <a:pt x="2323" y="2233"/>
                  </a:lnTo>
                  <a:lnTo>
                    <a:pt x="2344" y="2233"/>
                  </a:lnTo>
                  <a:lnTo>
                    <a:pt x="2344" y="2219"/>
                  </a:lnTo>
                  <a:lnTo>
                    <a:pt x="2344" y="2178"/>
                  </a:lnTo>
                  <a:lnTo>
                    <a:pt x="2379" y="2150"/>
                  </a:lnTo>
                  <a:lnTo>
                    <a:pt x="2434" y="2150"/>
                  </a:lnTo>
                  <a:lnTo>
                    <a:pt x="2490" y="2150"/>
                  </a:lnTo>
                  <a:lnTo>
                    <a:pt x="2567" y="2164"/>
                  </a:lnTo>
                  <a:lnTo>
                    <a:pt x="2601" y="2205"/>
                  </a:lnTo>
                  <a:lnTo>
                    <a:pt x="2664" y="2240"/>
                  </a:lnTo>
                  <a:lnTo>
                    <a:pt x="2699" y="2247"/>
                  </a:lnTo>
                  <a:lnTo>
                    <a:pt x="2727" y="2275"/>
                  </a:lnTo>
                  <a:lnTo>
                    <a:pt x="2740" y="2275"/>
                  </a:lnTo>
                  <a:lnTo>
                    <a:pt x="2768" y="2275"/>
                  </a:lnTo>
                  <a:lnTo>
                    <a:pt x="2803" y="2317"/>
                  </a:lnTo>
                  <a:lnTo>
                    <a:pt x="2803" y="2358"/>
                  </a:lnTo>
                  <a:lnTo>
                    <a:pt x="2831" y="2358"/>
                  </a:lnTo>
                  <a:lnTo>
                    <a:pt x="2915" y="2261"/>
                  </a:lnTo>
                  <a:lnTo>
                    <a:pt x="2970" y="2184"/>
                  </a:lnTo>
                  <a:lnTo>
                    <a:pt x="2991" y="2205"/>
                  </a:lnTo>
                  <a:lnTo>
                    <a:pt x="2970" y="2261"/>
                  </a:lnTo>
                  <a:lnTo>
                    <a:pt x="3019" y="2282"/>
                  </a:lnTo>
                  <a:lnTo>
                    <a:pt x="3047" y="2296"/>
                  </a:lnTo>
                  <a:lnTo>
                    <a:pt x="3116" y="2296"/>
                  </a:lnTo>
                  <a:lnTo>
                    <a:pt x="3123" y="2282"/>
                  </a:lnTo>
                  <a:lnTo>
                    <a:pt x="3179" y="2247"/>
                  </a:lnTo>
                  <a:lnTo>
                    <a:pt x="3283" y="2268"/>
                  </a:lnTo>
                  <a:lnTo>
                    <a:pt x="3290" y="2275"/>
                  </a:lnTo>
                  <a:lnTo>
                    <a:pt x="3374" y="2275"/>
                  </a:lnTo>
                  <a:lnTo>
                    <a:pt x="3394" y="2268"/>
                  </a:lnTo>
                  <a:lnTo>
                    <a:pt x="3394" y="2247"/>
                  </a:lnTo>
                  <a:lnTo>
                    <a:pt x="3318" y="2205"/>
                  </a:lnTo>
                  <a:lnTo>
                    <a:pt x="3290" y="2164"/>
                  </a:lnTo>
                  <a:lnTo>
                    <a:pt x="3415" y="2143"/>
                  </a:lnTo>
                  <a:lnTo>
                    <a:pt x="3429" y="2143"/>
                  </a:lnTo>
                  <a:lnTo>
                    <a:pt x="3450" y="2115"/>
                  </a:lnTo>
                  <a:lnTo>
                    <a:pt x="3492" y="2087"/>
                  </a:lnTo>
                  <a:lnTo>
                    <a:pt x="3513" y="2052"/>
                  </a:lnTo>
                  <a:lnTo>
                    <a:pt x="3568" y="2045"/>
                  </a:lnTo>
                  <a:lnTo>
                    <a:pt x="3603" y="2045"/>
                  </a:lnTo>
                  <a:lnTo>
                    <a:pt x="3603" y="2031"/>
                  </a:lnTo>
                  <a:lnTo>
                    <a:pt x="3666" y="1976"/>
                  </a:lnTo>
                  <a:lnTo>
                    <a:pt x="3714" y="2031"/>
                  </a:lnTo>
                  <a:lnTo>
                    <a:pt x="3707" y="2066"/>
                  </a:lnTo>
                  <a:lnTo>
                    <a:pt x="3721" y="2073"/>
                  </a:lnTo>
                  <a:lnTo>
                    <a:pt x="3770" y="2101"/>
                  </a:lnTo>
                  <a:lnTo>
                    <a:pt x="3805" y="2136"/>
                  </a:lnTo>
                  <a:lnTo>
                    <a:pt x="3819" y="2150"/>
                  </a:lnTo>
                  <a:lnTo>
                    <a:pt x="3833" y="2143"/>
                  </a:lnTo>
                  <a:lnTo>
                    <a:pt x="3868" y="2150"/>
                  </a:lnTo>
                  <a:lnTo>
                    <a:pt x="3881" y="2129"/>
                  </a:lnTo>
                  <a:lnTo>
                    <a:pt x="3965" y="2143"/>
                  </a:lnTo>
                  <a:lnTo>
                    <a:pt x="3972" y="2150"/>
                  </a:lnTo>
                  <a:lnTo>
                    <a:pt x="3979" y="2178"/>
                  </a:lnTo>
                  <a:lnTo>
                    <a:pt x="3951" y="2205"/>
                  </a:lnTo>
                  <a:lnTo>
                    <a:pt x="3930" y="2240"/>
                  </a:lnTo>
                  <a:lnTo>
                    <a:pt x="3930" y="2247"/>
                  </a:lnTo>
                  <a:lnTo>
                    <a:pt x="3979" y="2233"/>
                  </a:lnTo>
                  <a:lnTo>
                    <a:pt x="4028" y="2268"/>
                  </a:lnTo>
                  <a:lnTo>
                    <a:pt x="4048" y="2261"/>
                  </a:lnTo>
                  <a:lnTo>
                    <a:pt x="4097" y="2219"/>
                  </a:lnTo>
                  <a:lnTo>
                    <a:pt x="4139" y="2219"/>
                  </a:lnTo>
                  <a:lnTo>
                    <a:pt x="4194" y="2219"/>
                  </a:lnTo>
                  <a:lnTo>
                    <a:pt x="4201" y="2233"/>
                  </a:lnTo>
                  <a:lnTo>
                    <a:pt x="4201" y="2240"/>
                  </a:lnTo>
                  <a:lnTo>
                    <a:pt x="4167" y="2310"/>
                  </a:lnTo>
                  <a:lnTo>
                    <a:pt x="4111" y="2393"/>
                  </a:lnTo>
                  <a:lnTo>
                    <a:pt x="4083" y="2442"/>
                  </a:lnTo>
                  <a:lnTo>
                    <a:pt x="4041" y="2449"/>
                  </a:lnTo>
                  <a:lnTo>
                    <a:pt x="4048" y="2491"/>
                  </a:lnTo>
                  <a:lnTo>
                    <a:pt x="4034" y="2491"/>
                  </a:lnTo>
                  <a:lnTo>
                    <a:pt x="4028" y="2504"/>
                  </a:lnTo>
                  <a:lnTo>
                    <a:pt x="4048" y="2546"/>
                  </a:lnTo>
                  <a:lnTo>
                    <a:pt x="4104" y="2595"/>
                  </a:lnTo>
                  <a:lnTo>
                    <a:pt x="4083" y="2630"/>
                  </a:lnTo>
                  <a:lnTo>
                    <a:pt x="4139" y="2664"/>
                  </a:lnTo>
                  <a:lnTo>
                    <a:pt x="4139" y="2706"/>
                  </a:lnTo>
                  <a:lnTo>
                    <a:pt x="4139" y="2762"/>
                  </a:lnTo>
                  <a:lnTo>
                    <a:pt x="4222" y="2818"/>
                  </a:lnTo>
                  <a:lnTo>
                    <a:pt x="4264" y="2831"/>
                  </a:lnTo>
                  <a:lnTo>
                    <a:pt x="4299" y="2866"/>
                  </a:lnTo>
                  <a:lnTo>
                    <a:pt x="4354" y="2908"/>
                  </a:lnTo>
                  <a:lnTo>
                    <a:pt x="4361" y="2908"/>
                  </a:lnTo>
                  <a:lnTo>
                    <a:pt x="4403" y="2901"/>
                  </a:lnTo>
                  <a:lnTo>
                    <a:pt x="4452" y="2908"/>
                  </a:lnTo>
                  <a:lnTo>
                    <a:pt x="4473" y="2908"/>
                  </a:lnTo>
                  <a:lnTo>
                    <a:pt x="4473" y="2936"/>
                  </a:lnTo>
                  <a:lnTo>
                    <a:pt x="4528" y="2964"/>
                  </a:lnTo>
                  <a:lnTo>
                    <a:pt x="4591" y="3019"/>
                  </a:lnTo>
                  <a:lnTo>
                    <a:pt x="4633" y="3019"/>
                  </a:lnTo>
                  <a:lnTo>
                    <a:pt x="4681" y="3026"/>
                  </a:lnTo>
                  <a:lnTo>
                    <a:pt x="4716" y="3047"/>
                  </a:lnTo>
                  <a:lnTo>
                    <a:pt x="4730" y="3061"/>
                  </a:lnTo>
                  <a:lnTo>
                    <a:pt x="4786" y="3033"/>
                  </a:lnTo>
                  <a:lnTo>
                    <a:pt x="4765" y="3005"/>
                  </a:lnTo>
                  <a:lnTo>
                    <a:pt x="4772" y="2957"/>
                  </a:lnTo>
                  <a:lnTo>
                    <a:pt x="4800" y="2936"/>
                  </a:lnTo>
                  <a:lnTo>
                    <a:pt x="4800" y="2901"/>
                  </a:lnTo>
                  <a:lnTo>
                    <a:pt x="4855" y="2859"/>
                  </a:lnTo>
                  <a:lnTo>
                    <a:pt x="4835" y="2824"/>
                  </a:lnTo>
                  <a:lnTo>
                    <a:pt x="4848" y="2797"/>
                  </a:lnTo>
                  <a:lnTo>
                    <a:pt x="4869" y="2762"/>
                  </a:lnTo>
                  <a:lnTo>
                    <a:pt x="4890" y="2720"/>
                  </a:lnTo>
                  <a:lnTo>
                    <a:pt x="4869" y="2699"/>
                  </a:lnTo>
                  <a:lnTo>
                    <a:pt x="4883" y="2658"/>
                  </a:lnTo>
                  <a:lnTo>
                    <a:pt x="4890" y="2658"/>
                  </a:lnTo>
                  <a:lnTo>
                    <a:pt x="4932" y="2671"/>
                  </a:lnTo>
                  <a:lnTo>
                    <a:pt x="4946" y="2678"/>
                  </a:lnTo>
                  <a:lnTo>
                    <a:pt x="4981" y="2692"/>
                  </a:lnTo>
                  <a:lnTo>
                    <a:pt x="4981" y="2671"/>
                  </a:lnTo>
                  <a:lnTo>
                    <a:pt x="4994" y="2671"/>
                  </a:lnTo>
                  <a:lnTo>
                    <a:pt x="5029" y="2678"/>
                  </a:lnTo>
                  <a:lnTo>
                    <a:pt x="5029" y="2664"/>
                  </a:lnTo>
                  <a:lnTo>
                    <a:pt x="5057" y="2643"/>
                  </a:lnTo>
                  <a:lnTo>
                    <a:pt x="5092" y="2643"/>
                  </a:lnTo>
                  <a:lnTo>
                    <a:pt x="5127" y="2609"/>
                  </a:lnTo>
                  <a:lnTo>
                    <a:pt x="5148" y="2574"/>
                  </a:lnTo>
                  <a:lnTo>
                    <a:pt x="5182" y="2595"/>
                  </a:lnTo>
                  <a:lnTo>
                    <a:pt x="5189" y="2602"/>
                  </a:lnTo>
                  <a:lnTo>
                    <a:pt x="5224" y="2574"/>
                  </a:lnTo>
                  <a:lnTo>
                    <a:pt x="5252" y="2574"/>
                  </a:lnTo>
                  <a:lnTo>
                    <a:pt x="5273" y="2574"/>
                  </a:lnTo>
                  <a:lnTo>
                    <a:pt x="5280" y="2595"/>
                  </a:lnTo>
                  <a:lnTo>
                    <a:pt x="5294" y="2595"/>
                  </a:lnTo>
                  <a:lnTo>
                    <a:pt x="5308" y="2574"/>
                  </a:lnTo>
                  <a:lnTo>
                    <a:pt x="5328" y="2588"/>
                  </a:lnTo>
                  <a:lnTo>
                    <a:pt x="5356" y="2560"/>
                  </a:lnTo>
                  <a:lnTo>
                    <a:pt x="5454" y="2511"/>
                  </a:lnTo>
                  <a:lnTo>
                    <a:pt x="5454" y="2546"/>
                  </a:lnTo>
                  <a:lnTo>
                    <a:pt x="5447" y="2588"/>
                  </a:lnTo>
                  <a:lnTo>
                    <a:pt x="5467" y="2623"/>
                  </a:lnTo>
                  <a:lnTo>
                    <a:pt x="5440" y="2664"/>
                  </a:lnTo>
                  <a:lnTo>
                    <a:pt x="5419" y="2671"/>
                  </a:lnTo>
                  <a:lnTo>
                    <a:pt x="5481" y="2720"/>
                  </a:lnTo>
                  <a:lnTo>
                    <a:pt x="5488" y="2720"/>
                  </a:lnTo>
                  <a:lnTo>
                    <a:pt x="5488" y="2755"/>
                  </a:lnTo>
                  <a:lnTo>
                    <a:pt x="5481" y="2762"/>
                  </a:lnTo>
                  <a:lnTo>
                    <a:pt x="5488" y="2776"/>
                  </a:lnTo>
                  <a:lnTo>
                    <a:pt x="5502" y="2790"/>
                  </a:lnTo>
                  <a:lnTo>
                    <a:pt x="5516" y="2790"/>
                  </a:lnTo>
                  <a:lnTo>
                    <a:pt x="5537" y="2776"/>
                  </a:lnTo>
                  <a:lnTo>
                    <a:pt x="5551" y="2741"/>
                  </a:lnTo>
                  <a:lnTo>
                    <a:pt x="5578" y="2734"/>
                  </a:lnTo>
                  <a:lnTo>
                    <a:pt x="5578" y="2790"/>
                  </a:lnTo>
                  <a:lnTo>
                    <a:pt x="5606" y="2790"/>
                  </a:lnTo>
                  <a:lnTo>
                    <a:pt x="5606" y="2831"/>
                  </a:lnTo>
                  <a:lnTo>
                    <a:pt x="5620" y="2831"/>
                  </a:lnTo>
                  <a:lnTo>
                    <a:pt x="5633" y="2831"/>
                  </a:lnTo>
                  <a:lnTo>
                    <a:pt x="5620" y="2866"/>
                  </a:lnTo>
                  <a:lnTo>
                    <a:pt x="5633" y="2873"/>
                  </a:lnTo>
                  <a:lnTo>
                    <a:pt x="5668" y="2873"/>
                  </a:lnTo>
                  <a:lnTo>
                    <a:pt x="5738" y="2873"/>
                  </a:lnTo>
                  <a:lnTo>
                    <a:pt x="5738" y="2818"/>
                  </a:lnTo>
                  <a:lnTo>
                    <a:pt x="5766" y="2818"/>
                  </a:lnTo>
                  <a:lnTo>
                    <a:pt x="5800" y="2797"/>
                  </a:lnTo>
                  <a:lnTo>
                    <a:pt x="5814" y="2776"/>
                  </a:lnTo>
                  <a:lnTo>
                    <a:pt x="5828" y="2769"/>
                  </a:lnTo>
                  <a:lnTo>
                    <a:pt x="5800" y="2755"/>
                  </a:lnTo>
                  <a:lnTo>
                    <a:pt x="5828" y="2727"/>
                  </a:lnTo>
                  <a:lnTo>
                    <a:pt x="5814" y="2678"/>
                  </a:lnTo>
                  <a:lnTo>
                    <a:pt x="5814" y="2643"/>
                  </a:lnTo>
                  <a:lnTo>
                    <a:pt x="5835" y="2623"/>
                  </a:lnTo>
                  <a:lnTo>
                    <a:pt x="5842" y="2595"/>
                  </a:lnTo>
                  <a:lnTo>
                    <a:pt x="5849" y="2560"/>
                  </a:lnTo>
                  <a:lnTo>
                    <a:pt x="5842" y="2560"/>
                  </a:lnTo>
                  <a:lnTo>
                    <a:pt x="5800" y="2546"/>
                  </a:lnTo>
                  <a:lnTo>
                    <a:pt x="5745" y="2525"/>
                  </a:lnTo>
                  <a:lnTo>
                    <a:pt x="5647" y="2435"/>
                  </a:lnTo>
                  <a:lnTo>
                    <a:pt x="5557" y="2317"/>
                  </a:lnTo>
                  <a:lnTo>
                    <a:pt x="5537" y="2330"/>
                  </a:lnTo>
                  <a:lnTo>
                    <a:pt x="5440" y="2240"/>
                  </a:lnTo>
                  <a:lnTo>
                    <a:pt x="5349" y="2136"/>
                  </a:lnTo>
                  <a:lnTo>
                    <a:pt x="5342" y="2129"/>
                  </a:lnTo>
                  <a:lnTo>
                    <a:pt x="5342" y="2115"/>
                  </a:lnTo>
                  <a:lnTo>
                    <a:pt x="5321" y="2108"/>
                  </a:lnTo>
                  <a:lnTo>
                    <a:pt x="5245" y="2003"/>
                  </a:lnTo>
                  <a:lnTo>
                    <a:pt x="5189" y="1837"/>
                  </a:lnTo>
                  <a:lnTo>
                    <a:pt x="5148" y="1705"/>
                  </a:lnTo>
                  <a:lnTo>
                    <a:pt x="5141" y="1607"/>
                  </a:lnTo>
                  <a:lnTo>
                    <a:pt x="5113" y="1530"/>
                  </a:lnTo>
                  <a:lnTo>
                    <a:pt x="5078" y="1412"/>
                  </a:lnTo>
                  <a:lnTo>
                    <a:pt x="5085" y="1155"/>
                  </a:lnTo>
                  <a:lnTo>
                    <a:pt x="5064" y="1113"/>
                  </a:lnTo>
                  <a:lnTo>
                    <a:pt x="5057" y="1127"/>
                  </a:lnTo>
                  <a:lnTo>
                    <a:pt x="5050" y="1120"/>
                  </a:lnTo>
                  <a:lnTo>
                    <a:pt x="5015" y="1002"/>
                  </a:lnTo>
                  <a:lnTo>
                    <a:pt x="5022" y="828"/>
                  </a:lnTo>
                  <a:lnTo>
                    <a:pt x="5078" y="696"/>
                  </a:lnTo>
                  <a:lnTo>
                    <a:pt x="5078" y="689"/>
                  </a:lnTo>
                  <a:lnTo>
                    <a:pt x="5029" y="703"/>
                  </a:lnTo>
                  <a:lnTo>
                    <a:pt x="5078" y="668"/>
                  </a:lnTo>
                  <a:lnTo>
                    <a:pt x="5078" y="640"/>
                  </a:lnTo>
                  <a:lnTo>
                    <a:pt x="5113" y="626"/>
                  </a:lnTo>
                  <a:lnTo>
                    <a:pt x="5161" y="640"/>
                  </a:lnTo>
                  <a:lnTo>
                    <a:pt x="5182" y="696"/>
                  </a:lnTo>
                  <a:lnTo>
                    <a:pt x="5210" y="731"/>
                  </a:lnTo>
                  <a:lnTo>
                    <a:pt x="5189" y="731"/>
                  </a:lnTo>
                  <a:lnTo>
                    <a:pt x="5259" y="758"/>
                  </a:lnTo>
                  <a:lnTo>
                    <a:pt x="5182" y="689"/>
                  </a:lnTo>
                  <a:lnTo>
                    <a:pt x="5175" y="626"/>
                  </a:lnTo>
                  <a:lnTo>
                    <a:pt x="5099" y="612"/>
                  </a:lnTo>
                  <a:lnTo>
                    <a:pt x="5078" y="577"/>
                  </a:lnTo>
                  <a:lnTo>
                    <a:pt x="5085" y="536"/>
                  </a:lnTo>
                  <a:lnTo>
                    <a:pt x="5078" y="501"/>
                  </a:lnTo>
                  <a:lnTo>
                    <a:pt x="5092" y="459"/>
                  </a:lnTo>
                  <a:lnTo>
                    <a:pt x="5064" y="425"/>
                  </a:lnTo>
                  <a:lnTo>
                    <a:pt x="5043" y="438"/>
                  </a:lnTo>
                  <a:lnTo>
                    <a:pt x="5043" y="425"/>
                  </a:lnTo>
                  <a:lnTo>
                    <a:pt x="5029" y="431"/>
                  </a:lnTo>
                  <a:lnTo>
                    <a:pt x="5015" y="438"/>
                  </a:lnTo>
                  <a:lnTo>
                    <a:pt x="4987" y="466"/>
                  </a:lnTo>
                  <a:lnTo>
                    <a:pt x="4925" y="466"/>
                  </a:lnTo>
                  <a:lnTo>
                    <a:pt x="4890" y="431"/>
                  </a:lnTo>
                  <a:lnTo>
                    <a:pt x="4869" y="445"/>
                  </a:lnTo>
                  <a:lnTo>
                    <a:pt x="4848" y="459"/>
                  </a:lnTo>
                  <a:lnTo>
                    <a:pt x="4800" y="425"/>
                  </a:lnTo>
                  <a:lnTo>
                    <a:pt x="4800" y="397"/>
                  </a:lnTo>
                  <a:lnTo>
                    <a:pt x="4772" y="390"/>
                  </a:lnTo>
                  <a:lnTo>
                    <a:pt x="4772" y="362"/>
                  </a:lnTo>
                  <a:lnTo>
                    <a:pt x="4751" y="369"/>
                  </a:lnTo>
                  <a:lnTo>
                    <a:pt x="4737" y="362"/>
                  </a:lnTo>
                  <a:lnTo>
                    <a:pt x="4716" y="369"/>
                  </a:lnTo>
                  <a:lnTo>
                    <a:pt x="4695" y="348"/>
                  </a:lnTo>
                  <a:lnTo>
                    <a:pt x="4633" y="348"/>
                  </a:lnTo>
                  <a:lnTo>
                    <a:pt x="4591" y="334"/>
                  </a:lnTo>
                  <a:lnTo>
                    <a:pt x="4556" y="327"/>
                  </a:lnTo>
                  <a:lnTo>
                    <a:pt x="4493" y="348"/>
                  </a:lnTo>
                  <a:lnTo>
                    <a:pt x="4361" y="362"/>
                  </a:lnTo>
                  <a:lnTo>
                    <a:pt x="4341" y="362"/>
                  </a:lnTo>
                  <a:lnTo>
                    <a:pt x="4278" y="348"/>
                  </a:lnTo>
                  <a:lnTo>
                    <a:pt x="4236" y="390"/>
                  </a:lnTo>
                  <a:lnTo>
                    <a:pt x="4194" y="397"/>
                  </a:lnTo>
                  <a:lnTo>
                    <a:pt x="4180" y="411"/>
                  </a:lnTo>
                  <a:lnTo>
                    <a:pt x="4180" y="445"/>
                  </a:lnTo>
                  <a:lnTo>
                    <a:pt x="4160" y="459"/>
                  </a:lnTo>
                  <a:lnTo>
                    <a:pt x="4041" y="501"/>
                  </a:lnTo>
                  <a:lnTo>
                    <a:pt x="4000" y="536"/>
                  </a:lnTo>
                  <a:lnTo>
                    <a:pt x="3937" y="536"/>
                  </a:lnTo>
                  <a:lnTo>
                    <a:pt x="3930" y="494"/>
                  </a:lnTo>
                  <a:lnTo>
                    <a:pt x="3868" y="459"/>
                  </a:lnTo>
                  <a:lnTo>
                    <a:pt x="3833" y="438"/>
                  </a:lnTo>
                  <a:lnTo>
                    <a:pt x="3735" y="438"/>
                  </a:lnTo>
                  <a:lnTo>
                    <a:pt x="3721" y="438"/>
                  </a:lnTo>
                  <a:lnTo>
                    <a:pt x="3666" y="459"/>
                  </a:lnTo>
                  <a:lnTo>
                    <a:pt x="3666" y="411"/>
                  </a:lnTo>
                  <a:lnTo>
                    <a:pt x="3617" y="404"/>
                  </a:lnTo>
                  <a:lnTo>
                    <a:pt x="3582" y="397"/>
                  </a:lnTo>
                  <a:lnTo>
                    <a:pt x="3555" y="411"/>
                  </a:lnTo>
                  <a:lnTo>
                    <a:pt x="3506" y="390"/>
                  </a:lnTo>
                  <a:lnTo>
                    <a:pt x="3478" y="397"/>
                  </a:lnTo>
                  <a:lnTo>
                    <a:pt x="3471" y="390"/>
                  </a:lnTo>
                  <a:lnTo>
                    <a:pt x="3471" y="397"/>
                  </a:lnTo>
                  <a:lnTo>
                    <a:pt x="3429" y="397"/>
                  </a:lnTo>
                  <a:lnTo>
                    <a:pt x="3415" y="431"/>
                  </a:lnTo>
                  <a:lnTo>
                    <a:pt x="3374" y="411"/>
                  </a:lnTo>
                </a:path>
              </a:pathLst>
            </a:custGeom>
            <a:grpFill/>
            <a:ln w="9525" cap="flat" cmpd="sng">
              <a:solidFill>
                <a:schemeClr val="bg1"/>
              </a:solid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94" name="Freeform 91">
              <a:extLst>
                <a:ext uri="{FF2B5EF4-FFF2-40B4-BE49-F238E27FC236}">
                  <a16:creationId xmlns:a16="http://schemas.microsoft.com/office/drawing/2014/main" id="{E2FE30A2-92B9-4127-A1DA-17150BEFC065}"/>
                </a:ext>
              </a:extLst>
            </p:cNvPr>
            <p:cNvSpPr>
              <a:spLocks noChangeArrowheads="1"/>
            </p:cNvSpPr>
            <p:nvPr/>
          </p:nvSpPr>
          <p:spPr bwMode="auto">
            <a:xfrm>
              <a:off x="13724362" y="5015281"/>
              <a:ext cx="1990337" cy="917561"/>
            </a:xfrm>
            <a:custGeom>
              <a:avLst/>
              <a:gdLst>
                <a:gd name="T0" fmla="*/ 877 w 4238"/>
                <a:gd name="T1" fmla="*/ 1134 h 1955"/>
                <a:gd name="T2" fmla="*/ 953 w 4238"/>
                <a:gd name="T3" fmla="*/ 1015 h 1955"/>
                <a:gd name="T4" fmla="*/ 932 w 4238"/>
                <a:gd name="T5" fmla="*/ 807 h 1955"/>
                <a:gd name="T6" fmla="*/ 1078 w 4238"/>
                <a:gd name="T7" fmla="*/ 695 h 1955"/>
                <a:gd name="T8" fmla="*/ 1141 w 4238"/>
                <a:gd name="T9" fmla="*/ 605 h 1955"/>
                <a:gd name="T10" fmla="*/ 1204 w 4238"/>
                <a:gd name="T11" fmla="*/ 410 h 1955"/>
                <a:gd name="T12" fmla="*/ 1343 w 4238"/>
                <a:gd name="T13" fmla="*/ 382 h 1955"/>
                <a:gd name="T14" fmla="*/ 1447 w 4238"/>
                <a:gd name="T15" fmla="*/ 438 h 1955"/>
                <a:gd name="T16" fmla="*/ 1572 w 4238"/>
                <a:gd name="T17" fmla="*/ 382 h 1955"/>
                <a:gd name="T18" fmla="*/ 1802 w 4238"/>
                <a:gd name="T19" fmla="*/ 313 h 1955"/>
                <a:gd name="T20" fmla="*/ 1865 w 4238"/>
                <a:gd name="T21" fmla="*/ 195 h 1955"/>
                <a:gd name="T22" fmla="*/ 2045 w 4238"/>
                <a:gd name="T23" fmla="*/ 271 h 1955"/>
                <a:gd name="T24" fmla="*/ 2143 w 4238"/>
                <a:gd name="T25" fmla="*/ 368 h 1955"/>
                <a:gd name="T26" fmla="*/ 2351 w 4238"/>
                <a:gd name="T27" fmla="*/ 236 h 1955"/>
                <a:gd name="T28" fmla="*/ 2338 w 4238"/>
                <a:gd name="T29" fmla="*/ 41 h 1955"/>
                <a:gd name="T30" fmla="*/ 2532 w 4238"/>
                <a:gd name="T31" fmla="*/ 69 h 1955"/>
                <a:gd name="T32" fmla="*/ 2811 w 4238"/>
                <a:gd name="T33" fmla="*/ 174 h 1955"/>
                <a:gd name="T34" fmla="*/ 2950 w 4238"/>
                <a:gd name="T35" fmla="*/ 139 h 1955"/>
                <a:gd name="T36" fmla="*/ 3138 w 4238"/>
                <a:gd name="T37" fmla="*/ 195 h 1955"/>
                <a:gd name="T38" fmla="*/ 3291 w 4238"/>
                <a:gd name="T39" fmla="*/ 250 h 1955"/>
                <a:gd name="T40" fmla="*/ 3256 w 4238"/>
                <a:gd name="T41" fmla="*/ 431 h 1955"/>
                <a:gd name="T42" fmla="*/ 3388 w 4238"/>
                <a:gd name="T43" fmla="*/ 535 h 1955"/>
                <a:gd name="T44" fmla="*/ 3597 w 4238"/>
                <a:gd name="T45" fmla="*/ 668 h 1955"/>
                <a:gd name="T46" fmla="*/ 3826 w 4238"/>
                <a:gd name="T47" fmla="*/ 855 h 1955"/>
                <a:gd name="T48" fmla="*/ 3937 w 4238"/>
                <a:gd name="T49" fmla="*/ 1029 h 1955"/>
                <a:gd name="T50" fmla="*/ 3958 w 4238"/>
                <a:gd name="T51" fmla="*/ 1120 h 1955"/>
                <a:gd name="T52" fmla="*/ 4118 w 4238"/>
                <a:gd name="T53" fmla="*/ 1280 h 1955"/>
                <a:gd name="T54" fmla="*/ 4160 w 4238"/>
                <a:gd name="T55" fmla="*/ 1377 h 1955"/>
                <a:gd name="T56" fmla="*/ 3972 w 4238"/>
                <a:gd name="T57" fmla="*/ 1301 h 1955"/>
                <a:gd name="T58" fmla="*/ 3833 w 4238"/>
                <a:gd name="T59" fmla="*/ 1280 h 1955"/>
                <a:gd name="T60" fmla="*/ 3847 w 4238"/>
                <a:gd name="T61" fmla="*/ 1363 h 1955"/>
                <a:gd name="T62" fmla="*/ 3576 w 4238"/>
                <a:gd name="T63" fmla="*/ 1162 h 1955"/>
                <a:gd name="T64" fmla="*/ 3402 w 4238"/>
                <a:gd name="T65" fmla="*/ 1050 h 1955"/>
                <a:gd name="T66" fmla="*/ 3151 w 4238"/>
                <a:gd name="T67" fmla="*/ 925 h 1955"/>
                <a:gd name="T68" fmla="*/ 2880 w 4238"/>
                <a:gd name="T69" fmla="*/ 723 h 1955"/>
                <a:gd name="T70" fmla="*/ 2720 w 4238"/>
                <a:gd name="T71" fmla="*/ 765 h 1955"/>
                <a:gd name="T72" fmla="*/ 2518 w 4238"/>
                <a:gd name="T73" fmla="*/ 640 h 1955"/>
                <a:gd name="T74" fmla="*/ 2386 w 4238"/>
                <a:gd name="T75" fmla="*/ 605 h 1955"/>
                <a:gd name="T76" fmla="*/ 2338 w 4238"/>
                <a:gd name="T77" fmla="*/ 570 h 1955"/>
                <a:gd name="T78" fmla="*/ 2331 w 4238"/>
                <a:gd name="T79" fmla="*/ 598 h 1955"/>
                <a:gd name="T80" fmla="*/ 2296 w 4238"/>
                <a:gd name="T81" fmla="*/ 591 h 1955"/>
                <a:gd name="T82" fmla="*/ 2275 w 4238"/>
                <a:gd name="T83" fmla="*/ 570 h 1955"/>
                <a:gd name="T84" fmla="*/ 2219 w 4238"/>
                <a:gd name="T85" fmla="*/ 542 h 1955"/>
                <a:gd name="T86" fmla="*/ 2143 w 4238"/>
                <a:gd name="T87" fmla="*/ 542 h 1955"/>
                <a:gd name="T88" fmla="*/ 1871 w 4238"/>
                <a:gd name="T89" fmla="*/ 640 h 1955"/>
                <a:gd name="T90" fmla="*/ 1635 w 4238"/>
                <a:gd name="T91" fmla="*/ 793 h 1955"/>
                <a:gd name="T92" fmla="*/ 1531 w 4238"/>
                <a:gd name="T93" fmla="*/ 1036 h 1955"/>
                <a:gd name="T94" fmla="*/ 1225 w 4238"/>
                <a:gd name="T95" fmla="*/ 1252 h 1955"/>
                <a:gd name="T96" fmla="*/ 1120 w 4238"/>
                <a:gd name="T97" fmla="*/ 1572 h 1955"/>
                <a:gd name="T98" fmla="*/ 912 w 4238"/>
                <a:gd name="T99" fmla="*/ 1725 h 1955"/>
                <a:gd name="T100" fmla="*/ 605 w 4238"/>
                <a:gd name="T101" fmla="*/ 1836 h 1955"/>
                <a:gd name="T102" fmla="*/ 258 w 4238"/>
                <a:gd name="T103" fmla="*/ 1954 h 1955"/>
                <a:gd name="T104" fmla="*/ 42 w 4238"/>
                <a:gd name="T105" fmla="*/ 1718 h 1955"/>
                <a:gd name="T106" fmla="*/ 237 w 4238"/>
                <a:gd name="T107" fmla="*/ 1544 h 1955"/>
                <a:gd name="T108" fmla="*/ 418 w 4238"/>
                <a:gd name="T109" fmla="*/ 1301 h 1955"/>
                <a:gd name="T110" fmla="*/ 564 w 4238"/>
                <a:gd name="T111" fmla="*/ 1217 h 1955"/>
                <a:gd name="T112" fmla="*/ 779 w 4238"/>
                <a:gd name="T113" fmla="*/ 1231 h 19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238" h="1955">
                  <a:moveTo>
                    <a:pt x="856" y="1231"/>
                  </a:moveTo>
                  <a:lnTo>
                    <a:pt x="856" y="1217"/>
                  </a:lnTo>
                  <a:lnTo>
                    <a:pt x="821" y="1196"/>
                  </a:lnTo>
                  <a:lnTo>
                    <a:pt x="821" y="1189"/>
                  </a:lnTo>
                  <a:lnTo>
                    <a:pt x="800" y="1182"/>
                  </a:lnTo>
                  <a:lnTo>
                    <a:pt x="828" y="1148"/>
                  </a:lnTo>
                  <a:lnTo>
                    <a:pt x="877" y="1134"/>
                  </a:lnTo>
                  <a:lnTo>
                    <a:pt x="912" y="1162"/>
                  </a:lnTo>
                  <a:lnTo>
                    <a:pt x="953" y="1148"/>
                  </a:lnTo>
                  <a:lnTo>
                    <a:pt x="974" y="1113"/>
                  </a:lnTo>
                  <a:lnTo>
                    <a:pt x="988" y="1099"/>
                  </a:lnTo>
                  <a:lnTo>
                    <a:pt x="988" y="1057"/>
                  </a:lnTo>
                  <a:lnTo>
                    <a:pt x="981" y="1029"/>
                  </a:lnTo>
                  <a:lnTo>
                    <a:pt x="953" y="1015"/>
                  </a:lnTo>
                  <a:lnTo>
                    <a:pt x="946" y="987"/>
                  </a:lnTo>
                  <a:lnTo>
                    <a:pt x="946" y="974"/>
                  </a:lnTo>
                  <a:lnTo>
                    <a:pt x="960" y="960"/>
                  </a:lnTo>
                  <a:lnTo>
                    <a:pt x="932" y="925"/>
                  </a:lnTo>
                  <a:lnTo>
                    <a:pt x="981" y="869"/>
                  </a:lnTo>
                  <a:lnTo>
                    <a:pt x="932" y="841"/>
                  </a:lnTo>
                  <a:lnTo>
                    <a:pt x="932" y="807"/>
                  </a:lnTo>
                  <a:lnTo>
                    <a:pt x="974" y="793"/>
                  </a:lnTo>
                  <a:lnTo>
                    <a:pt x="1009" y="821"/>
                  </a:lnTo>
                  <a:lnTo>
                    <a:pt x="1009" y="765"/>
                  </a:lnTo>
                  <a:lnTo>
                    <a:pt x="1023" y="744"/>
                  </a:lnTo>
                  <a:lnTo>
                    <a:pt x="1030" y="744"/>
                  </a:lnTo>
                  <a:lnTo>
                    <a:pt x="1058" y="744"/>
                  </a:lnTo>
                  <a:lnTo>
                    <a:pt x="1078" y="695"/>
                  </a:lnTo>
                  <a:lnTo>
                    <a:pt x="1071" y="668"/>
                  </a:lnTo>
                  <a:lnTo>
                    <a:pt x="1078" y="661"/>
                  </a:lnTo>
                  <a:lnTo>
                    <a:pt x="1078" y="640"/>
                  </a:lnTo>
                  <a:lnTo>
                    <a:pt x="1078" y="633"/>
                  </a:lnTo>
                  <a:lnTo>
                    <a:pt x="1085" y="633"/>
                  </a:lnTo>
                  <a:lnTo>
                    <a:pt x="1113" y="612"/>
                  </a:lnTo>
                  <a:lnTo>
                    <a:pt x="1141" y="605"/>
                  </a:lnTo>
                  <a:lnTo>
                    <a:pt x="1176" y="577"/>
                  </a:lnTo>
                  <a:lnTo>
                    <a:pt x="1190" y="542"/>
                  </a:lnTo>
                  <a:lnTo>
                    <a:pt x="1176" y="494"/>
                  </a:lnTo>
                  <a:lnTo>
                    <a:pt x="1176" y="480"/>
                  </a:lnTo>
                  <a:lnTo>
                    <a:pt x="1155" y="459"/>
                  </a:lnTo>
                  <a:lnTo>
                    <a:pt x="1162" y="431"/>
                  </a:lnTo>
                  <a:lnTo>
                    <a:pt x="1204" y="410"/>
                  </a:lnTo>
                  <a:lnTo>
                    <a:pt x="1211" y="396"/>
                  </a:lnTo>
                  <a:lnTo>
                    <a:pt x="1190" y="396"/>
                  </a:lnTo>
                  <a:lnTo>
                    <a:pt x="1218" y="341"/>
                  </a:lnTo>
                  <a:lnTo>
                    <a:pt x="1252" y="313"/>
                  </a:lnTo>
                  <a:lnTo>
                    <a:pt x="1259" y="341"/>
                  </a:lnTo>
                  <a:lnTo>
                    <a:pt x="1287" y="368"/>
                  </a:lnTo>
                  <a:lnTo>
                    <a:pt x="1343" y="382"/>
                  </a:lnTo>
                  <a:lnTo>
                    <a:pt x="1350" y="382"/>
                  </a:lnTo>
                  <a:lnTo>
                    <a:pt x="1357" y="403"/>
                  </a:lnTo>
                  <a:lnTo>
                    <a:pt x="1385" y="410"/>
                  </a:lnTo>
                  <a:lnTo>
                    <a:pt x="1412" y="431"/>
                  </a:lnTo>
                  <a:lnTo>
                    <a:pt x="1433" y="445"/>
                  </a:lnTo>
                  <a:lnTo>
                    <a:pt x="1440" y="445"/>
                  </a:lnTo>
                  <a:lnTo>
                    <a:pt x="1447" y="438"/>
                  </a:lnTo>
                  <a:lnTo>
                    <a:pt x="1475" y="431"/>
                  </a:lnTo>
                  <a:lnTo>
                    <a:pt x="1489" y="403"/>
                  </a:lnTo>
                  <a:lnTo>
                    <a:pt x="1503" y="362"/>
                  </a:lnTo>
                  <a:lnTo>
                    <a:pt x="1531" y="362"/>
                  </a:lnTo>
                  <a:lnTo>
                    <a:pt x="1544" y="375"/>
                  </a:lnTo>
                  <a:lnTo>
                    <a:pt x="1565" y="375"/>
                  </a:lnTo>
                  <a:lnTo>
                    <a:pt x="1572" y="382"/>
                  </a:lnTo>
                  <a:lnTo>
                    <a:pt x="1607" y="334"/>
                  </a:lnTo>
                  <a:lnTo>
                    <a:pt x="1621" y="362"/>
                  </a:lnTo>
                  <a:lnTo>
                    <a:pt x="1732" y="362"/>
                  </a:lnTo>
                  <a:lnTo>
                    <a:pt x="1760" y="368"/>
                  </a:lnTo>
                  <a:lnTo>
                    <a:pt x="1781" y="368"/>
                  </a:lnTo>
                  <a:lnTo>
                    <a:pt x="1774" y="334"/>
                  </a:lnTo>
                  <a:lnTo>
                    <a:pt x="1802" y="313"/>
                  </a:lnTo>
                  <a:lnTo>
                    <a:pt x="1830" y="299"/>
                  </a:lnTo>
                  <a:lnTo>
                    <a:pt x="1837" y="271"/>
                  </a:lnTo>
                  <a:lnTo>
                    <a:pt x="1816" y="243"/>
                  </a:lnTo>
                  <a:lnTo>
                    <a:pt x="1837" y="229"/>
                  </a:lnTo>
                  <a:lnTo>
                    <a:pt x="1837" y="215"/>
                  </a:lnTo>
                  <a:lnTo>
                    <a:pt x="1851" y="201"/>
                  </a:lnTo>
                  <a:lnTo>
                    <a:pt x="1865" y="195"/>
                  </a:lnTo>
                  <a:lnTo>
                    <a:pt x="1865" y="201"/>
                  </a:lnTo>
                  <a:lnTo>
                    <a:pt x="1927" y="201"/>
                  </a:lnTo>
                  <a:lnTo>
                    <a:pt x="1969" y="208"/>
                  </a:lnTo>
                  <a:lnTo>
                    <a:pt x="1969" y="201"/>
                  </a:lnTo>
                  <a:lnTo>
                    <a:pt x="2031" y="215"/>
                  </a:lnTo>
                  <a:lnTo>
                    <a:pt x="2038" y="229"/>
                  </a:lnTo>
                  <a:lnTo>
                    <a:pt x="2045" y="271"/>
                  </a:lnTo>
                  <a:lnTo>
                    <a:pt x="2066" y="285"/>
                  </a:lnTo>
                  <a:lnTo>
                    <a:pt x="2066" y="327"/>
                  </a:lnTo>
                  <a:lnTo>
                    <a:pt x="2094" y="327"/>
                  </a:lnTo>
                  <a:lnTo>
                    <a:pt x="2101" y="382"/>
                  </a:lnTo>
                  <a:lnTo>
                    <a:pt x="2108" y="396"/>
                  </a:lnTo>
                  <a:lnTo>
                    <a:pt x="2136" y="382"/>
                  </a:lnTo>
                  <a:lnTo>
                    <a:pt x="2143" y="368"/>
                  </a:lnTo>
                  <a:lnTo>
                    <a:pt x="2143" y="313"/>
                  </a:lnTo>
                  <a:lnTo>
                    <a:pt x="2192" y="285"/>
                  </a:lnTo>
                  <a:lnTo>
                    <a:pt x="2192" y="243"/>
                  </a:lnTo>
                  <a:lnTo>
                    <a:pt x="2254" y="243"/>
                  </a:lnTo>
                  <a:lnTo>
                    <a:pt x="2296" y="271"/>
                  </a:lnTo>
                  <a:lnTo>
                    <a:pt x="2331" y="250"/>
                  </a:lnTo>
                  <a:lnTo>
                    <a:pt x="2351" y="236"/>
                  </a:lnTo>
                  <a:lnTo>
                    <a:pt x="2338" y="215"/>
                  </a:lnTo>
                  <a:lnTo>
                    <a:pt x="2324" y="132"/>
                  </a:lnTo>
                  <a:lnTo>
                    <a:pt x="2303" y="104"/>
                  </a:lnTo>
                  <a:lnTo>
                    <a:pt x="2296" y="104"/>
                  </a:lnTo>
                  <a:lnTo>
                    <a:pt x="2289" y="76"/>
                  </a:lnTo>
                  <a:lnTo>
                    <a:pt x="2296" y="69"/>
                  </a:lnTo>
                  <a:lnTo>
                    <a:pt x="2338" y="41"/>
                  </a:lnTo>
                  <a:lnTo>
                    <a:pt x="2359" y="0"/>
                  </a:lnTo>
                  <a:lnTo>
                    <a:pt x="2428" y="7"/>
                  </a:lnTo>
                  <a:lnTo>
                    <a:pt x="2435" y="21"/>
                  </a:lnTo>
                  <a:lnTo>
                    <a:pt x="2456" y="21"/>
                  </a:lnTo>
                  <a:lnTo>
                    <a:pt x="2498" y="14"/>
                  </a:lnTo>
                  <a:lnTo>
                    <a:pt x="2532" y="55"/>
                  </a:lnTo>
                  <a:lnTo>
                    <a:pt x="2532" y="69"/>
                  </a:lnTo>
                  <a:lnTo>
                    <a:pt x="2553" y="111"/>
                  </a:lnTo>
                  <a:lnTo>
                    <a:pt x="2553" y="132"/>
                  </a:lnTo>
                  <a:lnTo>
                    <a:pt x="2602" y="111"/>
                  </a:lnTo>
                  <a:lnTo>
                    <a:pt x="2651" y="139"/>
                  </a:lnTo>
                  <a:lnTo>
                    <a:pt x="2665" y="201"/>
                  </a:lnTo>
                  <a:lnTo>
                    <a:pt x="2727" y="215"/>
                  </a:lnTo>
                  <a:lnTo>
                    <a:pt x="2811" y="174"/>
                  </a:lnTo>
                  <a:lnTo>
                    <a:pt x="2818" y="174"/>
                  </a:lnTo>
                  <a:lnTo>
                    <a:pt x="2818" y="132"/>
                  </a:lnTo>
                  <a:lnTo>
                    <a:pt x="2887" y="111"/>
                  </a:lnTo>
                  <a:lnTo>
                    <a:pt x="2908" y="139"/>
                  </a:lnTo>
                  <a:lnTo>
                    <a:pt x="2880" y="167"/>
                  </a:lnTo>
                  <a:lnTo>
                    <a:pt x="2950" y="167"/>
                  </a:lnTo>
                  <a:lnTo>
                    <a:pt x="2950" y="139"/>
                  </a:lnTo>
                  <a:lnTo>
                    <a:pt x="2978" y="146"/>
                  </a:lnTo>
                  <a:lnTo>
                    <a:pt x="2991" y="167"/>
                  </a:lnTo>
                  <a:lnTo>
                    <a:pt x="3061" y="215"/>
                  </a:lnTo>
                  <a:lnTo>
                    <a:pt x="3089" y="201"/>
                  </a:lnTo>
                  <a:lnTo>
                    <a:pt x="3110" y="208"/>
                  </a:lnTo>
                  <a:lnTo>
                    <a:pt x="3124" y="181"/>
                  </a:lnTo>
                  <a:lnTo>
                    <a:pt x="3138" y="195"/>
                  </a:lnTo>
                  <a:lnTo>
                    <a:pt x="3145" y="167"/>
                  </a:lnTo>
                  <a:lnTo>
                    <a:pt x="3172" y="181"/>
                  </a:lnTo>
                  <a:lnTo>
                    <a:pt x="3172" y="215"/>
                  </a:lnTo>
                  <a:lnTo>
                    <a:pt x="3207" y="229"/>
                  </a:lnTo>
                  <a:lnTo>
                    <a:pt x="3221" y="215"/>
                  </a:lnTo>
                  <a:lnTo>
                    <a:pt x="3235" y="243"/>
                  </a:lnTo>
                  <a:lnTo>
                    <a:pt x="3291" y="250"/>
                  </a:lnTo>
                  <a:lnTo>
                    <a:pt x="3291" y="264"/>
                  </a:lnTo>
                  <a:lnTo>
                    <a:pt x="3284" y="278"/>
                  </a:lnTo>
                  <a:lnTo>
                    <a:pt x="3312" y="313"/>
                  </a:lnTo>
                  <a:lnTo>
                    <a:pt x="3291" y="375"/>
                  </a:lnTo>
                  <a:lnTo>
                    <a:pt x="3291" y="424"/>
                  </a:lnTo>
                  <a:lnTo>
                    <a:pt x="3256" y="424"/>
                  </a:lnTo>
                  <a:lnTo>
                    <a:pt x="3256" y="431"/>
                  </a:lnTo>
                  <a:lnTo>
                    <a:pt x="3221" y="508"/>
                  </a:lnTo>
                  <a:lnTo>
                    <a:pt x="3193" y="563"/>
                  </a:lnTo>
                  <a:lnTo>
                    <a:pt x="3207" y="563"/>
                  </a:lnTo>
                  <a:lnTo>
                    <a:pt x="3256" y="542"/>
                  </a:lnTo>
                  <a:lnTo>
                    <a:pt x="3270" y="577"/>
                  </a:lnTo>
                  <a:lnTo>
                    <a:pt x="3305" y="542"/>
                  </a:lnTo>
                  <a:lnTo>
                    <a:pt x="3388" y="535"/>
                  </a:lnTo>
                  <a:lnTo>
                    <a:pt x="3402" y="514"/>
                  </a:lnTo>
                  <a:lnTo>
                    <a:pt x="3437" y="528"/>
                  </a:lnTo>
                  <a:lnTo>
                    <a:pt x="3437" y="535"/>
                  </a:lnTo>
                  <a:lnTo>
                    <a:pt x="3478" y="514"/>
                  </a:lnTo>
                  <a:lnTo>
                    <a:pt x="3506" y="556"/>
                  </a:lnTo>
                  <a:lnTo>
                    <a:pt x="3562" y="570"/>
                  </a:lnTo>
                  <a:lnTo>
                    <a:pt x="3597" y="668"/>
                  </a:lnTo>
                  <a:lnTo>
                    <a:pt x="3611" y="668"/>
                  </a:lnTo>
                  <a:lnTo>
                    <a:pt x="3645" y="675"/>
                  </a:lnTo>
                  <a:lnTo>
                    <a:pt x="3680" y="758"/>
                  </a:lnTo>
                  <a:lnTo>
                    <a:pt x="3729" y="786"/>
                  </a:lnTo>
                  <a:lnTo>
                    <a:pt x="3771" y="828"/>
                  </a:lnTo>
                  <a:lnTo>
                    <a:pt x="3812" y="855"/>
                  </a:lnTo>
                  <a:lnTo>
                    <a:pt x="3826" y="855"/>
                  </a:lnTo>
                  <a:lnTo>
                    <a:pt x="3833" y="862"/>
                  </a:lnTo>
                  <a:lnTo>
                    <a:pt x="3889" y="890"/>
                  </a:lnTo>
                  <a:lnTo>
                    <a:pt x="3903" y="974"/>
                  </a:lnTo>
                  <a:lnTo>
                    <a:pt x="3924" y="987"/>
                  </a:lnTo>
                  <a:lnTo>
                    <a:pt x="3896" y="1050"/>
                  </a:lnTo>
                  <a:lnTo>
                    <a:pt x="3903" y="1085"/>
                  </a:lnTo>
                  <a:lnTo>
                    <a:pt x="3937" y="1029"/>
                  </a:lnTo>
                  <a:lnTo>
                    <a:pt x="3944" y="1022"/>
                  </a:lnTo>
                  <a:lnTo>
                    <a:pt x="3972" y="1015"/>
                  </a:lnTo>
                  <a:lnTo>
                    <a:pt x="4000" y="1036"/>
                  </a:lnTo>
                  <a:lnTo>
                    <a:pt x="4021" y="1050"/>
                  </a:lnTo>
                  <a:lnTo>
                    <a:pt x="4007" y="1050"/>
                  </a:lnTo>
                  <a:lnTo>
                    <a:pt x="3958" y="1099"/>
                  </a:lnTo>
                  <a:lnTo>
                    <a:pt x="3958" y="1120"/>
                  </a:lnTo>
                  <a:lnTo>
                    <a:pt x="4007" y="1113"/>
                  </a:lnTo>
                  <a:lnTo>
                    <a:pt x="4063" y="1113"/>
                  </a:lnTo>
                  <a:lnTo>
                    <a:pt x="4091" y="1127"/>
                  </a:lnTo>
                  <a:lnTo>
                    <a:pt x="4098" y="1203"/>
                  </a:lnTo>
                  <a:lnTo>
                    <a:pt x="4118" y="1231"/>
                  </a:lnTo>
                  <a:lnTo>
                    <a:pt x="4098" y="1266"/>
                  </a:lnTo>
                  <a:lnTo>
                    <a:pt x="4118" y="1280"/>
                  </a:lnTo>
                  <a:lnTo>
                    <a:pt x="4153" y="1217"/>
                  </a:lnTo>
                  <a:lnTo>
                    <a:pt x="4202" y="1224"/>
                  </a:lnTo>
                  <a:lnTo>
                    <a:pt x="4237" y="1259"/>
                  </a:lnTo>
                  <a:lnTo>
                    <a:pt x="4237" y="1287"/>
                  </a:lnTo>
                  <a:lnTo>
                    <a:pt x="4174" y="1342"/>
                  </a:lnTo>
                  <a:lnTo>
                    <a:pt x="4167" y="1349"/>
                  </a:lnTo>
                  <a:lnTo>
                    <a:pt x="4160" y="1377"/>
                  </a:lnTo>
                  <a:lnTo>
                    <a:pt x="4160" y="1384"/>
                  </a:lnTo>
                  <a:lnTo>
                    <a:pt x="4132" y="1363"/>
                  </a:lnTo>
                  <a:lnTo>
                    <a:pt x="4125" y="1363"/>
                  </a:lnTo>
                  <a:lnTo>
                    <a:pt x="4091" y="1398"/>
                  </a:lnTo>
                  <a:lnTo>
                    <a:pt x="4042" y="1377"/>
                  </a:lnTo>
                  <a:lnTo>
                    <a:pt x="3972" y="1321"/>
                  </a:lnTo>
                  <a:lnTo>
                    <a:pt x="3972" y="1301"/>
                  </a:lnTo>
                  <a:lnTo>
                    <a:pt x="3944" y="1294"/>
                  </a:lnTo>
                  <a:lnTo>
                    <a:pt x="3924" y="1287"/>
                  </a:lnTo>
                  <a:lnTo>
                    <a:pt x="3903" y="1266"/>
                  </a:lnTo>
                  <a:lnTo>
                    <a:pt x="3875" y="1231"/>
                  </a:lnTo>
                  <a:lnTo>
                    <a:pt x="3861" y="1245"/>
                  </a:lnTo>
                  <a:lnTo>
                    <a:pt x="3847" y="1245"/>
                  </a:lnTo>
                  <a:lnTo>
                    <a:pt x="3833" y="1280"/>
                  </a:lnTo>
                  <a:lnTo>
                    <a:pt x="3833" y="1294"/>
                  </a:lnTo>
                  <a:lnTo>
                    <a:pt x="3861" y="1314"/>
                  </a:lnTo>
                  <a:lnTo>
                    <a:pt x="3861" y="1329"/>
                  </a:lnTo>
                  <a:lnTo>
                    <a:pt x="3868" y="1329"/>
                  </a:lnTo>
                  <a:lnTo>
                    <a:pt x="3875" y="1342"/>
                  </a:lnTo>
                  <a:lnTo>
                    <a:pt x="3875" y="1349"/>
                  </a:lnTo>
                  <a:lnTo>
                    <a:pt x="3847" y="1363"/>
                  </a:lnTo>
                  <a:lnTo>
                    <a:pt x="3805" y="1342"/>
                  </a:lnTo>
                  <a:lnTo>
                    <a:pt x="3736" y="1294"/>
                  </a:lnTo>
                  <a:lnTo>
                    <a:pt x="3736" y="1287"/>
                  </a:lnTo>
                  <a:lnTo>
                    <a:pt x="3708" y="1280"/>
                  </a:lnTo>
                  <a:lnTo>
                    <a:pt x="3659" y="1217"/>
                  </a:lnTo>
                  <a:lnTo>
                    <a:pt x="3638" y="1217"/>
                  </a:lnTo>
                  <a:lnTo>
                    <a:pt x="3576" y="1162"/>
                  </a:lnTo>
                  <a:lnTo>
                    <a:pt x="3548" y="1162"/>
                  </a:lnTo>
                  <a:lnTo>
                    <a:pt x="3520" y="1182"/>
                  </a:lnTo>
                  <a:lnTo>
                    <a:pt x="3478" y="1120"/>
                  </a:lnTo>
                  <a:lnTo>
                    <a:pt x="3472" y="1099"/>
                  </a:lnTo>
                  <a:lnTo>
                    <a:pt x="3444" y="1092"/>
                  </a:lnTo>
                  <a:lnTo>
                    <a:pt x="3423" y="1085"/>
                  </a:lnTo>
                  <a:lnTo>
                    <a:pt x="3402" y="1050"/>
                  </a:lnTo>
                  <a:lnTo>
                    <a:pt x="3388" y="1036"/>
                  </a:lnTo>
                  <a:lnTo>
                    <a:pt x="3332" y="1002"/>
                  </a:lnTo>
                  <a:lnTo>
                    <a:pt x="3284" y="960"/>
                  </a:lnTo>
                  <a:lnTo>
                    <a:pt x="3270" y="960"/>
                  </a:lnTo>
                  <a:lnTo>
                    <a:pt x="3221" y="953"/>
                  </a:lnTo>
                  <a:lnTo>
                    <a:pt x="3179" y="918"/>
                  </a:lnTo>
                  <a:lnTo>
                    <a:pt x="3151" y="925"/>
                  </a:lnTo>
                  <a:lnTo>
                    <a:pt x="3138" y="904"/>
                  </a:lnTo>
                  <a:lnTo>
                    <a:pt x="3117" y="890"/>
                  </a:lnTo>
                  <a:lnTo>
                    <a:pt x="3117" y="883"/>
                  </a:lnTo>
                  <a:lnTo>
                    <a:pt x="3117" y="855"/>
                  </a:lnTo>
                  <a:lnTo>
                    <a:pt x="3026" y="793"/>
                  </a:lnTo>
                  <a:lnTo>
                    <a:pt x="2943" y="758"/>
                  </a:lnTo>
                  <a:lnTo>
                    <a:pt x="2880" y="723"/>
                  </a:lnTo>
                  <a:lnTo>
                    <a:pt x="2873" y="709"/>
                  </a:lnTo>
                  <a:lnTo>
                    <a:pt x="2845" y="737"/>
                  </a:lnTo>
                  <a:lnTo>
                    <a:pt x="2824" y="800"/>
                  </a:lnTo>
                  <a:lnTo>
                    <a:pt x="2824" y="821"/>
                  </a:lnTo>
                  <a:lnTo>
                    <a:pt x="2790" y="800"/>
                  </a:lnTo>
                  <a:lnTo>
                    <a:pt x="2755" y="793"/>
                  </a:lnTo>
                  <a:lnTo>
                    <a:pt x="2720" y="765"/>
                  </a:lnTo>
                  <a:lnTo>
                    <a:pt x="2734" y="709"/>
                  </a:lnTo>
                  <a:lnTo>
                    <a:pt x="2720" y="695"/>
                  </a:lnTo>
                  <a:lnTo>
                    <a:pt x="2685" y="675"/>
                  </a:lnTo>
                  <a:lnTo>
                    <a:pt x="2644" y="661"/>
                  </a:lnTo>
                  <a:lnTo>
                    <a:pt x="2602" y="654"/>
                  </a:lnTo>
                  <a:lnTo>
                    <a:pt x="2581" y="654"/>
                  </a:lnTo>
                  <a:lnTo>
                    <a:pt x="2518" y="640"/>
                  </a:lnTo>
                  <a:lnTo>
                    <a:pt x="2491" y="633"/>
                  </a:lnTo>
                  <a:lnTo>
                    <a:pt x="2470" y="626"/>
                  </a:lnTo>
                  <a:lnTo>
                    <a:pt x="2449" y="626"/>
                  </a:lnTo>
                  <a:lnTo>
                    <a:pt x="2428" y="626"/>
                  </a:lnTo>
                  <a:lnTo>
                    <a:pt x="2400" y="612"/>
                  </a:lnTo>
                  <a:lnTo>
                    <a:pt x="2393" y="612"/>
                  </a:lnTo>
                  <a:lnTo>
                    <a:pt x="2386" y="605"/>
                  </a:lnTo>
                  <a:lnTo>
                    <a:pt x="2359" y="605"/>
                  </a:lnTo>
                  <a:lnTo>
                    <a:pt x="2359" y="598"/>
                  </a:lnTo>
                  <a:lnTo>
                    <a:pt x="2338" y="577"/>
                  </a:lnTo>
                  <a:lnTo>
                    <a:pt x="2359" y="577"/>
                  </a:lnTo>
                  <a:lnTo>
                    <a:pt x="2359" y="570"/>
                  </a:lnTo>
                  <a:lnTo>
                    <a:pt x="2351" y="570"/>
                  </a:lnTo>
                  <a:lnTo>
                    <a:pt x="2338" y="570"/>
                  </a:lnTo>
                  <a:lnTo>
                    <a:pt x="2331" y="577"/>
                  </a:lnTo>
                  <a:lnTo>
                    <a:pt x="2324" y="577"/>
                  </a:lnTo>
                  <a:lnTo>
                    <a:pt x="2331" y="591"/>
                  </a:lnTo>
                  <a:lnTo>
                    <a:pt x="2338" y="591"/>
                  </a:lnTo>
                  <a:lnTo>
                    <a:pt x="2338" y="605"/>
                  </a:lnTo>
                  <a:lnTo>
                    <a:pt x="2331" y="591"/>
                  </a:lnTo>
                  <a:lnTo>
                    <a:pt x="2331" y="598"/>
                  </a:lnTo>
                  <a:lnTo>
                    <a:pt x="2324" y="591"/>
                  </a:lnTo>
                  <a:lnTo>
                    <a:pt x="2324" y="598"/>
                  </a:lnTo>
                  <a:lnTo>
                    <a:pt x="2317" y="598"/>
                  </a:lnTo>
                  <a:lnTo>
                    <a:pt x="2317" y="591"/>
                  </a:lnTo>
                  <a:lnTo>
                    <a:pt x="2317" y="598"/>
                  </a:lnTo>
                  <a:lnTo>
                    <a:pt x="2303" y="591"/>
                  </a:lnTo>
                  <a:lnTo>
                    <a:pt x="2296" y="591"/>
                  </a:lnTo>
                  <a:lnTo>
                    <a:pt x="2296" y="577"/>
                  </a:lnTo>
                  <a:lnTo>
                    <a:pt x="2289" y="591"/>
                  </a:lnTo>
                  <a:lnTo>
                    <a:pt x="2289" y="577"/>
                  </a:lnTo>
                  <a:lnTo>
                    <a:pt x="2289" y="591"/>
                  </a:lnTo>
                  <a:lnTo>
                    <a:pt x="2275" y="577"/>
                  </a:lnTo>
                  <a:lnTo>
                    <a:pt x="2275" y="591"/>
                  </a:lnTo>
                  <a:lnTo>
                    <a:pt x="2275" y="570"/>
                  </a:lnTo>
                  <a:lnTo>
                    <a:pt x="2261" y="591"/>
                  </a:lnTo>
                  <a:lnTo>
                    <a:pt x="2198" y="570"/>
                  </a:lnTo>
                  <a:lnTo>
                    <a:pt x="2198" y="563"/>
                  </a:lnTo>
                  <a:lnTo>
                    <a:pt x="2226" y="563"/>
                  </a:lnTo>
                  <a:lnTo>
                    <a:pt x="2233" y="556"/>
                  </a:lnTo>
                  <a:lnTo>
                    <a:pt x="2219" y="556"/>
                  </a:lnTo>
                  <a:lnTo>
                    <a:pt x="2219" y="542"/>
                  </a:lnTo>
                  <a:lnTo>
                    <a:pt x="2219" y="556"/>
                  </a:lnTo>
                  <a:lnTo>
                    <a:pt x="2205" y="542"/>
                  </a:lnTo>
                  <a:lnTo>
                    <a:pt x="2205" y="556"/>
                  </a:lnTo>
                  <a:lnTo>
                    <a:pt x="2198" y="556"/>
                  </a:lnTo>
                  <a:lnTo>
                    <a:pt x="2198" y="542"/>
                  </a:lnTo>
                  <a:lnTo>
                    <a:pt x="2171" y="542"/>
                  </a:lnTo>
                  <a:lnTo>
                    <a:pt x="2143" y="542"/>
                  </a:lnTo>
                  <a:lnTo>
                    <a:pt x="2087" y="542"/>
                  </a:lnTo>
                  <a:lnTo>
                    <a:pt x="2045" y="542"/>
                  </a:lnTo>
                  <a:lnTo>
                    <a:pt x="2025" y="563"/>
                  </a:lnTo>
                  <a:lnTo>
                    <a:pt x="1997" y="563"/>
                  </a:lnTo>
                  <a:lnTo>
                    <a:pt x="1948" y="612"/>
                  </a:lnTo>
                  <a:lnTo>
                    <a:pt x="1927" y="626"/>
                  </a:lnTo>
                  <a:lnTo>
                    <a:pt x="1871" y="640"/>
                  </a:lnTo>
                  <a:lnTo>
                    <a:pt x="1871" y="654"/>
                  </a:lnTo>
                  <a:lnTo>
                    <a:pt x="1781" y="689"/>
                  </a:lnTo>
                  <a:lnTo>
                    <a:pt x="1767" y="709"/>
                  </a:lnTo>
                  <a:lnTo>
                    <a:pt x="1704" y="744"/>
                  </a:lnTo>
                  <a:lnTo>
                    <a:pt x="1677" y="758"/>
                  </a:lnTo>
                  <a:lnTo>
                    <a:pt x="1649" y="772"/>
                  </a:lnTo>
                  <a:lnTo>
                    <a:pt x="1635" y="793"/>
                  </a:lnTo>
                  <a:lnTo>
                    <a:pt x="1642" y="793"/>
                  </a:lnTo>
                  <a:lnTo>
                    <a:pt x="1572" y="862"/>
                  </a:lnTo>
                  <a:lnTo>
                    <a:pt x="1572" y="897"/>
                  </a:lnTo>
                  <a:lnTo>
                    <a:pt x="1579" y="918"/>
                  </a:lnTo>
                  <a:lnTo>
                    <a:pt x="1552" y="960"/>
                  </a:lnTo>
                  <a:lnTo>
                    <a:pt x="1517" y="995"/>
                  </a:lnTo>
                  <a:lnTo>
                    <a:pt x="1531" y="1036"/>
                  </a:lnTo>
                  <a:lnTo>
                    <a:pt x="1517" y="1057"/>
                  </a:lnTo>
                  <a:lnTo>
                    <a:pt x="1489" y="1085"/>
                  </a:lnTo>
                  <a:lnTo>
                    <a:pt x="1371" y="1127"/>
                  </a:lnTo>
                  <a:lnTo>
                    <a:pt x="1336" y="1134"/>
                  </a:lnTo>
                  <a:lnTo>
                    <a:pt x="1280" y="1168"/>
                  </a:lnTo>
                  <a:lnTo>
                    <a:pt x="1245" y="1224"/>
                  </a:lnTo>
                  <a:lnTo>
                    <a:pt x="1225" y="1252"/>
                  </a:lnTo>
                  <a:lnTo>
                    <a:pt x="1211" y="1321"/>
                  </a:lnTo>
                  <a:lnTo>
                    <a:pt x="1211" y="1377"/>
                  </a:lnTo>
                  <a:lnTo>
                    <a:pt x="1183" y="1398"/>
                  </a:lnTo>
                  <a:lnTo>
                    <a:pt x="1148" y="1447"/>
                  </a:lnTo>
                  <a:lnTo>
                    <a:pt x="1106" y="1495"/>
                  </a:lnTo>
                  <a:lnTo>
                    <a:pt x="1113" y="1558"/>
                  </a:lnTo>
                  <a:lnTo>
                    <a:pt x="1120" y="1572"/>
                  </a:lnTo>
                  <a:lnTo>
                    <a:pt x="1092" y="1579"/>
                  </a:lnTo>
                  <a:lnTo>
                    <a:pt x="1058" y="1614"/>
                  </a:lnTo>
                  <a:lnTo>
                    <a:pt x="1051" y="1621"/>
                  </a:lnTo>
                  <a:lnTo>
                    <a:pt x="1009" y="1648"/>
                  </a:lnTo>
                  <a:lnTo>
                    <a:pt x="988" y="1655"/>
                  </a:lnTo>
                  <a:lnTo>
                    <a:pt x="953" y="1718"/>
                  </a:lnTo>
                  <a:lnTo>
                    <a:pt x="912" y="1725"/>
                  </a:lnTo>
                  <a:lnTo>
                    <a:pt x="863" y="1753"/>
                  </a:lnTo>
                  <a:lnTo>
                    <a:pt x="786" y="1781"/>
                  </a:lnTo>
                  <a:lnTo>
                    <a:pt x="779" y="1802"/>
                  </a:lnTo>
                  <a:lnTo>
                    <a:pt x="751" y="1808"/>
                  </a:lnTo>
                  <a:lnTo>
                    <a:pt x="689" y="1822"/>
                  </a:lnTo>
                  <a:lnTo>
                    <a:pt x="647" y="1836"/>
                  </a:lnTo>
                  <a:lnTo>
                    <a:pt x="605" y="1836"/>
                  </a:lnTo>
                  <a:lnTo>
                    <a:pt x="585" y="1850"/>
                  </a:lnTo>
                  <a:lnTo>
                    <a:pt x="564" y="1871"/>
                  </a:lnTo>
                  <a:lnTo>
                    <a:pt x="515" y="1857"/>
                  </a:lnTo>
                  <a:lnTo>
                    <a:pt x="397" y="1920"/>
                  </a:lnTo>
                  <a:lnTo>
                    <a:pt x="341" y="1913"/>
                  </a:lnTo>
                  <a:lnTo>
                    <a:pt x="292" y="1954"/>
                  </a:lnTo>
                  <a:lnTo>
                    <a:pt x="258" y="1954"/>
                  </a:lnTo>
                  <a:lnTo>
                    <a:pt x="230" y="1948"/>
                  </a:lnTo>
                  <a:lnTo>
                    <a:pt x="139" y="1934"/>
                  </a:lnTo>
                  <a:lnTo>
                    <a:pt x="105" y="1948"/>
                  </a:lnTo>
                  <a:lnTo>
                    <a:pt x="70" y="1948"/>
                  </a:lnTo>
                  <a:lnTo>
                    <a:pt x="7" y="1815"/>
                  </a:lnTo>
                  <a:lnTo>
                    <a:pt x="0" y="1788"/>
                  </a:lnTo>
                  <a:lnTo>
                    <a:pt x="42" y="1718"/>
                  </a:lnTo>
                  <a:lnTo>
                    <a:pt x="97" y="1711"/>
                  </a:lnTo>
                  <a:lnTo>
                    <a:pt x="105" y="1704"/>
                  </a:lnTo>
                  <a:lnTo>
                    <a:pt x="125" y="1648"/>
                  </a:lnTo>
                  <a:lnTo>
                    <a:pt x="125" y="1607"/>
                  </a:lnTo>
                  <a:lnTo>
                    <a:pt x="139" y="1586"/>
                  </a:lnTo>
                  <a:lnTo>
                    <a:pt x="174" y="1572"/>
                  </a:lnTo>
                  <a:lnTo>
                    <a:pt x="237" y="1544"/>
                  </a:lnTo>
                  <a:lnTo>
                    <a:pt x="264" y="1516"/>
                  </a:lnTo>
                  <a:lnTo>
                    <a:pt x="292" y="1481"/>
                  </a:lnTo>
                  <a:lnTo>
                    <a:pt x="285" y="1412"/>
                  </a:lnTo>
                  <a:lnTo>
                    <a:pt x="341" y="1384"/>
                  </a:lnTo>
                  <a:lnTo>
                    <a:pt x="362" y="1342"/>
                  </a:lnTo>
                  <a:lnTo>
                    <a:pt x="390" y="1329"/>
                  </a:lnTo>
                  <a:lnTo>
                    <a:pt x="418" y="1301"/>
                  </a:lnTo>
                  <a:lnTo>
                    <a:pt x="431" y="1287"/>
                  </a:lnTo>
                  <a:lnTo>
                    <a:pt x="397" y="1294"/>
                  </a:lnTo>
                  <a:lnTo>
                    <a:pt x="362" y="1245"/>
                  </a:lnTo>
                  <a:lnTo>
                    <a:pt x="376" y="1203"/>
                  </a:lnTo>
                  <a:lnTo>
                    <a:pt x="418" y="1182"/>
                  </a:lnTo>
                  <a:lnTo>
                    <a:pt x="459" y="1168"/>
                  </a:lnTo>
                  <a:lnTo>
                    <a:pt x="564" y="1217"/>
                  </a:lnTo>
                  <a:lnTo>
                    <a:pt x="570" y="1217"/>
                  </a:lnTo>
                  <a:lnTo>
                    <a:pt x="633" y="1231"/>
                  </a:lnTo>
                  <a:lnTo>
                    <a:pt x="647" y="1252"/>
                  </a:lnTo>
                  <a:lnTo>
                    <a:pt x="703" y="1231"/>
                  </a:lnTo>
                  <a:lnTo>
                    <a:pt x="724" y="1252"/>
                  </a:lnTo>
                  <a:lnTo>
                    <a:pt x="731" y="1252"/>
                  </a:lnTo>
                  <a:lnTo>
                    <a:pt x="779" y="1231"/>
                  </a:lnTo>
                  <a:lnTo>
                    <a:pt x="786" y="1231"/>
                  </a:lnTo>
                  <a:lnTo>
                    <a:pt x="849" y="1252"/>
                  </a:lnTo>
                  <a:lnTo>
                    <a:pt x="856" y="1231"/>
                  </a:lnTo>
                </a:path>
              </a:pathLst>
            </a:custGeom>
            <a:grpFill/>
            <a:ln w="9525" cap="flat" cmpd="sng">
              <a:solidFill>
                <a:schemeClr val="bg1"/>
              </a:solid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95" name="Freeform 92">
              <a:extLst>
                <a:ext uri="{FF2B5EF4-FFF2-40B4-BE49-F238E27FC236}">
                  <a16:creationId xmlns:a16="http://schemas.microsoft.com/office/drawing/2014/main" id="{8282933F-E8A1-4CA9-87D5-1B7B366D910F}"/>
                </a:ext>
              </a:extLst>
            </p:cNvPr>
            <p:cNvSpPr>
              <a:spLocks noChangeArrowheads="1"/>
            </p:cNvSpPr>
            <p:nvPr/>
          </p:nvSpPr>
          <p:spPr bwMode="auto">
            <a:xfrm>
              <a:off x="17458574" y="2987532"/>
              <a:ext cx="1234381" cy="1095689"/>
            </a:xfrm>
            <a:custGeom>
              <a:avLst/>
              <a:gdLst>
                <a:gd name="T0" fmla="*/ 1112 w 2629"/>
                <a:gd name="T1" fmla="*/ 1829 h 2331"/>
                <a:gd name="T2" fmla="*/ 1070 w 2629"/>
                <a:gd name="T3" fmla="*/ 1878 h 2331"/>
                <a:gd name="T4" fmla="*/ 1132 w 2629"/>
                <a:gd name="T5" fmla="*/ 2003 h 2331"/>
                <a:gd name="T6" fmla="*/ 1202 w 2629"/>
                <a:gd name="T7" fmla="*/ 2094 h 2331"/>
                <a:gd name="T8" fmla="*/ 1258 w 2629"/>
                <a:gd name="T9" fmla="*/ 2177 h 2331"/>
                <a:gd name="T10" fmla="*/ 1279 w 2629"/>
                <a:gd name="T11" fmla="*/ 2094 h 2331"/>
                <a:gd name="T12" fmla="*/ 1265 w 2629"/>
                <a:gd name="T13" fmla="*/ 2003 h 2331"/>
                <a:gd name="T14" fmla="*/ 1299 w 2629"/>
                <a:gd name="T15" fmla="*/ 1941 h 2331"/>
                <a:gd name="T16" fmla="*/ 1376 w 2629"/>
                <a:gd name="T17" fmla="*/ 1962 h 2331"/>
                <a:gd name="T18" fmla="*/ 1480 w 2629"/>
                <a:gd name="T19" fmla="*/ 1913 h 2331"/>
                <a:gd name="T20" fmla="*/ 1654 w 2629"/>
                <a:gd name="T21" fmla="*/ 1976 h 2331"/>
                <a:gd name="T22" fmla="*/ 1738 w 2629"/>
                <a:gd name="T23" fmla="*/ 2122 h 2331"/>
                <a:gd name="T24" fmla="*/ 2016 w 2629"/>
                <a:gd name="T25" fmla="*/ 2024 h 2331"/>
                <a:gd name="T26" fmla="*/ 2009 w 2629"/>
                <a:gd name="T27" fmla="*/ 1878 h 2331"/>
                <a:gd name="T28" fmla="*/ 2072 w 2629"/>
                <a:gd name="T29" fmla="*/ 1899 h 2331"/>
                <a:gd name="T30" fmla="*/ 2378 w 2629"/>
                <a:gd name="T31" fmla="*/ 2163 h 2331"/>
                <a:gd name="T32" fmla="*/ 2405 w 2629"/>
                <a:gd name="T33" fmla="*/ 2261 h 2331"/>
                <a:gd name="T34" fmla="*/ 2301 w 2629"/>
                <a:gd name="T35" fmla="*/ 2289 h 2331"/>
                <a:gd name="T36" fmla="*/ 2524 w 2629"/>
                <a:gd name="T37" fmla="*/ 2316 h 2331"/>
                <a:gd name="T38" fmla="*/ 2489 w 2629"/>
                <a:gd name="T39" fmla="*/ 2094 h 2331"/>
                <a:gd name="T40" fmla="*/ 2218 w 2629"/>
                <a:gd name="T41" fmla="*/ 1864 h 2331"/>
                <a:gd name="T42" fmla="*/ 2078 w 2629"/>
                <a:gd name="T43" fmla="*/ 1704 h 2331"/>
                <a:gd name="T44" fmla="*/ 2086 w 2629"/>
                <a:gd name="T45" fmla="*/ 1440 h 2331"/>
                <a:gd name="T46" fmla="*/ 1953 w 2629"/>
                <a:gd name="T47" fmla="*/ 1454 h 2331"/>
                <a:gd name="T48" fmla="*/ 1967 w 2629"/>
                <a:gd name="T49" fmla="*/ 1315 h 2331"/>
                <a:gd name="T50" fmla="*/ 2197 w 2629"/>
                <a:gd name="T51" fmla="*/ 1092 h 2331"/>
                <a:gd name="T52" fmla="*/ 2099 w 2629"/>
                <a:gd name="T53" fmla="*/ 1009 h 2331"/>
                <a:gd name="T54" fmla="*/ 1939 w 2629"/>
                <a:gd name="T55" fmla="*/ 939 h 2331"/>
                <a:gd name="T56" fmla="*/ 1800 w 2629"/>
                <a:gd name="T57" fmla="*/ 953 h 2331"/>
                <a:gd name="T58" fmla="*/ 1738 w 2629"/>
                <a:gd name="T59" fmla="*/ 765 h 2331"/>
                <a:gd name="T60" fmla="*/ 1849 w 2629"/>
                <a:gd name="T61" fmla="*/ 688 h 2331"/>
                <a:gd name="T62" fmla="*/ 1974 w 2629"/>
                <a:gd name="T63" fmla="*/ 577 h 2331"/>
                <a:gd name="T64" fmla="*/ 2245 w 2629"/>
                <a:gd name="T65" fmla="*/ 452 h 2331"/>
                <a:gd name="T66" fmla="*/ 2294 w 2629"/>
                <a:gd name="T67" fmla="*/ 271 h 2331"/>
                <a:gd name="T68" fmla="*/ 1974 w 2629"/>
                <a:gd name="T69" fmla="*/ 223 h 2331"/>
                <a:gd name="T70" fmla="*/ 1745 w 2629"/>
                <a:gd name="T71" fmla="*/ 153 h 2331"/>
                <a:gd name="T72" fmla="*/ 1578 w 2629"/>
                <a:gd name="T73" fmla="*/ 195 h 2331"/>
                <a:gd name="T74" fmla="*/ 1265 w 2629"/>
                <a:gd name="T75" fmla="*/ 104 h 2331"/>
                <a:gd name="T76" fmla="*/ 840 w 2629"/>
                <a:gd name="T77" fmla="*/ 76 h 2331"/>
                <a:gd name="T78" fmla="*/ 673 w 2629"/>
                <a:gd name="T79" fmla="*/ 21 h 2331"/>
                <a:gd name="T80" fmla="*/ 701 w 2629"/>
                <a:gd name="T81" fmla="*/ 223 h 2331"/>
                <a:gd name="T82" fmla="*/ 499 w 2629"/>
                <a:gd name="T83" fmla="*/ 320 h 2331"/>
                <a:gd name="T84" fmla="*/ 410 w 2629"/>
                <a:gd name="T85" fmla="*/ 369 h 2331"/>
                <a:gd name="T86" fmla="*/ 285 w 2629"/>
                <a:gd name="T87" fmla="*/ 480 h 2331"/>
                <a:gd name="T88" fmla="*/ 215 w 2629"/>
                <a:gd name="T89" fmla="*/ 591 h 2331"/>
                <a:gd name="T90" fmla="*/ 90 w 2629"/>
                <a:gd name="T91" fmla="*/ 688 h 2331"/>
                <a:gd name="T92" fmla="*/ 20 w 2629"/>
                <a:gd name="T93" fmla="*/ 786 h 2331"/>
                <a:gd name="T94" fmla="*/ 132 w 2629"/>
                <a:gd name="T95" fmla="*/ 918 h 2331"/>
                <a:gd name="T96" fmla="*/ 285 w 2629"/>
                <a:gd name="T97" fmla="*/ 1092 h 2331"/>
                <a:gd name="T98" fmla="*/ 215 w 2629"/>
                <a:gd name="T99" fmla="*/ 1217 h 2331"/>
                <a:gd name="T100" fmla="*/ 132 w 2629"/>
                <a:gd name="T101" fmla="*/ 1336 h 2331"/>
                <a:gd name="T102" fmla="*/ 236 w 2629"/>
                <a:gd name="T103" fmla="*/ 1551 h 2331"/>
                <a:gd name="T104" fmla="*/ 313 w 2629"/>
                <a:gd name="T105" fmla="*/ 1642 h 2331"/>
                <a:gd name="T106" fmla="*/ 375 w 2629"/>
                <a:gd name="T107" fmla="*/ 1767 h 2331"/>
                <a:gd name="T108" fmla="*/ 430 w 2629"/>
                <a:gd name="T109" fmla="*/ 1801 h 2331"/>
                <a:gd name="T110" fmla="*/ 506 w 2629"/>
                <a:gd name="T111" fmla="*/ 1801 h 2331"/>
                <a:gd name="T112" fmla="*/ 562 w 2629"/>
                <a:gd name="T113" fmla="*/ 1871 h 2331"/>
                <a:gd name="T114" fmla="*/ 694 w 2629"/>
                <a:gd name="T115" fmla="*/ 1795 h 2331"/>
                <a:gd name="T116" fmla="*/ 826 w 2629"/>
                <a:gd name="T117" fmla="*/ 1774 h 2331"/>
                <a:gd name="T118" fmla="*/ 896 w 2629"/>
                <a:gd name="T119" fmla="*/ 1781 h 2331"/>
                <a:gd name="T120" fmla="*/ 1000 w 2629"/>
                <a:gd name="T121" fmla="*/ 1815 h 2331"/>
                <a:gd name="T122" fmla="*/ 1084 w 2629"/>
                <a:gd name="T123" fmla="*/ 1781 h 2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629" h="2331">
                  <a:moveTo>
                    <a:pt x="1084" y="1781"/>
                  </a:moveTo>
                  <a:lnTo>
                    <a:pt x="1070" y="1801"/>
                  </a:lnTo>
                  <a:lnTo>
                    <a:pt x="1091" y="1795"/>
                  </a:lnTo>
                  <a:lnTo>
                    <a:pt x="1084" y="1801"/>
                  </a:lnTo>
                  <a:lnTo>
                    <a:pt x="1112" y="1829"/>
                  </a:lnTo>
                  <a:lnTo>
                    <a:pt x="1084" y="1829"/>
                  </a:lnTo>
                  <a:lnTo>
                    <a:pt x="1084" y="1857"/>
                  </a:lnTo>
                  <a:lnTo>
                    <a:pt x="1098" y="1857"/>
                  </a:lnTo>
                  <a:lnTo>
                    <a:pt x="1098" y="1864"/>
                  </a:lnTo>
                  <a:lnTo>
                    <a:pt x="1070" y="1878"/>
                  </a:lnTo>
                  <a:lnTo>
                    <a:pt x="1091" y="1899"/>
                  </a:lnTo>
                  <a:lnTo>
                    <a:pt x="1125" y="1941"/>
                  </a:lnTo>
                  <a:lnTo>
                    <a:pt x="1125" y="1948"/>
                  </a:lnTo>
                  <a:lnTo>
                    <a:pt x="1132" y="1976"/>
                  </a:lnTo>
                  <a:lnTo>
                    <a:pt x="1132" y="2003"/>
                  </a:lnTo>
                  <a:lnTo>
                    <a:pt x="1132" y="2024"/>
                  </a:lnTo>
                  <a:lnTo>
                    <a:pt x="1160" y="2003"/>
                  </a:lnTo>
                  <a:lnTo>
                    <a:pt x="1188" y="2066"/>
                  </a:lnTo>
                  <a:lnTo>
                    <a:pt x="1181" y="2073"/>
                  </a:lnTo>
                  <a:lnTo>
                    <a:pt x="1202" y="2094"/>
                  </a:lnTo>
                  <a:lnTo>
                    <a:pt x="1188" y="2101"/>
                  </a:lnTo>
                  <a:lnTo>
                    <a:pt x="1223" y="2135"/>
                  </a:lnTo>
                  <a:lnTo>
                    <a:pt x="1223" y="2170"/>
                  </a:lnTo>
                  <a:lnTo>
                    <a:pt x="1258" y="2163"/>
                  </a:lnTo>
                  <a:lnTo>
                    <a:pt x="1258" y="2177"/>
                  </a:lnTo>
                  <a:lnTo>
                    <a:pt x="1286" y="2198"/>
                  </a:lnTo>
                  <a:lnTo>
                    <a:pt x="1292" y="2163"/>
                  </a:lnTo>
                  <a:lnTo>
                    <a:pt x="1362" y="2073"/>
                  </a:lnTo>
                  <a:lnTo>
                    <a:pt x="1320" y="2094"/>
                  </a:lnTo>
                  <a:lnTo>
                    <a:pt x="1279" y="2094"/>
                  </a:lnTo>
                  <a:lnTo>
                    <a:pt x="1258" y="2094"/>
                  </a:lnTo>
                  <a:lnTo>
                    <a:pt x="1230" y="2038"/>
                  </a:lnTo>
                  <a:lnTo>
                    <a:pt x="1251" y="2038"/>
                  </a:lnTo>
                  <a:lnTo>
                    <a:pt x="1251" y="2031"/>
                  </a:lnTo>
                  <a:lnTo>
                    <a:pt x="1265" y="2003"/>
                  </a:lnTo>
                  <a:lnTo>
                    <a:pt x="1299" y="2003"/>
                  </a:lnTo>
                  <a:lnTo>
                    <a:pt x="1320" y="2003"/>
                  </a:lnTo>
                  <a:lnTo>
                    <a:pt x="1313" y="1989"/>
                  </a:lnTo>
                  <a:lnTo>
                    <a:pt x="1299" y="1976"/>
                  </a:lnTo>
                  <a:lnTo>
                    <a:pt x="1299" y="1941"/>
                  </a:lnTo>
                  <a:lnTo>
                    <a:pt x="1320" y="1934"/>
                  </a:lnTo>
                  <a:lnTo>
                    <a:pt x="1341" y="1934"/>
                  </a:lnTo>
                  <a:lnTo>
                    <a:pt x="1355" y="1968"/>
                  </a:lnTo>
                  <a:lnTo>
                    <a:pt x="1376" y="1934"/>
                  </a:lnTo>
                  <a:lnTo>
                    <a:pt x="1376" y="1962"/>
                  </a:lnTo>
                  <a:lnTo>
                    <a:pt x="1390" y="1941"/>
                  </a:lnTo>
                  <a:lnTo>
                    <a:pt x="1418" y="1934"/>
                  </a:lnTo>
                  <a:lnTo>
                    <a:pt x="1425" y="1913"/>
                  </a:lnTo>
                  <a:lnTo>
                    <a:pt x="1459" y="1927"/>
                  </a:lnTo>
                  <a:lnTo>
                    <a:pt x="1480" y="1913"/>
                  </a:lnTo>
                  <a:lnTo>
                    <a:pt x="1487" y="1934"/>
                  </a:lnTo>
                  <a:lnTo>
                    <a:pt x="1508" y="1948"/>
                  </a:lnTo>
                  <a:lnTo>
                    <a:pt x="1529" y="1962"/>
                  </a:lnTo>
                  <a:lnTo>
                    <a:pt x="1557" y="1962"/>
                  </a:lnTo>
                  <a:lnTo>
                    <a:pt x="1654" y="1976"/>
                  </a:lnTo>
                  <a:lnTo>
                    <a:pt x="1703" y="1996"/>
                  </a:lnTo>
                  <a:lnTo>
                    <a:pt x="1717" y="2003"/>
                  </a:lnTo>
                  <a:lnTo>
                    <a:pt x="1752" y="2010"/>
                  </a:lnTo>
                  <a:lnTo>
                    <a:pt x="1752" y="2108"/>
                  </a:lnTo>
                  <a:lnTo>
                    <a:pt x="1738" y="2122"/>
                  </a:lnTo>
                  <a:lnTo>
                    <a:pt x="1759" y="2128"/>
                  </a:lnTo>
                  <a:lnTo>
                    <a:pt x="1821" y="2108"/>
                  </a:lnTo>
                  <a:lnTo>
                    <a:pt x="1877" y="2073"/>
                  </a:lnTo>
                  <a:lnTo>
                    <a:pt x="1967" y="2038"/>
                  </a:lnTo>
                  <a:lnTo>
                    <a:pt x="2016" y="2024"/>
                  </a:lnTo>
                  <a:lnTo>
                    <a:pt x="2030" y="2010"/>
                  </a:lnTo>
                  <a:lnTo>
                    <a:pt x="1967" y="1962"/>
                  </a:lnTo>
                  <a:lnTo>
                    <a:pt x="1981" y="1968"/>
                  </a:lnTo>
                  <a:lnTo>
                    <a:pt x="1981" y="1913"/>
                  </a:lnTo>
                  <a:lnTo>
                    <a:pt x="2009" y="1878"/>
                  </a:lnTo>
                  <a:lnTo>
                    <a:pt x="1988" y="1892"/>
                  </a:lnTo>
                  <a:lnTo>
                    <a:pt x="2009" y="1871"/>
                  </a:lnTo>
                  <a:lnTo>
                    <a:pt x="2016" y="1864"/>
                  </a:lnTo>
                  <a:lnTo>
                    <a:pt x="2037" y="1892"/>
                  </a:lnTo>
                  <a:lnTo>
                    <a:pt x="2072" y="1899"/>
                  </a:lnTo>
                  <a:lnTo>
                    <a:pt x="2148" y="1927"/>
                  </a:lnTo>
                  <a:lnTo>
                    <a:pt x="2218" y="1976"/>
                  </a:lnTo>
                  <a:lnTo>
                    <a:pt x="2294" y="2059"/>
                  </a:lnTo>
                  <a:lnTo>
                    <a:pt x="2329" y="2073"/>
                  </a:lnTo>
                  <a:lnTo>
                    <a:pt x="2378" y="2163"/>
                  </a:lnTo>
                  <a:lnTo>
                    <a:pt x="2364" y="2191"/>
                  </a:lnTo>
                  <a:lnTo>
                    <a:pt x="2336" y="2198"/>
                  </a:lnTo>
                  <a:lnTo>
                    <a:pt x="2392" y="2219"/>
                  </a:lnTo>
                  <a:lnTo>
                    <a:pt x="2392" y="2233"/>
                  </a:lnTo>
                  <a:lnTo>
                    <a:pt x="2405" y="2261"/>
                  </a:lnTo>
                  <a:lnTo>
                    <a:pt x="2454" y="2261"/>
                  </a:lnTo>
                  <a:lnTo>
                    <a:pt x="2433" y="2274"/>
                  </a:lnTo>
                  <a:lnTo>
                    <a:pt x="2399" y="2289"/>
                  </a:lnTo>
                  <a:lnTo>
                    <a:pt x="2329" y="2268"/>
                  </a:lnTo>
                  <a:lnTo>
                    <a:pt x="2301" y="2289"/>
                  </a:lnTo>
                  <a:lnTo>
                    <a:pt x="2315" y="2302"/>
                  </a:lnTo>
                  <a:lnTo>
                    <a:pt x="2371" y="2316"/>
                  </a:lnTo>
                  <a:lnTo>
                    <a:pt x="2461" y="2330"/>
                  </a:lnTo>
                  <a:lnTo>
                    <a:pt x="2468" y="2330"/>
                  </a:lnTo>
                  <a:lnTo>
                    <a:pt x="2524" y="2316"/>
                  </a:lnTo>
                  <a:lnTo>
                    <a:pt x="2559" y="2268"/>
                  </a:lnTo>
                  <a:lnTo>
                    <a:pt x="2628" y="2219"/>
                  </a:lnTo>
                  <a:lnTo>
                    <a:pt x="2593" y="2191"/>
                  </a:lnTo>
                  <a:lnTo>
                    <a:pt x="2586" y="2191"/>
                  </a:lnTo>
                  <a:lnTo>
                    <a:pt x="2489" y="2094"/>
                  </a:lnTo>
                  <a:lnTo>
                    <a:pt x="2489" y="2066"/>
                  </a:lnTo>
                  <a:lnTo>
                    <a:pt x="2412" y="1968"/>
                  </a:lnTo>
                  <a:lnTo>
                    <a:pt x="2357" y="1948"/>
                  </a:lnTo>
                  <a:lnTo>
                    <a:pt x="2308" y="1927"/>
                  </a:lnTo>
                  <a:lnTo>
                    <a:pt x="2218" y="1864"/>
                  </a:lnTo>
                  <a:lnTo>
                    <a:pt x="2148" y="1857"/>
                  </a:lnTo>
                  <a:lnTo>
                    <a:pt x="2099" y="1836"/>
                  </a:lnTo>
                  <a:lnTo>
                    <a:pt x="2072" y="1774"/>
                  </a:lnTo>
                  <a:lnTo>
                    <a:pt x="2072" y="1739"/>
                  </a:lnTo>
                  <a:lnTo>
                    <a:pt x="2078" y="1704"/>
                  </a:lnTo>
                  <a:lnTo>
                    <a:pt x="2134" y="1614"/>
                  </a:lnTo>
                  <a:lnTo>
                    <a:pt x="2162" y="1544"/>
                  </a:lnTo>
                  <a:lnTo>
                    <a:pt x="2148" y="1440"/>
                  </a:lnTo>
                  <a:lnTo>
                    <a:pt x="2113" y="1447"/>
                  </a:lnTo>
                  <a:lnTo>
                    <a:pt x="2086" y="1440"/>
                  </a:lnTo>
                  <a:lnTo>
                    <a:pt x="2065" y="1475"/>
                  </a:lnTo>
                  <a:lnTo>
                    <a:pt x="2009" y="1482"/>
                  </a:lnTo>
                  <a:lnTo>
                    <a:pt x="1981" y="1482"/>
                  </a:lnTo>
                  <a:lnTo>
                    <a:pt x="1981" y="1468"/>
                  </a:lnTo>
                  <a:lnTo>
                    <a:pt x="1953" y="1454"/>
                  </a:lnTo>
                  <a:lnTo>
                    <a:pt x="1932" y="1447"/>
                  </a:lnTo>
                  <a:lnTo>
                    <a:pt x="1912" y="1412"/>
                  </a:lnTo>
                  <a:lnTo>
                    <a:pt x="1891" y="1405"/>
                  </a:lnTo>
                  <a:lnTo>
                    <a:pt x="1919" y="1384"/>
                  </a:lnTo>
                  <a:lnTo>
                    <a:pt x="1967" y="1315"/>
                  </a:lnTo>
                  <a:lnTo>
                    <a:pt x="1939" y="1301"/>
                  </a:lnTo>
                  <a:lnTo>
                    <a:pt x="1953" y="1280"/>
                  </a:lnTo>
                  <a:lnTo>
                    <a:pt x="2037" y="1224"/>
                  </a:lnTo>
                  <a:lnTo>
                    <a:pt x="2106" y="1169"/>
                  </a:lnTo>
                  <a:lnTo>
                    <a:pt x="2197" y="1092"/>
                  </a:lnTo>
                  <a:lnTo>
                    <a:pt x="2197" y="1071"/>
                  </a:lnTo>
                  <a:lnTo>
                    <a:pt x="2218" y="1036"/>
                  </a:lnTo>
                  <a:lnTo>
                    <a:pt x="2162" y="1009"/>
                  </a:lnTo>
                  <a:lnTo>
                    <a:pt x="2134" y="1015"/>
                  </a:lnTo>
                  <a:lnTo>
                    <a:pt x="2099" y="1009"/>
                  </a:lnTo>
                  <a:lnTo>
                    <a:pt x="2051" y="1009"/>
                  </a:lnTo>
                  <a:lnTo>
                    <a:pt x="2044" y="974"/>
                  </a:lnTo>
                  <a:lnTo>
                    <a:pt x="1988" y="953"/>
                  </a:lnTo>
                  <a:lnTo>
                    <a:pt x="1988" y="946"/>
                  </a:lnTo>
                  <a:lnTo>
                    <a:pt x="1939" y="939"/>
                  </a:lnTo>
                  <a:lnTo>
                    <a:pt x="1856" y="918"/>
                  </a:lnTo>
                  <a:lnTo>
                    <a:pt x="1877" y="953"/>
                  </a:lnTo>
                  <a:lnTo>
                    <a:pt x="1856" y="953"/>
                  </a:lnTo>
                  <a:lnTo>
                    <a:pt x="1814" y="960"/>
                  </a:lnTo>
                  <a:lnTo>
                    <a:pt x="1800" y="953"/>
                  </a:lnTo>
                  <a:lnTo>
                    <a:pt x="1800" y="918"/>
                  </a:lnTo>
                  <a:lnTo>
                    <a:pt x="1814" y="911"/>
                  </a:lnTo>
                  <a:lnTo>
                    <a:pt x="1800" y="890"/>
                  </a:lnTo>
                  <a:lnTo>
                    <a:pt x="1759" y="814"/>
                  </a:lnTo>
                  <a:lnTo>
                    <a:pt x="1738" y="765"/>
                  </a:lnTo>
                  <a:lnTo>
                    <a:pt x="1738" y="758"/>
                  </a:lnTo>
                  <a:lnTo>
                    <a:pt x="1752" y="758"/>
                  </a:lnTo>
                  <a:lnTo>
                    <a:pt x="1807" y="730"/>
                  </a:lnTo>
                  <a:lnTo>
                    <a:pt x="1821" y="709"/>
                  </a:lnTo>
                  <a:lnTo>
                    <a:pt x="1849" y="688"/>
                  </a:lnTo>
                  <a:lnTo>
                    <a:pt x="1835" y="626"/>
                  </a:lnTo>
                  <a:lnTo>
                    <a:pt x="1877" y="619"/>
                  </a:lnTo>
                  <a:lnTo>
                    <a:pt x="1912" y="612"/>
                  </a:lnTo>
                  <a:lnTo>
                    <a:pt x="1967" y="584"/>
                  </a:lnTo>
                  <a:lnTo>
                    <a:pt x="1974" y="577"/>
                  </a:lnTo>
                  <a:lnTo>
                    <a:pt x="2030" y="549"/>
                  </a:lnTo>
                  <a:lnTo>
                    <a:pt x="2065" y="515"/>
                  </a:lnTo>
                  <a:lnTo>
                    <a:pt x="2086" y="459"/>
                  </a:lnTo>
                  <a:lnTo>
                    <a:pt x="2197" y="438"/>
                  </a:lnTo>
                  <a:lnTo>
                    <a:pt x="2245" y="452"/>
                  </a:lnTo>
                  <a:lnTo>
                    <a:pt x="2266" y="403"/>
                  </a:lnTo>
                  <a:lnTo>
                    <a:pt x="2273" y="369"/>
                  </a:lnTo>
                  <a:lnTo>
                    <a:pt x="2273" y="348"/>
                  </a:lnTo>
                  <a:lnTo>
                    <a:pt x="2280" y="306"/>
                  </a:lnTo>
                  <a:lnTo>
                    <a:pt x="2294" y="271"/>
                  </a:lnTo>
                  <a:lnTo>
                    <a:pt x="2218" y="264"/>
                  </a:lnTo>
                  <a:lnTo>
                    <a:pt x="2106" y="223"/>
                  </a:lnTo>
                  <a:lnTo>
                    <a:pt x="2065" y="236"/>
                  </a:lnTo>
                  <a:lnTo>
                    <a:pt x="2044" y="208"/>
                  </a:lnTo>
                  <a:lnTo>
                    <a:pt x="1974" y="223"/>
                  </a:lnTo>
                  <a:lnTo>
                    <a:pt x="1946" y="174"/>
                  </a:lnTo>
                  <a:lnTo>
                    <a:pt x="1912" y="188"/>
                  </a:lnTo>
                  <a:lnTo>
                    <a:pt x="1800" y="188"/>
                  </a:lnTo>
                  <a:lnTo>
                    <a:pt x="1786" y="167"/>
                  </a:lnTo>
                  <a:lnTo>
                    <a:pt x="1745" y="153"/>
                  </a:lnTo>
                  <a:lnTo>
                    <a:pt x="1724" y="167"/>
                  </a:lnTo>
                  <a:lnTo>
                    <a:pt x="1717" y="167"/>
                  </a:lnTo>
                  <a:lnTo>
                    <a:pt x="1689" y="167"/>
                  </a:lnTo>
                  <a:lnTo>
                    <a:pt x="1647" y="202"/>
                  </a:lnTo>
                  <a:lnTo>
                    <a:pt x="1578" y="195"/>
                  </a:lnTo>
                  <a:lnTo>
                    <a:pt x="1494" y="202"/>
                  </a:lnTo>
                  <a:lnTo>
                    <a:pt x="1494" y="188"/>
                  </a:lnTo>
                  <a:lnTo>
                    <a:pt x="1452" y="167"/>
                  </a:lnTo>
                  <a:lnTo>
                    <a:pt x="1383" y="125"/>
                  </a:lnTo>
                  <a:lnTo>
                    <a:pt x="1265" y="104"/>
                  </a:lnTo>
                  <a:lnTo>
                    <a:pt x="1202" y="104"/>
                  </a:lnTo>
                  <a:lnTo>
                    <a:pt x="1014" y="90"/>
                  </a:lnTo>
                  <a:lnTo>
                    <a:pt x="931" y="76"/>
                  </a:lnTo>
                  <a:lnTo>
                    <a:pt x="889" y="90"/>
                  </a:lnTo>
                  <a:lnTo>
                    <a:pt x="840" y="76"/>
                  </a:lnTo>
                  <a:lnTo>
                    <a:pt x="840" y="42"/>
                  </a:lnTo>
                  <a:lnTo>
                    <a:pt x="826" y="35"/>
                  </a:lnTo>
                  <a:lnTo>
                    <a:pt x="785" y="21"/>
                  </a:lnTo>
                  <a:lnTo>
                    <a:pt x="729" y="0"/>
                  </a:lnTo>
                  <a:lnTo>
                    <a:pt x="673" y="21"/>
                  </a:lnTo>
                  <a:lnTo>
                    <a:pt x="666" y="35"/>
                  </a:lnTo>
                  <a:lnTo>
                    <a:pt x="673" y="90"/>
                  </a:lnTo>
                  <a:lnTo>
                    <a:pt x="694" y="125"/>
                  </a:lnTo>
                  <a:lnTo>
                    <a:pt x="673" y="195"/>
                  </a:lnTo>
                  <a:lnTo>
                    <a:pt x="701" y="223"/>
                  </a:lnTo>
                  <a:lnTo>
                    <a:pt x="673" y="229"/>
                  </a:lnTo>
                  <a:lnTo>
                    <a:pt x="646" y="223"/>
                  </a:lnTo>
                  <a:lnTo>
                    <a:pt x="590" y="257"/>
                  </a:lnTo>
                  <a:lnTo>
                    <a:pt x="506" y="292"/>
                  </a:lnTo>
                  <a:lnTo>
                    <a:pt x="499" y="320"/>
                  </a:lnTo>
                  <a:lnTo>
                    <a:pt x="541" y="355"/>
                  </a:lnTo>
                  <a:lnTo>
                    <a:pt x="555" y="396"/>
                  </a:lnTo>
                  <a:lnTo>
                    <a:pt x="492" y="369"/>
                  </a:lnTo>
                  <a:lnTo>
                    <a:pt x="465" y="396"/>
                  </a:lnTo>
                  <a:lnTo>
                    <a:pt x="410" y="369"/>
                  </a:lnTo>
                  <a:lnTo>
                    <a:pt x="368" y="403"/>
                  </a:lnTo>
                  <a:lnTo>
                    <a:pt x="347" y="396"/>
                  </a:lnTo>
                  <a:lnTo>
                    <a:pt x="340" y="417"/>
                  </a:lnTo>
                  <a:lnTo>
                    <a:pt x="326" y="431"/>
                  </a:lnTo>
                  <a:lnTo>
                    <a:pt x="285" y="480"/>
                  </a:lnTo>
                  <a:lnTo>
                    <a:pt x="285" y="501"/>
                  </a:lnTo>
                  <a:lnTo>
                    <a:pt x="250" y="549"/>
                  </a:lnTo>
                  <a:lnTo>
                    <a:pt x="229" y="556"/>
                  </a:lnTo>
                  <a:lnTo>
                    <a:pt x="236" y="598"/>
                  </a:lnTo>
                  <a:lnTo>
                    <a:pt x="215" y="591"/>
                  </a:lnTo>
                  <a:lnTo>
                    <a:pt x="215" y="619"/>
                  </a:lnTo>
                  <a:lnTo>
                    <a:pt x="153" y="633"/>
                  </a:lnTo>
                  <a:lnTo>
                    <a:pt x="153" y="688"/>
                  </a:lnTo>
                  <a:lnTo>
                    <a:pt x="139" y="688"/>
                  </a:lnTo>
                  <a:lnTo>
                    <a:pt x="90" y="688"/>
                  </a:lnTo>
                  <a:lnTo>
                    <a:pt x="83" y="696"/>
                  </a:lnTo>
                  <a:lnTo>
                    <a:pt x="55" y="709"/>
                  </a:lnTo>
                  <a:lnTo>
                    <a:pt x="48" y="765"/>
                  </a:lnTo>
                  <a:lnTo>
                    <a:pt x="41" y="779"/>
                  </a:lnTo>
                  <a:lnTo>
                    <a:pt x="20" y="786"/>
                  </a:lnTo>
                  <a:lnTo>
                    <a:pt x="0" y="828"/>
                  </a:lnTo>
                  <a:lnTo>
                    <a:pt x="34" y="890"/>
                  </a:lnTo>
                  <a:lnTo>
                    <a:pt x="83" y="925"/>
                  </a:lnTo>
                  <a:lnTo>
                    <a:pt x="111" y="918"/>
                  </a:lnTo>
                  <a:lnTo>
                    <a:pt x="132" y="918"/>
                  </a:lnTo>
                  <a:lnTo>
                    <a:pt x="139" y="918"/>
                  </a:lnTo>
                  <a:lnTo>
                    <a:pt x="132" y="953"/>
                  </a:lnTo>
                  <a:lnTo>
                    <a:pt x="208" y="960"/>
                  </a:lnTo>
                  <a:lnTo>
                    <a:pt x="215" y="1036"/>
                  </a:lnTo>
                  <a:lnTo>
                    <a:pt x="285" y="1092"/>
                  </a:lnTo>
                  <a:lnTo>
                    <a:pt x="285" y="1120"/>
                  </a:lnTo>
                  <a:lnTo>
                    <a:pt x="285" y="1127"/>
                  </a:lnTo>
                  <a:lnTo>
                    <a:pt x="278" y="1169"/>
                  </a:lnTo>
                  <a:lnTo>
                    <a:pt x="271" y="1175"/>
                  </a:lnTo>
                  <a:lnTo>
                    <a:pt x="215" y="1217"/>
                  </a:lnTo>
                  <a:lnTo>
                    <a:pt x="208" y="1224"/>
                  </a:lnTo>
                  <a:lnTo>
                    <a:pt x="146" y="1280"/>
                  </a:lnTo>
                  <a:lnTo>
                    <a:pt x="146" y="1287"/>
                  </a:lnTo>
                  <a:lnTo>
                    <a:pt x="132" y="1322"/>
                  </a:lnTo>
                  <a:lnTo>
                    <a:pt x="132" y="1336"/>
                  </a:lnTo>
                  <a:lnTo>
                    <a:pt x="153" y="1370"/>
                  </a:lnTo>
                  <a:lnTo>
                    <a:pt x="173" y="1447"/>
                  </a:lnTo>
                  <a:lnTo>
                    <a:pt x="173" y="1530"/>
                  </a:lnTo>
                  <a:lnTo>
                    <a:pt x="229" y="1537"/>
                  </a:lnTo>
                  <a:lnTo>
                    <a:pt x="236" y="1551"/>
                  </a:lnTo>
                  <a:lnTo>
                    <a:pt x="271" y="1579"/>
                  </a:lnTo>
                  <a:lnTo>
                    <a:pt x="306" y="1586"/>
                  </a:lnTo>
                  <a:lnTo>
                    <a:pt x="326" y="1628"/>
                  </a:lnTo>
                  <a:lnTo>
                    <a:pt x="334" y="1628"/>
                  </a:lnTo>
                  <a:lnTo>
                    <a:pt x="313" y="1642"/>
                  </a:lnTo>
                  <a:lnTo>
                    <a:pt x="340" y="1669"/>
                  </a:lnTo>
                  <a:lnTo>
                    <a:pt x="347" y="1711"/>
                  </a:lnTo>
                  <a:lnTo>
                    <a:pt x="375" y="1718"/>
                  </a:lnTo>
                  <a:lnTo>
                    <a:pt x="382" y="1760"/>
                  </a:lnTo>
                  <a:lnTo>
                    <a:pt x="375" y="1767"/>
                  </a:lnTo>
                  <a:lnTo>
                    <a:pt x="396" y="1795"/>
                  </a:lnTo>
                  <a:lnTo>
                    <a:pt x="403" y="1795"/>
                  </a:lnTo>
                  <a:lnTo>
                    <a:pt x="410" y="1795"/>
                  </a:lnTo>
                  <a:lnTo>
                    <a:pt x="410" y="1801"/>
                  </a:lnTo>
                  <a:lnTo>
                    <a:pt x="430" y="1801"/>
                  </a:lnTo>
                  <a:lnTo>
                    <a:pt x="458" y="1815"/>
                  </a:lnTo>
                  <a:lnTo>
                    <a:pt x="458" y="1809"/>
                  </a:lnTo>
                  <a:lnTo>
                    <a:pt x="465" y="1767"/>
                  </a:lnTo>
                  <a:lnTo>
                    <a:pt x="492" y="1795"/>
                  </a:lnTo>
                  <a:lnTo>
                    <a:pt x="506" y="1801"/>
                  </a:lnTo>
                  <a:lnTo>
                    <a:pt x="513" y="1809"/>
                  </a:lnTo>
                  <a:lnTo>
                    <a:pt x="534" y="1815"/>
                  </a:lnTo>
                  <a:lnTo>
                    <a:pt x="541" y="1836"/>
                  </a:lnTo>
                  <a:lnTo>
                    <a:pt x="541" y="1843"/>
                  </a:lnTo>
                  <a:lnTo>
                    <a:pt x="562" y="1871"/>
                  </a:lnTo>
                  <a:lnTo>
                    <a:pt x="597" y="1843"/>
                  </a:lnTo>
                  <a:lnTo>
                    <a:pt x="611" y="1836"/>
                  </a:lnTo>
                  <a:lnTo>
                    <a:pt x="646" y="1795"/>
                  </a:lnTo>
                  <a:lnTo>
                    <a:pt x="673" y="1774"/>
                  </a:lnTo>
                  <a:lnTo>
                    <a:pt x="694" y="1795"/>
                  </a:lnTo>
                  <a:lnTo>
                    <a:pt x="757" y="1732"/>
                  </a:lnTo>
                  <a:lnTo>
                    <a:pt x="785" y="1760"/>
                  </a:lnTo>
                  <a:lnTo>
                    <a:pt x="792" y="1801"/>
                  </a:lnTo>
                  <a:lnTo>
                    <a:pt x="819" y="1801"/>
                  </a:lnTo>
                  <a:lnTo>
                    <a:pt x="826" y="1774"/>
                  </a:lnTo>
                  <a:lnTo>
                    <a:pt x="854" y="1760"/>
                  </a:lnTo>
                  <a:lnTo>
                    <a:pt x="889" y="1746"/>
                  </a:lnTo>
                  <a:lnTo>
                    <a:pt x="917" y="1746"/>
                  </a:lnTo>
                  <a:lnTo>
                    <a:pt x="917" y="1760"/>
                  </a:lnTo>
                  <a:lnTo>
                    <a:pt x="896" y="1781"/>
                  </a:lnTo>
                  <a:lnTo>
                    <a:pt x="924" y="1795"/>
                  </a:lnTo>
                  <a:lnTo>
                    <a:pt x="952" y="1801"/>
                  </a:lnTo>
                  <a:lnTo>
                    <a:pt x="965" y="1795"/>
                  </a:lnTo>
                  <a:lnTo>
                    <a:pt x="986" y="1781"/>
                  </a:lnTo>
                  <a:lnTo>
                    <a:pt x="1000" y="1815"/>
                  </a:lnTo>
                  <a:lnTo>
                    <a:pt x="1021" y="1809"/>
                  </a:lnTo>
                  <a:lnTo>
                    <a:pt x="1049" y="1801"/>
                  </a:lnTo>
                  <a:lnTo>
                    <a:pt x="1049" y="1760"/>
                  </a:lnTo>
                  <a:lnTo>
                    <a:pt x="1063" y="1767"/>
                  </a:lnTo>
                  <a:lnTo>
                    <a:pt x="1084" y="1781"/>
                  </a:lnTo>
                </a:path>
              </a:pathLst>
            </a:custGeom>
            <a:grpFill/>
            <a:ln w="9525" cap="flat" cmpd="sng">
              <a:solidFill>
                <a:schemeClr val="bg1"/>
              </a:solid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96" name="Freeform 93">
              <a:extLst>
                <a:ext uri="{FF2B5EF4-FFF2-40B4-BE49-F238E27FC236}">
                  <a16:creationId xmlns:a16="http://schemas.microsoft.com/office/drawing/2014/main" id="{E1E354E0-ADE3-4A72-B225-56B55C6CBFF4}"/>
                </a:ext>
              </a:extLst>
            </p:cNvPr>
            <p:cNvSpPr>
              <a:spLocks noChangeArrowheads="1"/>
            </p:cNvSpPr>
            <p:nvPr/>
          </p:nvSpPr>
          <p:spPr bwMode="auto">
            <a:xfrm>
              <a:off x="18197959" y="3921665"/>
              <a:ext cx="35209" cy="37282"/>
            </a:xfrm>
            <a:custGeom>
              <a:avLst/>
              <a:gdLst>
                <a:gd name="T0" fmla="*/ 42 w 77"/>
                <a:gd name="T1" fmla="*/ 56 h 78"/>
                <a:gd name="T2" fmla="*/ 69 w 77"/>
                <a:gd name="T3" fmla="*/ 49 h 78"/>
                <a:gd name="T4" fmla="*/ 76 w 77"/>
                <a:gd name="T5" fmla="*/ 77 h 78"/>
                <a:gd name="T6" fmla="*/ 0 w 77"/>
                <a:gd name="T7" fmla="*/ 49 h 78"/>
                <a:gd name="T8" fmla="*/ 7 w 77"/>
                <a:gd name="T9" fmla="*/ 35 h 78"/>
                <a:gd name="T10" fmla="*/ 14 w 77"/>
                <a:gd name="T11" fmla="*/ 14 h 78"/>
                <a:gd name="T12" fmla="*/ 34 w 77"/>
                <a:gd name="T13" fmla="*/ 14 h 78"/>
                <a:gd name="T14" fmla="*/ 55 w 77"/>
                <a:gd name="T15" fmla="*/ 0 h 78"/>
                <a:gd name="T16" fmla="*/ 48 w 77"/>
                <a:gd name="T17" fmla="*/ 21 h 78"/>
                <a:gd name="T18" fmla="*/ 76 w 77"/>
                <a:gd name="T19" fmla="*/ 35 h 78"/>
                <a:gd name="T20" fmla="*/ 69 w 77"/>
                <a:gd name="T21" fmla="*/ 42 h 78"/>
                <a:gd name="T22" fmla="*/ 34 w 77"/>
                <a:gd name="T23" fmla="*/ 42 h 78"/>
                <a:gd name="T24" fmla="*/ 42 w 77"/>
                <a:gd name="T25" fmla="*/ 56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7" h="78">
                  <a:moveTo>
                    <a:pt x="42" y="56"/>
                  </a:moveTo>
                  <a:lnTo>
                    <a:pt x="69" y="49"/>
                  </a:lnTo>
                  <a:lnTo>
                    <a:pt x="76" y="77"/>
                  </a:lnTo>
                  <a:lnTo>
                    <a:pt x="0" y="49"/>
                  </a:lnTo>
                  <a:lnTo>
                    <a:pt x="7" y="35"/>
                  </a:lnTo>
                  <a:lnTo>
                    <a:pt x="14" y="14"/>
                  </a:lnTo>
                  <a:lnTo>
                    <a:pt x="34" y="14"/>
                  </a:lnTo>
                  <a:lnTo>
                    <a:pt x="55" y="0"/>
                  </a:lnTo>
                  <a:lnTo>
                    <a:pt x="48" y="21"/>
                  </a:lnTo>
                  <a:lnTo>
                    <a:pt x="76" y="35"/>
                  </a:lnTo>
                  <a:lnTo>
                    <a:pt x="69" y="42"/>
                  </a:lnTo>
                  <a:lnTo>
                    <a:pt x="34" y="42"/>
                  </a:lnTo>
                  <a:lnTo>
                    <a:pt x="42" y="56"/>
                  </a:lnTo>
                </a:path>
              </a:pathLst>
            </a:custGeom>
            <a:grpFill/>
            <a:ln w="9525" cap="flat" cmpd="sng">
              <a:solidFill>
                <a:schemeClr val="bg1"/>
              </a:solid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97" name="Freeform 94">
              <a:extLst>
                <a:ext uri="{FF2B5EF4-FFF2-40B4-BE49-F238E27FC236}">
                  <a16:creationId xmlns:a16="http://schemas.microsoft.com/office/drawing/2014/main" id="{6CD66D77-2782-4DDF-B881-7678A76B1457}"/>
                </a:ext>
              </a:extLst>
            </p:cNvPr>
            <p:cNvSpPr>
              <a:spLocks noChangeArrowheads="1"/>
            </p:cNvSpPr>
            <p:nvPr/>
          </p:nvSpPr>
          <p:spPr bwMode="auto">
            <a:xfrm>
              <a:off x="18104759" y="3932020"/>
              <a:ext cx="16569" cy="26927"/>
            </a:xfrm>
            <a:custGeom>
              <a:avLst/>
              <a:gdLst>
                <a:gd name="T0" fmla="*/ 14 w 36"/>
                <a:gd name="T1" fmla="*/ 35 h 57"/>
                <a:gd name="T2" fmla="*/ 21 w 36"/>
                <a:gd name="T3" fmla="*/ 49 h 57"/>
                <a:gd name="T4" fmla="*/ 7 w 36"/>
                <a:gd name="T5" fmla="*/ 56 h 57"/>
                <a:gd name="T6" fmla="*/ 21 w 36"/>
                <a:gd name="T7" fmla="*/ 56 h 57"/>
                <a:gd name="T8" fmla="*/ 35 w 36"/>
                <a:gd name="T9" fmla="*/ 14 h 57"/>
                <a:gd name="T10" fmla="*/ 14 w 36"/>
                <a:gd name="T11" fmla="*/ 0 h 57"/>
                <a:gd name="T12" fmla="*/ 0 w 36"/>
                <a:gd name="T13" fmla="*/ 28 h 57"/>
                <a:gd name="T14" fmla="*/ 0 w 36"/>
                <a:gd name="T15" fmla="*/ 35 h 57"/>
                <a:gd name="T16" fmla="*/ 14 w 36"/>
                <a:gd name="T17" fmla="*/ 3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57">
                  <a:moveTo>
                    <a:pt x="14" y="35"/>
                  </a:moveTo>
                  <a:lnTo>
                    <a:pt x="21" y="49"/>
                  </a:lnTo>
                  <a:lnTo>
                    <a:pt x="7" y="56"/>
                  </a:lnTo>
                  <a:lnTo>
                    <a:pt x="21" y="56"/>
                  </a:lnTo>
                  <a:lnTo>
                    <a:pt x="35" y="14"/>
                  </a:lnTo>
                  <a:lnTo>
                    <a:pt x="14" y="0"/>
                  </a:lnTo>
                  <a:lnTo>
                    <a:pt x="0" y="28"/>
                  </a:lnTo>
                  <a:lnTo>
                    <a:pt x="0" y="35"/>
                  </a:lnTo>
                  <a:lnTo>
                    <a:pt x="14" y="35"/>
                  </a:lnTo>
                </a:path>
              </a:pathLst>
            </a:custGeom>
            <a:grpFill/>
            <a:ln w="9525" cap="flat" cmpd="sng">
              <a:solidFill>
                <a:schemeClr val="bg1"/>
              </a:solid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98" name="Freeform 95">
              <a:extLst>
                <a:ext uri="{FF2B5EF4-FFF2-40B4-BE49-F238E27FC236}">
                  <a16:creationId xmlns:a16="http://schemas.microsoft.com/office/drawing/2014/main" id="{F72BA7F0-4B3C-4595-99D7-6024F385AA91}"/>
                </a:ext>
              </a:extLst>
            </p:cNvPr>
            <p:cNvSpPr>
              <a:spLocks noChangeArrowheads="1"/>
            </p:cNvSpPr>
            <p:nvPr/>
          </p:nvSpPr>
          <p:spPr bwMode="auto">
            <a:xfrm>
              <a:off x="18262163" y="3944447"/>
              <a:ext cx="16569" cy="26927"/>
            </a:xfrm>
            <a:custGeom>
              <a:avLst/>
              <a:gdLst>
                <a:gd name="T0" fmla="*/ 0 w 36"/>
                <a:gd name="T1" fmla="*/ 56 h 57"/>
                <a:gd name="T2" fmla="*/ 28 w 36"/>
                <a:gd name="T3" fmla="*/ 21 h 57"/>
                <a:gd name="T4" fmla="*/ 35 w 36"/>
                <a:gd name="T5" fmla="*/ 7 h 57"/>
                <a:gd name="T6" fmla="*/ 28 w 36"/>
                <a:gd name="T7" fmla="*/ 0 h 57"/>
                <a:gd name="T8" fmla="*/ 14 w 36"/>
                <a:gd name="T9" fmla="*/ 21 h 57"/>
                <a:gd name="T10" fmla="*/ 0 w 36"/>
                <a:gd name="T11" fmla="*/ 28 h 57"/>
                <a:gd name="T12" fmla="*/ 0 w 36"/>
                <a:gd name="T13" fmla="*/ 56 h 57"/>
              </a:gdLst>
              <a:ahLst/>
              <a:cxnLst>
                <a:cxn ang="0">
                  <a:pos x="T0" y="T1"/>
                </a:cxn>
                <a:cxn ang="0">
                  <a:pos x="T2" y="T3"/>
                </a:cxn>
                <a:cxn ang="0">
                  <a:pos x="T4" y="T5"/>
                </a:cxn>
                <a:cxn ang="0">
                  <a:pos x="T6" y="T7"/>
                </a:cxn>
                <a:cxn ang="0">
                  <a:pos x="T8" y="T9"/>
                </a:cxn>
                <a:cxn ang="0">
                  <a:pos x="T10" y="T11"/>
                </a:cxn>
                <a:cxn ang="0">
                  <a:pos x="T12" y="T13"/>
                </a:cxn>
              </a:cxnLst>
              <a:rect l="0" t="0" r="r" b="b"/>
              <a:pathLst>
                <a:path w="36" h="57">
                  <a:moveTo>
                    <a:pt x="0" y="56"/>
                  </a:moveTo>
                  <a:lnTo>
                    <a:pt x="28" y="21"/>
                  </a:lnTo>
                  <a:lnTo>
                    <a:pt x="35" y="7"/>
                  </a:lnTo>
                  <a:lnTo>
                    <a:pt x="28" y="0"/>
                  </a:lnTo>
                  <a:lnTo>
                    <a:pt x="14" y="21"/>
                  </a:lnTo>
                  <a:lnTo>
                    <a:pt x="0" y="28"/>
                  </a:lnTo>
                  <a:lnTo>
                    <a:pt x="0" y="56"/>
                  </a:lnTo>
                </a:path>
              </a:pathLst>
            </a:custGeom>
            <a:grpFill/>
            <a:ln w="9525" cap="flat" cmpd="sng">
              <a:solidFill>
                <a:schemeClr val="bg1"/>
              </a:solid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99" name="Freeform 96">
              <a:extLst>
                <a:ext uri="{FF2B5EF4-FFF2-40B4-BE49-F238E27FC236}">
                  <a16:creationId xmlns:a16="http://schemas.microsoft.com/office/drawing/2014/main" id="{5F4BB340-600E-4093-9221-12BA2480A061}"/>
                </a:ext>
              </a:extLst>
            </p:cNvPr>
            <p:cNvSpPr>
              <a:spLocks noChangeArrowheads="1"/>
            </p:cNvSpPr>
            <p:nvPr/>
          </p:nvSpPr>
          <p:spPr bwMode="auto">
            <a:xfrm>
              <a:off x="18125471" y="3938235"/>
              <a:ext cx="45565" cy="10356"/>
            </a:xfrm>
            <a:custGeom>
              <a:avLst/>
              <a:gdLst>
                <a:gd name="T0" fmla="*/ 76 w 98"/>
                <a:gd name="T1" fmla="*/ 14 h 22"/>
                <a:gd name="T2" fmla="*/ 97 w 98"/>
                <a:gd name="T3" fmla="*/ 0 h 22"/>
                <a:gd name="T4" fmla="*/ 0 w 98"/>
                <a:gd name="T5" fmla="*/ 21 h 22"/>
                <a:gd name="T6" fmla="*/ 41 w 98"/>
                <a:gd name="T7" fmla="*/ 14 h 22"/>
                <a:gd name="T8" fmla="*/ 76 w 98"/>
                <a:gd name="T9" fmla="*/ 14 h 22"/>
              </a:gdLst>
              <a:ahLst/>
              <a:cxnLst>
                <a:cxn ang="0">
                  <a:pos x="T0" y="T1"/>
                </a:cxn>
                <a:cxn ang="0">
                  <a:pos x="T2" y="T3"/>
                </a:cxn>
                <a:cxn ang="0">
                  <a:pos x="T4" y="T5"/>
                </a:cxn>
                <a:cxn ang="0">
                  <a:pos x="T6" y="T7"/>
                </a:cxn>
                <a:cxn ang="0">
                  <a:pos x="T8" y="T9"/>
                </a:cxn>
              </a:cxnLst>
              <a:rect l="0" t="0" r="r" b="b"/>
              <a:pathLst>
                <a:path w="98" h="22">
                  <a:moveTo>
                    <a:pt x="76" y="14"/>
                  </a:moveTo>
                  <a:lnTo>
                    <a:pt x="97" y="0"/>
                  </a:lnTo>
                  <a:lnTo>
                    <a:pt x="0" y="21"/>
                  </a:lnTo>
                  <a:lnTo>
                    <a:pt x="41" y="14"/>
                  </a:lnTo>
                  <a:lnTo>
                    <a:pt x="76" y="14"/>
                  </a:lnTo>
                </a:path>
              </a:pathLst>
            </a:custGeom>
            <a:grpFill/>
            <a:ln w="9525" cap="flat" cmpd="sng">
              <a:solidFill>
                <a:schemeClr val="bg1"/>
              </a:solid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100" name="Freeform 97">
              <a:extLst>
                <a:ext uri="{FF2B5EF4-FFF2-40B4-BE49-F238E27FC236}">
                  <a16:creationId xmlns:a16="http://schemas.microsoft.com/office/drawing/2014/main" id="{24B8CC43-85E4-4E20-AF0C-B18A42ACE953}"/>
                </a:ext>
              </a:extLst>
            </p:cNvPr>
            <p:cNvSpPr>
              <a:spLocks noChangeArrowheads="1"/>
            </p:cNvSpPr>
            <p:nvPr/>
          </p:nvSpPr>
          <p:spPr bwMode="auto">
            <a:xfrm>
              <a:off x="18104759" y="3921664"/>
              <a:ext cx="16569" cy="6213"/>
            </a:xfrm>
            <a:custGeom>
              <a:avLst/>
              <a:gdLst>
                <a:gd name="T0" fmla="*/ 14 w 36"/>
                <a:gd name="T1" fmla="*/ 14 h 15"/>
                <a:gd name="T2" fmla="*/ 35 w 36"/>
                <a:gd name="T3" fmla="*/ 0 h 15"/>
                <a:gd name="T4" fmla="*/ 0 w 36"/>
                <a:gd name="T5" fmla="*/ 7 h 15"/>
                <a:gd name="T6" fmla="*/ 14 w 36"/>
                <a:gd name="T7" fmla="*/ 14 h 15"/>
              </a:gdLst>
              <a:ahLst/>
              <a:cxnLst>
                <a:cxn ang="0">
                  <a:pos x="T0" y="T1"/>
                </a:cxn>
                <a:cxn ang="0">
                  <a:pos x="T2" y="T3"/>
                </a:cxn>
                <a:cxn ang="0">
                  <a:pos x="T4" y="T5"/>
                </a:cxn>
                <a:cxn ang="0">
                  <a:pos x="T6" y="T7"/>
                </a:cxn>
              </a:cxnLst>
              <a:rect l="0" t="0" r="r" b="b"/>
              <a:pathLst>
                <a:path w="36" h="15">
                  <a:moveTo>
                    <a:pt x="14" y="14"/>
                  </a:moveTo>
                  <a:lnTo>
                    <a:pt x="35" y="0"/>
                  </a:lnTo>
                  <a:lnTo>
                    <a:pt x="0" y="7"/>
                  </a:lnTo>
                  <a:lnTo>
                    <a:pt x="14" y="14"/>
                  </a:lnTo>
                </a:path>
              </a:pathLst>
            </a:custGeom>
            <a:grpFill/>
            <a:ln w="9525" cap="flat" cmpd="sng">
              <a:solidFill>
                <a:schemeClr val="bg1"/>
              </a:solid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101" name="Freeform 98">
              <a:extLst>
                <a:ext uri="{FF2B5EF4-FFF2-40B4-BE49-F238E27FC236}">
                  <a16:creationId xmlns:a16="http://schemas.microsoft.com/office/drawing/2014/main" id="{61BC95BF-21F1-4F17-99CE-9C8CE5FC7910}"/>
                </a:ext>
              </a:extLst>
            </p:cNvPr>
            <p:cNvSpPr>
              <a:spLocks noChangeArrowheads="1"/>
            </p:cNvSpPr>
            <p:nvPr/>
          </p:nvSpPr>
          <p:spPr bwMode="auto">
            <a:xfrm>
              <a:off x="18262164" y="3932020"/>
              <a:ext cx="4142" cy="10357"/>
            </a:xfrm>
            <a:custGeom>
              <a:avLst/>
              <a:gdLst>
                <a:gd name="T0" fmla="*/ 0 w 8"/>
                <a:gd name="T1" fmla="*/ 0 h 22"/>
                <a:gd name="T2" fmla="*/ 7 w 8"/>
                <a:gd name="T3" fmla="*/ 0 h 22"/>
                <a:gd name="T4" fmla="*/ 0 w 8"/>
                <a:gd name="T5" fmla="*/ 21 h 22"/>
                <a:gd name="T6" fmla="*/ 0 w 8"/>
                <a:gd name="T7" fmla="*/ 0 h 22"/>
              </a:gdLst>
              <a:ahLst/>
              <a:cxnLst>
                <a:cxn ang="0">
                  <a:pos x="T0" y="T1"/>
                </a:cxn>
                <a:cxn ang="0">
                  <a:pos x="T2" y="T3"/>
                </a:cxn>
                <a:cxn ang="0">
                  <a:pos x="T4" y="T5"/>
                </a:cxn>
                <a:cxn ang="0">
                  <a:pos x="T6" y="T7"/>
                </a:cxn>
              </a:cxnLst>
              <a:rect l="0" t="0" r="r" b="b"/>
              <a:pathLst>
                <a:path w="8" h="22">
                  <a:moveTo>
                    <a:pt x="0" y="0"/>
                  </a:moveTo>
                  <a:lnTo>
                    <a:pt x="7" y="0"/>
                  </a:lnTo>
                  <a:lnTo>
                    <a:pt x="0" y="21"/>
                  </a:lnTo>
                  <a:lnTo>
                    <a:pt x="0" y="0"/>
                  </a:lnTo>
                </a:path>
              </a:pathLst>
            </a:custGeom>
            <a:grpFill/>
            <a:ln w="9525" cap="flat" cmpd="sng">
              <a:solidFill>
                <a:schemeClr val="bg1"/>
              </a:solid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102" name="Freeform 99">
              <a:extLst>
                <a:ext uri="{FF2B5EF4-FFF2-40B4-BE49-F238E27FC236}">
                  <a16:creationId xmlns:a16="http://schemas.microsoft.com/office/drawing/2014/main" id="{758ABB96-68A4-4AB7-9572-065F5956C00A}"/>
                </a:ext>
              </a:extLst>
            </p:cNvPr>
            <p:cNvSpPr>
              <a:spLocks noChangeArrowheads="1"/>
            </p:cNvSpPr>
            <p:nvPr/>
          </p:nvSpPr>
          <p:spPr bwMode="auto">
            <a:xfrm>
              <a:off x="18125470" y="3932021"/>
              <a:ext cx="6213" cy="6214"/>
            </a:xfrm>
            <a:custGeom>
              <a:avLst/>
              <a:gdLst>
                <a:gd name="T0" fmla="*/ 0 w 15"/>
                <a:gd name="T1" fmla="*/ 0 h 15"/>
                <a:gd name="T2" fmla="*/ 14 w 15"/>
                <a:gd name="T3" fmla="*/ 0 h 15"/>
                <a:gd name="T4" fmla="*/ 7 w 15"/>
                <a:gd name="T5" fmla="*/ 14 h 15"/>
                <a:gd name="T6" fmla="*/ 0 w 15"/>
                <a:gd name="T7" fmla="*/ 0 h 15"/>
              </a:gdLst>
              <a:ahLst/>
              <a:cxnLst>
                <a:cxn ang="0">
                  <a:pos x="T0" y="T1"/>
                </a:cxn>
                <a:cxn ang="0">
                  <a:pos x="T2" y="T3"/>
                </a:cxn>
                <a:cxn ang="0">
                  <a:pos x="T4" y="T5"/>
                </a:cxn>
                <a:cxn ang="0">
                  <a:pos x="T6" y="T7"/>
                </a:cxn>
              </a:cxnLst>
              <a:rect l="0" t="0" r="r" b="b"/>
              <a:pathLst>
                <a:path w="15" h="15">
                  <a:moveTo>
                    <a:pt x="0" y="0"/>
                  </a:moveTo>
                  <a:lnTo>
                    <a:pt x="14" y="0"/>
                  </a:lnTo>
                  <a:lnTo>
                    <a:pt x="7" y="14"/>
                  </a:lnTo>
                  <a:lnTo>
                    <a:pt x="0" y="0"/>
                  </a:lnTo>
                </a:path>
              </a:pathLst>
            </a:custGeom>
            <a:grpFill/>
            <a:ln w="9525" cap="flat" cmpd="sng">
              <a:solidFill>
                <a:schemeClr val="bg1"/>
              </a:solid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103" name="Freeform 100">
              <a:extLst>
                <a:ext uri="{FF2B5EF4-FFF2-40B4-BE49-F238E27FC236}">
                  <a16:creationId xmlns:a16="http://schemas.microsoft.com/office/drawing/2014/main" id="{8B5266B8-B2FF-4027-8617-E9C2346B9B73}"/>
                </a:ext>
              </a:extLst>
            </p:cNvPr>
            <p:cNvSpPr>
              <a:spLocks noChangeArrowheads="1"/>
            </p:cNvSpPr>
            <p:nvPr/>
          </p:nvSpPr>
          <p:spPr bwMode="auto">
            <a:xfrm>
              <a:off x="18235239" y="3927879"/>
              <a:ext cx="4142" cy="4142"/>
            </a:xfrm>
            <a:custGeom>
              <a:avLst/>
              <a:gdLst>
                <a:gd name="T0" fmla="*/ 0 w 8"/>
                <a:gd name="T1" fmla="*/ 7 h 8"/>
                <a:gd name="T2" fmla="*/ 7 w 8"/>
                <a:gd name="T3" fmla="*/ 0 h 8"/>
                <a:gd name="T4" fmla="*/ 0 w 8"/>
                <a:gd name="T5" fmla="*/ 7 h 8"/>
              </a:gdLst>
              <a:ahLst/>
              <a:cxnLst>
                <a:cxn ang="0">
                  <a:pos x="T0" y="T1"/>
                </a:cxn>
                <a:cxn ang="0">
                  <a:pos x="T2" y="T3"/>
                </a:cxn>
                <a:cxn ang="0">
                  <a:pos x="T4" y="T5"/>
                </a:cxn>
              </a:cxnLst>
              <a:rect l="0" t="0" r="r" b="b"/>
              <a:pathLst>
                <a:path w="8" h="8">
                  <a:moveTo>
                    <a:pt x="0" y="7"/>
                  </a:moveTo>
                  <a:lnTo>
                    <a:pt x="7" y="0"/>
                  </a:lnTo>
                  <a:lnTo>
                    <a:pt x="0" y="7"/>
                  </a:lnTo>
                </a:path>
              </a:pathLst>
            </a:custGeom>
            <a:grpFill/>
            <a:ln w="9525" cap="flat" cmpd="sng">
              <a:solidFill>
                <a:schemeClr val="bg1"/>
              </a:solid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104" name="Freeform 101">
              <a:extLst>
                <a:ext uri="{FF2B5EF4-FFF2-40B4-BE49-F238E27FC236}">
                  <a16:creationId xmlns:a16="http://schemas.microsoft.com/office/drawing/2014/main" id="{E8C0D11A-6CA6-48F9-805D-E292A51A00AA}"/>
                </a:ext>
              </a:extLst>
            </p:cNvPr>
            <p:cNvSpPr>
              <a:spLocks noChangeArrowheads="1"/>
            </p:cNvSpPr>
            <p:nvPr/>
          </p:nvSpPr>
          <p:spPr bwMode="auto">
            <a:xfrm>
              <a:off x="17905932" y="3961018"/>
              <a:ext cx="6213" cy="39354"/>
            </a:xfrm>
            <a:custGeom>
              <a:avLst/>
              <a:gdLst>
                <a:gd name="T0" fmla="*/ 0 w 14"/>
                <a:gd name="T1" fmla="*/ 21 h 84"/>
                <a:gd name="T2" fmla="*/ 0 w 14"/>
                <a:gd name="T3" fmla="*/ 35 h 84"/>
                <a:gd name="T4" fmla="*/ 7 w 14"/>
                <a:gd name="T5" fmla="*/ 83 h 84"/>
                <a:gd name="T6" fmla="*/ 13 w 14"/>
                <a:gd name="T7" fmla="*/ 49 h 84"/>
                <a:gd name="T8" fmla="*/ 7 w 14"/>
                <a:gd name="T9" fmla="*/ 21 h 84"/>
                <a:gd name="T10" fmla="*/ 7 w 14"/>
                <a:gd name="T11" fmla="*/ 0 h 84"/>
                <a:gd name="T12" fmla="*/ 0 w 14"/>
                <a:gd name="T13" fmla="*/ 21 h 84"/>
              </a:gdLst>
              <a:ahLst/>
              <a:cxnLst>
                <a:cxn ang="0">
                  <a:pos x="T0" y="T1"/>
                </a:cxn>
                <a:cxn ang="0">
                  <a:pos x="T2" y="T3"/>
                </a:cxn>
                <a:cxn ang="0">
                  <a:pos x="T4" y="T5"/>
                </a:cxn>
                <a:cxn ang="0">
                  <a:pos x="T6" y="T7"/>
                </a:cxn>
                <a:cxn ang="0">
                  <a:pos x="T8" y="T9"/>
                </a:cxn>
                <a:cxn ang="0">
                  <a:pos x="T10" y="T11"/>
                </a:cxn>
                <a:cxn ang="0">
                  <a:pos x="T12" y="T13"/>
                </a:cxn>
              </a:cxnLst>
              <a:rect l="0" t="0" r="r" b="b"/>
              <a:pathLst>
                <a:path w="14" h="84">
                  <a:moveTo>
                    <a:pt x="0" y="21"/>
                  </a:moveTo>
                  <a:lnTo>
                    <a:pt x="0" y="35"/>
                  </a:lnTo>
                  <a:lnTo>
                    <a:pt x="7" y="83"/>
                  </a:lnTo>
                  <a:lnTo>
                    <a:pt x="13" y="49"/>
                  </a:lnTo>
                  <a:lnTo>
                    <a:pt x="7" y="21"/>
                  </a:lnTo>
                  <a:lnTo>
                    <a:pt x="7" y="0"/>
                  </a:lnTo>
                  <a:lnTo>
                    <a:pt x="0" y="21"/>
                  </a:lnTo>
                </a:path>
              </a:pathLst>
            </a:custGeom>
            <a:grpFill/>
            <a:ln w="9525" cap="flat" cmpd="sng">
              <a:solidFill>
                <a:schemeClr val="bg1"/>
              </a:solid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105" name="Freeform 102">
              <a:extLst>
                <a:ext uri="{FF2B5EF4-FFF2-40B4-BE49-F238E27FC236}">
                  <a16:creationId xmlns:a16="http://schemas.microsoft.com/office/drawing/2014/main" id="{0C26C851-CE1D-4417-812C-E960EE3460E2}"/>
                </a:ext>
              </a:extLst>
            </p:cNvPr>
            <p:cNvSpPr>
              <a:spLocks noChangeArrowheads="1"/>
            </p:cNvSpPr>
            <p:nvPr/>
          </p:nvSpPr>
          <p:spPr bwMode="auto">
            <a:xfrm>
              <a:off x="17433719" y="4234423"/>
              <a:ext cx="89058" cy="202982"/>
            </a:xfrm>
            <a:custGeom>
              <a:avLst/>
              <a:gdLst>
                <a:gd name="T0" fmla="*/ 90 w 189"/>
                <a:gd name="T1" fmla="*/ 118 h 433"/>
                <a:gd name="T2" fmla="*/ 139 w 189"/>
                <a:gd name="T3" fmla="*/ 35 h 433"/>
                <a:gd name="T4" fmla="*/ 167 w 189"/>
                <a:gd name="T5" fmla="*/ 0 h 433"/>
                <a:gd name="T6" fmla="*/ 188 w 189"/>
                <a:gd name="T7" fmla="*/ 7 h 433"/>
                <a:gd name="T8" fmla="*/ 111 w 189"/>
                <a:gd name="T9" fmla="*/ 91 h 433"/>
                <a:gd name="T10" fmla="*/ 97 w 189"/>
                <a:gd name="T11" fmla="*/ 125 h 433"/>
                <a:gd name="T12" fmla="*/ 69 w 189"/>
                <a:gd name="T13" fmla="*/ 167 h 433"/>
                <a:gd name="T14" fmla="*/ 69 w 189"/>
                <a:gd name="T15" fmla="*/ 195 h 433"/>
                <a:gd name="T16" fmla="*/ 63 w 189"/>
                <a:gd name="T17" fmla="*/ 223 h 433"/>
                <a:gd name="T18" fmla="*/ 28 w 189"/>
                <a:gd name="T19" fmla="*/ 355 h 433"/>
                <a:gd name="T20" fmla="*/ 14 w 189"/>
                <a:gd name="T21" fmla="*/ 404 h 433"/>
                <a:gd name="T22" fmla="*/ 7 w 189"/>
                <a:gd name="T23" fmla="*/ 424 h 433"/>
                <a:gd name="T24" fmla="*/ 7 w 189"/>
                <a:gd name="T25" fmla="*/ 432 h 433"/>
                <a:gd name="T26" fmla="*/ 0 w 189"/>
                <a:gd name="T27" fmla="*/ 432 h 433"/>
                <a:gd name="T28" fmla="*/ 0 w 189"/>
                <a:gd name="T29" fmla="*/ 424 h 433"/>
                <a:gd name="T30" fmla="*/ 14 w 189"/>
                <a:gd name="T31" fmla="*/ 397 h 433"/>
                <a:gd name="T32" fmla="*/ 14 w 189"/>
                <a:gd name="T33" fmla="*/ 327 h 433"/>
                <a:gd name="T34" fmla="*/ 42 w 189"/>
                <a:gd name="T35" fmla="*/ 230 h 433"/>
                <a:gd name="T36" fmla="*/ 56 w 189"/>
                <a:gd name="T37" fmla="*/ 223 h 433"/>
                <a:gd name="T38" fmla="*/ 42 w 189"/>
                <a:gd name="T39" fmla="*/ 223 h 433"/>
                <a:gd name="T40" fmla="*/ 56 w 189"/>
                <a:gd name="T41" fmla="*/ 202 h 433"/>
                <a:gd name="T42" fmla="*/ 35 w 189"/>
                <a:gd name="T43" fmla="*/ 202 h 433"/>
                <a:gd name="T44" fmla="*/ 42 w 189"/>
                <a:gd name="T45" fmla="*/ 188 h 433"/>
                <a:gd name="T46" fmla="*/ 69 w 189"/>
                <a:gd name="T47" fmla="*/ 160 h 433"/>
                <a:gd name="T48" fmla="*/ 90 w 189"/>
                <a:gd name="T49" fmla="*/ 118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9" h="433">
                  <a:moveTo>
                    <a:pt x="90" y="118"/>
                  </a:moveTo>
                  <a:lnTo>
                    <a:pt x="139" y="35"/>
                  </a:lnTo>
                  <a:lnTo>
                    <a:pt x="167" y="0"/>
                  </a:lnTo>
                  <a:lnTo>
                    <a:pt x="188" y="7"/>
                  </a:lnTo>
                  <a:lnTo>
                    <a:pt x="111" y="91"/>
                  </a:lnTo>
                  <a:lnTo>
                    <a:pt x="97" y="125"/>
                  </a:lnTo>
                  <a:lnTo>
                    <a:pt x="69" y="167"/>
                  </a:lnTo>
                  <a:lnTo>
                    <a:pt x="69" y="195"/>
                  </a:lnTo>
                  <a:lnTo>
                    <a:pt x="63" y="223"/>
                  </a:lnTo>
                  <a:lnTo>
                    <a:pt x="28" y="355"/>
                  </a:lnTo>
                  <a:lnTo>
                    <a:pt x="14" y="404"/>
                  </a:lnTo>
                  <a:lnTo>
                    <a:pt x="7" y="424"/>
                  </a:lnTo>
                  <a:lnTo>
                    <a:pt x="7" y="432"/>
                  </a:lnTo>
                  <a:lnTo>
                    <a:pt x="0" y="432"/>
                  </a:lnTo>
                  <a:lnTo>
                    <a:pt x="0" y="424"/>
                  </a:lnTo>
                  <a:lnTo>
                    <a:pt x="14" y="397"/>
                  </a:lnTo>
                  <a:lnTo>
                    <a:pt x="14" y="327"/>
                  </a:lnTo>
                  <a:lnTo>
                    <a:pt x="42" y="230"/>
                  </a:lnTo>
                  <a:lnTo>
                    <a:pt x="56" y="223"/>
                  </a:lnTo>
                  <a:lnTo>
                    <a:pt x="42" y="223"/>
                  </a:lnTo>
                  <a:lnTo>
                    <a:pt x="56" y="202"/>
                  </a:lnTo>
                  <a:lnTo>
                    <a:pt x="35" y="202"/>
                  </a:lnTo>
                  <a:lnTo>
                    <a:pt x="42" y="188"/>
                  </a:lnTo>
                  <a:lnTo>
                    <a:pt x="69" y="160"/>
                  </a:lnTo>
                  <a:lnTo>
                    <a:pt x="90" y="118"/>
                  </a:lnTo>
                </a:path>
              </a:pathLst>
            </a:custGeom>
            <a:grpFill/>
            <a:ln w="9525" cap="flat" cmpd="sng">
              <a:solidFill>
                <a:schemeClr val="bg1"/>
              </a:solid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106" name="Freeform 103">
              <a:extLst>
                <a:ext uri="{FF2B5EF4-FFF2-40B4-BE49-F238E27FC236}">
                  <a16:creationId xmlns:a16="http://schemas.microsoft.com/office/drawing/2014/main" id="{FC4AC5A9-7B0C-49D2-A83A-E614F7B07E7B}"/>
                </a:ext>
              </a:extLst>
            </p:cNvPr>
            <p:cNvSpPr>
              <a:spLocks noChangeArrowheads="1"/>
            </p:cNvSpPr>
            <p:nvPr/>
          </p:nvSpPr>
          <p:spPr bwMode="auto">
            <a:xfrm>
              <a:off x="17475142" y="4205424"/>
              <a:ext cx="16569" cy="10357"/>
            </a:xfrm>
            <a:custGeom>
              <a:avLst/>
              <a:gdLst>
                <a:gd name="T0" fmla="*/ 14 w 36"/>
                <a:gd name="T1" fmla="*/ 0 h 22"/>
                <a:gd name="T2" fmla="*/ 0 w 36"/>
                <a:gd name="T3" fmla="*/ 6 h 22"/>
                <a:gd name="T4" fmla="*/ 7 w 36"/>
                <a:gd name="T5" fmla="*/ 21 h 22"/>
                <a:gd name="T6" fmla="*/ 35 w 36"/>
                <a:gd name="T7" fmla="*/ 6 h 22"/>
                <a:gd name="T8" fmla="*/ 14 w 36"/>
                <a:gd name="T9" fmla="*/ 0 h 22"/>
              </a:gdLst>
              <a:ahLst/>
              <a:cxnLst>
                <a:cxn ang="0">
                  <a:pos x="T0" y="T1"/>
                </a:cxn>
                <a:cxn ang="0">
                  <a:pos x="T2" y="T3"/>
                </a:cxn>
                <a:cxn ang="0">
                  <a:pos x="T4" y="T5"/>
                </a:cxn>
                <a:cxn ang="0">
                  <a:pos x="T6" y="T7"/>
                </a:cxn>
                <a:cxn ang="0">
                  <a:pos x="T8" y="T9"/>
                </a:cxn>
              </a:cxnLst>
              <a:rect l="0" t="0" r="r" b="b"/>
              <a:pathLst>
                <a:path w="36" h="22">
                  <a:moveTo>
                    <a:pt x="14" y="0"/>
                  </a:moveTo>
                  <a:lnTo>
                    <a:pt x="0" y="6"/>
                  </a:lnTo>
                  <a:lnTo>
                    <a:pt x="7" y="21"/>
                  </a:lnTo>
                  <a:lnTo>
                    <a:pt x="35" y="6"/>
                  </a:lnTo>
                  <a:lnTo>
                    <a:pt x="14" y="0"/>
                  </a:lnTo>
                </a:path>
              </a:pathLst>
            </a:custGeom>
            <a:grpFill/>
            <a:ln w="9525" cap="flat" cmpd="sng">
              <a:solidFill>
                <a:schemeClr val="bg1"/>
              </a:solid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107" name="Freeform 104">
              <a:extLst>
                <a:ext uri="{FF2B5EF4-FFF2-40B4-BE49-F238E27FC236}">
                  <a16:creationId xmlns:a16="http://schemas.microsoft.com/office/drawing/2014/main" id="{7C0F26CF-D369-4C69-99E0-4E2E005CF0C1}"/>
                </a:ext>
              </a:extLst>
            </p:cNvPr>
            <p:cNvSpPr>
              <a:spLocks noChangeArrowheads="1"/>
            </p:cNvSpPr>
            <p:nvPr/>
          </p:nvSpPr>
          <p:spPr bwMode="auto">
            <a:xfrm>
              <a:off x="17452359" y="4238565"/>
              <a:ext cx="16569" cy="6214"/>
            </a:xfrm>
            <a:custGeom>
              <a:avLst/>
              <a:gdLst>
                <a:gd name="T0" fmla="*/ 14 w 35"/>
                <a:gd name="T1" fmla="*/ 0 h 15"/>
                <a:gd name="T2" fmla="*/ 34 w 35"/>
                <a:gd name="T3" fmla="*/ 0 h 15"/>
                <a:gd name="T4" fmla="*/ 34 w 35"/>
                <a:gd name="T5" fmla="*/ 14 h 15"/>
                <a:gd name="T6" fmla="*/ 0 w 35"/>
                <a:gd name="T7" fmla="*/ 0 h 15"/>
                <a:gd name="T8" fmla="*/ 14 w 35"/>
                <a:gd name="T9" fmla="*/ 0 h 15"/>
              </a:gdLst>
              <a:ahLst/>
              <a:cxnLst>
                <a:cxn ang="0">
                  <a:pos x="T0" y="T1"/>
                </a:cxn>
                <a:cxn ang="0">
                  <a:pos x="T2" y="T3"/>
                </a:cxn>
                <a:cxn ang="0">
                  <a:pos x="T4" y="T5"/>
                </a:cxn>
                <a:cxn ang="0">
                  <a:pos x="T6" y="T7"/>
                </a:cxn>
                <a:cxn ang="0">
                  <a:pos x="T8" y="T9"/>
                </a:cxn>
              </a:cxnLst>
              <a:rect l="0" t="0" r="r" b="b"/>
              <a:pathLst>
                <a:path w="35" h="15">
                  <a:moveTo>
                    <a:pt x="14" y="0"/>
                  </a:moveTo>
                  <a:lnTo>
                    <a:pt x="34" y="0"/>
                  </a:lnTo>
                  <a:lnTo>
                    <a:pt x="34" y="14"/>
                  </a:lnTo>
                  <a:lnTo>
                    <a:pt x="0" y="0"/>
                  </a:lnTo>
                  <a:lnTo>
                    <a:pt x="14" y="0"/>
                  </a:lnTo>
                </a:path>
              </a:pathLst>
            </a:custGeom>
            <a:grpFill/>
            <a:ln w="9525" cap="flat" cmpd="sng">
              <a:solidFill>
                <a:schemeClr val="bg1"/>
              </a:solid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108" name="Freeform 105">
              <a:extLst>
                <a:ext uri="{FF2B5EF4-FFF2-40B4-BE49-F238E27FC236}">
                  <a16:creationId xmlns:a16="http://schemas.microsoft.com/office/drawing/2014/main" id="{F5880ECF-CF21-4E41-B081-B9BAEE5B3D61}"/>
                </a:ext>
              </a:extLst>
            </p:cNvPr>
            <p:cNvSpPr>
              <a:spLocks noChangeArrowheads="1"/>
            </p:cNvSpPr>
            <p:nvPr/>
          </p:nvSpPr>
          <p:spPr bwMode="auto">
            <a:xfrm>
              <a:off x="17475142" y="4238564"/>
              <a:ext cx="4142" cy="2072"/>
            </a:xfrm>
            <a:custGeom>
              <a:avLst/>
              <a:gdLst>
                <a:gd name="T0" fmla="*/ 0 w 8"/>
                <a:gd name="T1" fmla="*/ 0 h 1"/>
                <a:gd name="T2" fmla="*/ 7 w 8"/>
                <a:gd name="T3" fmla="*/ 0 h 1"/>
                <a:gd name="T4" fmla="*/ 0 w 8"/>
                <a:gd name="T5" fmla="*/ 0 h 1"/>
              </a:gdLst>
              <a:ahLst/>
              <a:cxnLst>
                <a:cxn ang="0">
                  <a:pos x="T0" y="T1"/>
                </a:cxn>
                <a:cxn ang="0">
                  <a:pos x="T2" y="T3"/>
                </a:cxn>
                <a:cxn ang="0">
                  <a:pos x="T4" y="T5"/>
                </a:cxn>
              </a:cxnLst>
              <a:rect l="0" t="0" r="r" b="b"/>
              <a:pathLst>
                <a:path w="8" h="1">
                  <a:moveTo>
                    <a:pt x="0" y="0"/>
                  </a:moveTo>
                  <a:lnTo>
                    <a:pt x="7" y="0"/>
                  </a:lnTo>
                  <a:lnTo>
                    <a:pt x="0" y="0"/>
                  </a:lnTo>
                </a:path>
              </a:pathLst>
            </a:custGeom>
            <a:grpFill/>
            <a:ln w="9525" cap="flat" cmpd="sng">
              <a:solidFill>
                <a:schemeClr val="bg1"/>
              </a:solid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109" name="Freeform 106">
              <a:extLst>
                <a:ext uri="{FF2B5EF4-FFF2-40B4-BE49-F238E27FC236}">
                  <a16:creationId xmlns:a16="http://schemas.microsoft.com/office/drawing/2014/main" id="{82D9B2BB-5BF3-45E7-AE03-09FCBEE8DAE4}"/>
                </a:ext>
              </a:extLst>
            </p:cNvPr>
            <p:cNvSpPr>
              <a:spLocks noChangeArrowheads="1"/>
            </p:cNvSpPr>
            <p:nvPr/>
          </p:nvSpPr>
          <p:spPr bwMode="auto">
            <a:xfrm>
              <a:off x="16141347" y="2950251"/>
              <a:ext cx="1921989" cy="1944899"/>
            </a:xfrm>
            <a:custGeom>
              <a:avLst/>
              <a:gdLst>
                <a:gd name="T0" fmla="*/ 3262 w 4091"/>
                <a:gd name="T1" fmla="*/ 1886 h 4140"/>
                <a:gd name="T2" fmla="*/ 3415 w 4091"/>
                <a:gd name="T3" fmla="*/ 1913 h 4140"/>
                <a:gd name="T4" fmla="*/ 3693 w 4091"/>
                <a:gd name="T5" fmla="*/ 1823 h 4140"/>
                <a:gd name="T6" fmla="*/ 3853 w 4091"/>
                <a:gd name="T7" fmla="*/ 1878 h 4140"/>
                <a:gd name="T8" fmla="*/ 3902 w 4091"/>
                <a:gd name="T9" fmla="*/ 1934 h 4140"/>
                <a:gd name="T10" fmla="*/ 3992 w 4091"/>
                <a:gd name="T11" fmla="*/ 2143 h 4140"/>
                <a:gd name="T12" fmla="*/ 3902 w 4091"/>
                <a:gd name="T13" fmla="*/ 2310 h 4140"/>
                <a:gd name="T14" fmla="*/ 3763 w 4091"/>
                <a:gd name="T15" fmla="*/ 2171 h 4140"/>
                <a:gd name="T16" fmla="*/ 3763 w 4091"/>
                <a:gd name="T17" fmla="*/ 2338 h 4140"/>
                <a:gd name="T18" fmla="*/ 2984 w 4091"/>
                <a:gd name="T19" fmla="*/ 2741 h 4140"/>
                <a:gd name="T20" fmla="*/ 3117 w 4091"/>
                <a:gd name="T21" fmla="*/ 2595 h 4140"/>
                <a:gd name="T22" fmla="*/ 3179 w 4091"/>
                <a:gd name="T23" fmla="*/ 2428 h 4140"/>
                <a:gd name="T24" fmla="*/ 3033 w 4091"/>
                <a:gd name="T25" fmla="*/ 2567 h 4140"/>
                <a:gd name="T26" fmla="*/ 3040 w 4091"/>
                <a:gd name="T27" fmla="*/ 2637 h 4140"/>
                <a:gd name="T28" fmla="*/ 2880 w 4091"/>
                <a:gd name="T29" fmla="*/ 2567 h 4140"/>
                <a:gd name="T30" fmla="*/ 2817 w 4091"/>
                <a:gd name="T31" fmla="*/ 2699 h 4140"/>
                <a:gd name="T32" fmla="*/ 2824 w 4091"/>
                <a:gd name="T33" fmla="*/ 2741 h 4140"/>
                <a:gd name="T34" fmla="*/ 2727 w 4091"/>
                <a:gd name="T35" fmla="*/ 2665 h 4140"/>
                <a:gd name="T36" fmla="*/ 2644 w 4091"/>
                <a:gd name="T37" fmla="*/ 3006 h 4140"/>
                <a:gd name="T38" fmla="*/ 2657 w 4091"/>
                <a:gd name="T39" fmla="*/ 3158 h 4140"/>
                <a:gd name="T40" fmla="*/ 2720 w 4091"/>
                <a:gd name="T41" fmla="*/ 3228 h 4140"/>
                <a:gd name="T42" fmla="*/ 2817 w 4091"/>
                <a:gd name="T43" fmla="*/ 3485 h 4140"/>
                <a:gd name="T44" fmla="*/ 3054 w 4091"/>
                <a:gd name="T45" fmla="*/ 3694 h 4140"/>
                <a:gd name="T46" fmla="*/ 3089 w 4091"/>
                <a:gd name="T47" fmla="*/ 3826 h 4140"/>
                <a:gd name="T48" fmla="*/ 2991 w 4091"/>
                <a:gd name="T49" fmla="*/ 4035 h 4140"/>
                <a:gd name="T50" fmla="*/ 2922 w 4091"/>
                <a:gd name="T51" fmla="*/ 4042 h 4140"/>
                <a:gd name="T52" fmla="*/ 2741 w 4091"/>
                <a:gd name="T53" fmla="*/ 3958 h 4140"/>
                <a:gd name="T54" fmla="*/ 2588 w 4091"/>
                <a:gd name="T55" fmla="*/ 3847 h 4140"/>
                <a:gd name="T56" fmla="*/ 2379 w 4091"/>
                <a:gd name="T57" fmla="*/ 3750 h 4140"/>
                <a:gd name="T58" fmla="*/ 1857 w 4091"/>
                <a:gd name="T59" fmla="*/ 3778 h 4140"/>
                <a:gd name="T60" fmla="*/ 1398 w 4091"/>
                <a:gd name="T61" fmla="*/ 3819 h 4140"/>
                <a:gd name="T62" fmla="*/ 1057 w 4091"/>
                <a:gd name="T63" fmla="*/ 3618 h 4140"/>
                <a:gd name="T64" fmla="*/ 918 w 4091"/>
                <a:gd name="T65" fmla="*/ 3479 h 4140"/>
                <a:gd name="T66" fmla="*/ 682 w 4091"/>
                <a:gd name="T67" fmla="*/ 3416 h 4140"/>
                <a:gd name="T68" fmla="*/ 522 w 4091"/>
                <a:gd name="T69" fmla="*/ 3214 h 4140"/>
                <a:gd name="T70" fmla="*/ 216 w 4091"/>
                <a:gd name="T71" fmla="*/ 3040 h 4140"/>
                <a:gd name="T72" fmla="*/ 167 w 4091"/>
                <a:gd name="T73" fmla="*/ 2804 h 4140"/>
                <a:gd name="T74" fmla="*/ 35 w 4091"/>
                <a:gd name="T75" fmla="*/ 2630 h 4140"/>
                <a:gd name="T76" fmla="*/ 369 w 4091"/>
                <a:gd name="T77" fmla="*/ 1858 h 4140"/>
                <a:gd name="T78" fmla="*/ 529 w 4091"/>
                <a:gd name="T79" fmla="*/ 2205 h 4140"/>
                <a:gd name="T80" fmla="*/ 724 w 4091"/>
                <a:gd name="T81" fmla="*/ 2108 h 4140"/>
                <a:gd name="T82" fmla="*/ 953 w 4091"/>
                <a:gd name="T83" fmla="*/ 1941 h 4140"/>
                <a:gd name="T84" fmla="*/ 1057 w 4091"/>
                <a:gd name="T85" fmla="*/ 1677 h 4140"/>
                <a:gd name="T86" fmla="*/ 1203 w 4091"/>
                <a:gd name="T87" fmla="*/ 1656 h 4140"/>
                <a:gd name="T88" fmla="*/ 1531 w 4091"/>
                <a:gd name="T89" fmla="*/ 1461 h 4140"/>
                <a:gd name="T90" fmla="*/ 1725 w 4091"/>
                <a:gd name="T91" fmla="*/ 1413 h 4140"/>
                <a:gd name="T92" fmla="*/ 1969 w 4091"/>
                <a:gd name="T93" fmla="*/ 1259 h 4140"/>
                <a:gd name="T94" fmla="*/ 2184 w 4091"/>
                <a:gd name="T95" fmla="*/ 1058 h 4140"/>
                <a:gd name="T96" fmla="*/ 1997 w 4091"/>
                <a:gd name="T97" fmla="*/ 793 h 4140"/>
                <a:gd name="T98" fmla="*/ 2066 w 4091"/>
                <a:gd name="T99" fmla="*/ 515 h 4140"/>
                <a:gd name="T100" fmla="*/ 2261 w 4091"/>
                <a:gd name="T101" fmla="*/ 327 h 4140"/>
                <a:gd name="T102" fmla="*/ 2553 w 4091"/>
                <a:gd name="T103" fmla="*/ 105 h 4140"/>
                <a:gd name="T104" fmla="*/ 2838 w 4091"/>
                <a:gd name="T105" fmla="*/ 112 h 4140"/>
                <a:gd name="T106" fmla="*/ 3220 w 4091"/>
                <a:gd name="T107" fmla="*/ 49 h 4140"/>
                <a:gd name="T108" fmla="*/ 3505 w 4091"/>
                <a:gd name="T109" fmla="*/ 300 h 4140"/>
                <a:gd name="T110" fmla="*/ 3214 w 4091"/>
                <a:gd name="T111" fmla="*/ 446 h 4140"/>
                <a:gd name="T112" fmla="*/ 3019 w 4091"/>
                <a:gd name="T113" fmla="*/ 668 h 4140"/>
                <a:gd name="T114" fmla="*/ 2824 w 4091"/>
                <a:gd name="T115" fmla="*/ 863 h 4140"/>
                <a:gd name="T116" fmla="*/ 3089 w 4091"/>
                <a:gd name="T117" fmla="*/ 1169 h 4140"/>
                <a:gd name="T118" fmla="*/ 2936 w 4091"/>
                <a:gd name="T119" fmla="*/ 1413 h 4140"/>
                <a:gd name="T120" fmla="*/ 3117 w 4091"/>
                <a:gd name="T121" fmla="*/ 1719 h 4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091" h="4140">
                  <a:moveTo>
                    <a:pt x="3179" y="1795"/>
                  </a:moveTo>
                  <a:lnTo>
                    <a:pt x="3186" y="1837"/>
                  </a:lnTo>
                  <a:lnTo>
                    <a:pt x="3179" y="1844"/>
                  </a:lnTo>
                  <a:lnTo>
                    <a:pt x="3200" y="1872"/>
                  </a:lnTo>
                  <a:lnTo>
                    <a:pt x="3207" y="1872"/>
                  </a:lnTo>
                  <a:lnTo>
                    <a:pt x="3214" y="1872"/>
                  </a:lnTo>
                  <a:lnTo>
                    <a:pt x="3214" y="1878"/>
                  </a:lnTo>
                  <a:lnTo>
                    <a:pt x="3234" y="1878"/>
                  </a:lnTo>
                  <a:lnTo>
                    <a:pt x="3262" y="1892"/>
                  </a:lnTo>
                  <a:lnTo>
                    <a:pt x="3262" y="1886"/>
                  </a:lnTo>
                  <a:lnTo>
                    <a:pt x="3269" y="1844"/>
                  </a:lnTo>
                  <a:lnTo>
                    <a:pt x="3296" y="1872"/>
                  </a:lnTo>
                  <a:lnTo>
                    <a:pt x="3310" y="1878"/>
                  </a:lnTo>
                  <a:lnTo>
                    <a:pt x="3317" y="1886"/>
                  </a:lnTo>
                  <a:lnTo>
                    <a:pt x="3338" y="1892"/>
                  </a:lnTo>
                  <a:lnTo>
                    <a:pt x="3345" y="1913"/>
                  </a:lnTo>
                  <a:lnTo>
                    <a:pt x="3345" y="1920"/>
                  </a:lnTo>
                  <a:lnTo>
                    <a:pt x="3366" y="1948"/>
                  </a:lnTo>
                  <a:lnTo>
                    <a:pt x="3401" y="1920"/>
                  </a:lnTo>
                  <a:lnTo>
                    <a:pt x="3415" y="1913"/>
                  </a:lnTo>
                  <a:lnTo>
                    <a:pt x="3450" y="1872"/>
                  </a:lnTo>
                  <a:lnTo>
                    <a:pt x="3477" y="1851"/>
                  </a:lnTo>
                  <a:lnTo>
                    <a:pt x="3498" y="1872"/>
                  </a:lnTo>
                  <a:lnTo>
                    <a:pt x="3561" y="1809"/>
                  </a:lnTo>
                  <a:lnTo>
                    <a:pt x="3589" y="1837"/>
                  </a:lnTo>
                  <a:lnTo>
                    <a:pt x="3596" y="1878"/>
                  </a:lnTo>
                  <a:lnTo>
                    <a:pt x="3623" y="1878"/>
                  </a:lnTo>
                  <a:lnTo>
                    <a:pt x="3630" y="1851"/>
                  </a:lnTo>
                  <a:lnTo>
                    <a:pt x="3658" y="1837"/>
                  </a:lnTo>
                  <a:lnTo>
                    <a:pt x="3693" y="1823"/>
                  </a:lnTo>
                  <a:lnTo>
                    <a:pt x="3721" y="1823"/>
                  </a:lnTo>
                  <a:lnTo>
                    <a:pt x="3721" y="1837"/>
                  </a:lnTo>
                  <a:lnTo>
                    <a:pt x="3700" y="1858"/>
                  </a:lnTo>
                  <a:lnTo>
                    <a:pt x="3728" y="1872"/>
                  </a:lnTo>
                  <a:lnTo>
                    <a:pt x="3756" y="1878"/>
                  </a:lnTo>
                  <a:lnTo>
                    <a:pt x="3769" y="1872"/>
                  </a:lnTo>
                  <a:lnTo>
                    <a:pt x="3790" y="1858"/>
                  </a:lnTo>
                  <a:lnTo>
                    <a:pt x="3804" y="1892"/>
                  </a:lnTo>
                  <a:lnTo>
                    <a:pt x="3825" y="1886"/>
                  </a:lnTo>
                  <a:lnTo>
                    <a:pt x="3853" y="1878"/>
                  </a:lnTo>
                  <a:lnTo>
                    <a:pt x="3853" y="1837"/>
                  </a:lnTo>
                  <a:lnTo>
                    <a:pt x="3867" y="1844"/>
                  </a:lnTo>
                  <a:lnTo>
                    <a:pt x="3888" y="1858"/>
                  </a:lnTo>
                  <a:lnTo>
                    <a:pt x="3874" y="1878"/>
                  </a:lnTo>
                  <a:lnTo>
                    <a:pt x="3895" y="1872"/>
                  </a:lnTo>
                  <a:lnTo>
                    <a:pt x="3888" y="1878"/>
                  </a:lnTo>
                  <a:lnTo>
                    <a:pt x="3916" y="1906"/>
                  </a:lnTo>
                  <a:lnTo>
                    <a:pt x="3888" y="1906"/>
                  </a:lnTo>
                  <a:lnTo>
                    <a:pt x="3888" y="1934"/>
                  </a:lnTo>
                  <a:lnTo>
                    <a:pt x="3902" y="1934"/>
                  </a:lnTo>
                  <a:lnTo>
                    <a:pt x="3902" y="1941"/>
                  </a:lnTo>
                  <a:lnTo>
                    <a:pt x="3874" y="1955"/>
                  </a:lnTo>
                  <a:lnTo>
                    <a:pt x="3895" y="1976"/>
                  </a:lnTo>
                  <a:lnTo>
                    <a:pt x="3929" y="2018"/>
                  </a:lnTo>
                  <a:lnTo>
                    <a:pt x="3929" y="2025"/>
                  </a:lnTo>
                  <a:lnTo>
                    <a:pt x="3936" y="2053"/>
                  </a:lnTo>
                  <a:lnTo>
                    <a:pt x="3936" y="2080"/>
                  </a:lnTo>
                  <a:lnTo>
                    <a:pt x="3936" y="2101"/>
                  </a:lnTo>
                  <a:lnTo>
                    <a:pt x="3964" y="2080"/>
                  </a:lnTo>
                  <a:lnTo>
                    <a:pt x="3992" y="2143"/>
                  </a:lnTo>
                  <a:lnTo>
                    <a:pt x="3985" y="2150"/>
                  </a:lnTo>
                  <a:lnTo>
                    <a:pt x="4006" y="2171"/>
                  </a:lnTo>
                  <a:lnTo>
                    <a:pt x="3992" y="2178"/>
                  </a:lnTo>
                  <a:lnTo>
                    <a:pt x="4027" y="2212"/>
                  </a:lnTo>
                  <a:lnTo>
                    <a:pt x="4027" y="2247"/>
                  </a:lnTo>
                  <a:lnTo>
                    <a:pt x="4062" y="2240"/>
                  </a:lnTo>
                  <a:lnTo>
                    <a:pt x="4062" y="2254"/>
                  </a:lnTo>
                  <a:lnTo>
                    <a:pt x="4090" y="2275"/>
                  </a:lnTo>
                  <a:lnTo>
                    <a:pt x="4083" y="2296"/>
                  </a:lnTo>
                  <a:lnTo>
                    <a:pt x="3902" y="2310"/>
                  </a:lnTo>
                  <a:lnTo>
                    <a:pt x="3916" y="2296"/>
                  </a:lnTo>
                  <a:lnTo>
                    <a:pt x="3874" y="2268"/>
                  </a:lnTo>
                  <a:lnTo>
                    <a:pt x="3874" y="2310"/>
                  </a:lnTo>
                  <a:lnTo>
                    <a:pt x="3777" y="2331"/>
                  </a:lnTo>
                  <a:lnTo>
                    <a:pt x="3790" y="2310"/>
                  </a:lnTo>
                  <a:lnTo>
                    <a:pt x="3825" y="2296"/>
                  </a:lnTo>
                  <a:lnTo>
                    <a:pt x="3777" y="2233"/>
                  </a:lnTo>
                  <a:lnTo>
                    <a:pt x="3804" y="2212"/>
                  </a:lnTo>
                  <a:lnTo>
                    <a:pt x="3777" y="2199"/>
                  </a:lnTo>
                  <a:lnTo>
                    <a:pt x="3763" y="2171"/>
                  </a:lnTo>
                  <a:lnTo>
                    <a:pt x="3763" y="2150"/>
                  </a:lnTo>
                  <a:lnTo>
                    <a:pt x="3742" y="2164"/>
                  </a:lnTo>
                  <a:lnTo>
                    <a:pt x="3735" y="2164"/>
                  </a:lnTo>
                  <a:lnTo>
                    <a:pt x="3721" y="2171"/>
                  </a:lnTo>
                  <a:lnTo>
                    <a:pt x="3721" y="2199"/>
                  </a:lnTo>
                  <a:lnTo>
                    <a:pt x="3769" y="2240"/>
                  </a:lnTo>
                  <a:lnTo>
                    <a:pt x="3769" y="2254"/>
                  </a:lnTo>
                  <a:lnTo>
                    <a:pt x="3777" y="2275"/>
                  </a:lnTo>
                  <a:lnTo>
                    <a:pt x="3742" y="2310"/>
                  </a:lnTo>
                  <a:lnTo>
                    <a:pt x="3763" y="2338"/>
                  </a:lnTo>
                  <a:lnTo>
                    <a:pt x="3721" y="2379"/>
                  </a:lnTo>
                  <a:lnTo>
                    <a:pt x="3568" y="2463"/>
                  </a:lnTo>
                  <a:lnTo>
                    <a:pt x="3491" y="2505"/>
                  </a:lnTo>
                  <a:lnTo>
                    <a:pt x="3526" y="2498"/>
                  </a:lnTo>
                  <a:lnTo>
                    <a:pt x="3477" y="2512"/>
                  </a:lnTo>
                  <a:lnTo>
                    <a:pt x="3234" y="2623"/>
                  </a:lnTo>
                  <a:lnTo>
                    <a:pt x="3234" y="2630"/>
                  </a:lnTo>
                  <a:lnTo>
                    <a:pt x="3130" y="2678"/>
                  </a:lnTo>
                  <a:lnTo>
                    <a:pt x="3005" y="2713"/>
                  </a:lnTo>
                  <a:lnTo>
                    <a:pt x="2984" y="2741"/>
                  </a:lnTo>
                  <a:lnTo>
                    <a:pt x="2971" y="2713"/>
                  </a:lnTo>
                  <a:lnTo>
                    <a:pt x="2977" y="2693"/>
                  </a:lnTo>
                  <a:lnTo>
                    <a:pt x="3012" y="2644"/>
                  </a:lnTo>
                  <a:lnTo>
                    <a:pt x="3054" y="2637"/>
                  </a:lnTo>
                  <a:lnTo>
                    <a:pt x="3068" y="2623"/>
                  </a:lnTo>
                  <a:lnTo>
                    <a:pt x="3054" y="2602"/>
                  </a:lnTo>
                  <a:lnTo>
                    <a:pt x="3068" y="2602"/>
                  </a:lnTo>
                  <a:lnTo>
                    <a:pt x="3075" y="2581"/>
                  </a:lnTo>
                  <a:lnTo>
                    <a:pt x="3103" y="2595"/>
                  </a:lnTo>
                  <a:lnTo>
                    <a:pt x="3117" y="2595"/>
                  </a:lnTo>
                  <a:lnTo>
                    <a:pt x="3110" y="2602"/>
                  </a:lnTo>
                  <a:lnTo>
                    <a:pt x="3138" y="2595"/>
                  </a:lnTo>
                  <a:lnTo>
                    <a:pt x="3138" y="2581"/>
                  </a:lnTo>
                  <a:lnTo>
                    <a:pt x="3144" y="2574"/>
                  </a:lnTo>
                  <a:lnTo>
                    <a:pt x="3138" y="2560"/>
                  </a:lnTo>
                  <a:lnTo>
                    <a:pt x="3151" y="2560"/>
                  </a:lnTo>
                  <a:lnTo>
                    <a:pt x="3234" y="2505"/>
                  </a:lnTo>
                  <a:lnTo>
                    <a:pt x="3248" y="2484"/>
                  </a:lnTo>
                  <a:lnTo>
                    <a:pt x="3214" y="2470"/>
                  </a:lnTo>
                  <a:lnTo>
                    <a:pt x="3179" y="2428"/>
                  </a:lnTo>
                  <a:lnTo>
                    <a:pt x="3103" y="2435"/>
                  </a:lnTo>
                  <a:lnTo>
                    <a:pt x="3047" y="2449"/>
                  </a:lnTo>
                  <a:lnTo>
                    <a:pt x="3068" y="2470"/>
                  </a:lnTo>
                  <a:lnTo>
                    <a:pt x="3075" y="2477"/>
                  </a:lnTo>
                  <a:lnTo>
                    <a:pt x="3054" y="2477"/>
                  </a:lnTo>
                  <a:lnTo>
                    <a:pt x="3033" y="2505"/>
                  </a:lnTo>
                  <a:lnTo>
                    <a:pt x="3012" y="2526"/>
                  </a:lnTo>
                  <a:lnTo>
                    <a:pt x="2991" y="2532"/>
                  </a:lnTo>
                  <a:lnTo>
                    <a:pt x="3005" y="2539"/>
                  </a:lnTo>
                  <a:lnTo>
                    <a:pt x="3033" y="2567"/>
                  </a:lnTo>
                  <a:lnTo>
                    <a:pt x="3005" y="2567"/>
                  </a:lnTo>
                  <a:lnTo>
                    <a:pt x="2991" y="2595"/>
                  </a:lnTo>
                  <a:lnTo>
                    <a:pt x="2977" y="2595"/>
                  </a:lnTo>
                  <a:lnTo>
                    <a:pt x="3012" y="2630"/>
                  </a:lnTo>
                  <a:lnTo>
                    <a:pt x="3040" y="2609"/>
                  </a:lnTo>
                  <a:lnTo>
                    <a:pt x="3040" y="2630"/>
                  </a:lnTo>
                  <a:lnTo>
                    <a:pt x="3047" y="2623"/>
                  </a:lnTo>
                  <a:lnTo>
                    <a:pt x="3054" y="2602"/>
                  </a:lnTo>
                  <a:lnTo>
                    <a:pt x="3054" y="2623"/>
                  </a:lnTo>
                  <a:lnTo>
                    <a:pt x="3040" y="2637"/>
                  </a:lnTo>
                  <a:lnTo>
                    <a:pt x="3019" y="2637"/>
                  </a:lnTo>
                  <a:lnTo>
                    <a:pt x="2991" y="2644"/>
                  </a:lnTo>
                  <a:lnTo>
                    <a:pt x="2984" y="2609"/>
                  </a:lnTo>
                  <a:lnTo>
                    <a:pt x="2950" y="2623"/>
                  </a:lnTo>
                  <a:lnTo>
                    <a:pt x="2936" y="2623"/>
                  </a:lnTo>
                  <a:lnTo>
                    <a:pt x="2922" y="2609"/>
                  </a:lnTo>
                  <a:lnTo>
                    <a:pt x="2894" y="2602"/>
                  </a:lnTo>
                  <a:lnTo>
                    <a:pt x="2908" y="2595"/>
                  </a:lnTo>
                  <a:lnTo>
                    <a:pt x="2922" y="2602"/>
                  </a:lnTo>
                  <a:lnTo>
                    <a:pt x="2880" y="2567"/>
                  </a:lnTo>
                  <a:lnTo>
                    <a:pt x="2873" y="2574"/>
                  </a:lnTo>
                  <a:lnTo>
                    <a:pt x="2873" y="2560"/>
                  </a:lnTo>
                  <a:lnTo>
                    <a:pt x="2838" y="2609"/>
                  </a:lnTo>
                  <a:lnTo>
                    <a:pt x="2790" y="2630"/>
                  </a:lnTo>
                  <a:lnTo>
                    <a:pt x="2762" y="2644"/>
                  </a:lnTo>
                  <a:lnTo>
                    <a:pt x="2748" y="2637"/>
                  </a:lnTo>
                  <a:lnTo>
                    <a:pt x="2741" y="2644"/>
                  </a:lnTo>
                  <a:lnTo>
                    <a:pt x="2741" y="2665"/>
                  </a:lnTo>
                  <a:lnTo>
                    <a:pt x="2804" y="2699"/>
                  </a:lnTo>
                  <a:lnTo>
                    <a:pt x="2817" y="2699"/>
                  </a:lnTo>
                  <a:lnTo>
                    <a:pt x="2838" y="2713"/>
                  </a:lnTo>
                  <a:lnTo>
                    <a:pt x="2859" y="2713"/>
                  </a:lnTo>
                  <a:lnTo>
                    <a:pt x="2873" y="2713"/>
                  </a:lnTo>
                  <a:lnTo>
                    <a:pt x="2852" y="2734"/>
                  </a:lnTo>
                  <a:lnTo>
                    <a:pt x="2873" y="2734"/>
                  </a:lnTo>
                  <a:lnTo>
                    <a:pt x="2873" y="2755"/>
                  </a:lnTo>
                  <a:lnTo>
                    <a:pt x="2859" y="2741"/>
                  </a:lnTo>
                  <a:lnTo>
                    <a:pt x="2838" y="2734"/>
                  </a:lnTo>
                  <a:lnTo>
                    <a:pt x="2824" y="2734"/>
                  </a:lnTo>
                  <a:lnTo>
                    <a:pt x="2824" y="2741"/>
                  </a:lnTo>
                  <a:lnTo>
                    <a:pt x="2783" y="2734"/>
                  </a:lnTo>
                  <a:lnTo>
                    <a:pt x="2790" y="2727"/>
                  </a:lnTo>
                  <a:lnTo>
                    <a:pt x="2783" y="2734"/>
                  </a:lnTo>
                  <a:lnTo>
                    <a:pt x="2790" y="2727"/>
                  </a:lnTo>
                  <a:lnTo>
                    <a:pt x="2776" y="2734"/>
                  </a:lnTo>
                  <a:lnTo>
                    <a:pt x="2783" y="2713"/>
                  </a:lnTo>
                  <a:lnTo>
                    <a:pt x="2776" y="2727"/>
                  </a:lnTo>
                  <a:lnTo>
                    <a:pt x="2776" y="2706"/>
                  </a:lnTo>
                  <a:lnTo>
                    <a:pt x="2790" y="2713"/>
                  </a:lnTo>
                  <a:lnTo>
                    <a:pt x="2727" y="2665"/>
                  </a:lnTo>
                  <a:lnTo>
                    <a:pt x="2720" y="2665"/>
                  </a:lnTo>
                  <a:lnTo>
                    <a:pt x="2727" y="2672"/>
                  </a:lnTo>
                  <a:lnTo>
                    <a:pt x="2727" y="2699"/>
                  </a:lnTo>
                  <a:lnTo>
                    <a:pt x="2692" y="2699"/>
                  </a:lnTo>
                  <a:lnTo>
                    <a:pt x="2706" y="2769"/>
                  </a:lnTo>
                  <a:lnTo>
                    <a:pt x="2685" y="2811"/>
                  </a:lnTo>
                  <a:lnTo>
                    <a:pt x="2713" y="2811"/>
                  </a:lnTo>
                  <a:lnTo>
                    <a:pt x="2713" y="2894"/>
                  </a:lnTo>
                  <a:lnTo>
                    <a:pt x="2692" y="2929"/>
                  </a:lnTo>
                  <a:lnTo>
                    <a:pt x="2644" y="3006"/>
                  </a:lnTo>
                  <a:lnTo>
                    <a:pt x="2630" y="3026"/>
                  </a:lnTo>
                  <a:lnTo>
                    <a:pt x="2623" y="3033"/>
                  </a:lnTo>
                  <a:lnTo>
                    <a:pt x="2616" y="3040"/>
                  </a:lnTo>
                  <a:lnTo>
                    <a:pt x="2630" y="3061"/>
                  </a:lnTo>
                  <a:lnTo>
                    <a:pt x="2650" y="3061"/>
                  </a:lnTo>
                  <a:lnTo>
                    <a:pt x="2623" y="3103"/>
                  </a:lnTo>
                  <a:lnTo>
                    <a:pt x="2630" y="3096"/>
                  </a:lnTo>
                  <a:lnTo>
                    <a:pt x="2630" y="3124"/>
                  </a:lnTo>
                  <a:lnTo>
                    <a:pt x="2650" y="3124"/>
                  </a:lnTo>
                  <a:lnTo>
                    <a:pt x="2657" y="3158"/>
                  </a:lnTo>
                  <a:lnTo>
                    <a:pt x="2623" y="3158"/>
                  </a:lnTo>
                  <a:lnTo>
                    <a:pt x="2623" y="3186"/>
                  </a:lnTo>
                  <a:lnTo>
                    <a:pt x="2650" y="3193"/>
                  </a:lnTo>
                  <a:lnTo>
                    <a:pt x="2644" y="3221"/>
                  </a:lnTo>
                  <a:lnTo>
                    <a:pt x="2657" y="3228"/>
                  </a:lnTo>
                  <a:lnTo>
                    <a:pt x="2657" y="3263"/>
                  </a:lnTo>
                  <a:lnTo>
                    <a:pt x="2713" y="3270"/>
                  </a:lnTo>
                  <a:lnTo>
                    <a:pt x="2720" y="3263"/>
                  </a:lnTo>
                  <a:lnTo>
                    <a:pt x="2706" y="3221"/>
                  </a:lnTo>
                  <a:lnTo>
                    <a:pt x="2720" y="3228"/>
                  </a:lnTo>
                  <a:lnTo>
                    <a:pt x="2727" y="3186"/>
                  </a:lnTo>
                  <a:lnTo>
                    <a:pt x="2748" y="3193"/>
                  </a:lnTo>
                  <a:lnTo>
                    <a:pt x="2741" y="3235"/>
                  </a:lnTo>
                  <a:lnTo>
                    <a:pt x="2748" y="3172"/>
                  </a:lnTo>
                  <a:lnTo>
                    <a:pt x="2790" y="3186"/>
                  </a:lnTo>
                  <a:lnTo>
                    <a:pt x="2762" y="3186"/>
                  </a:lnTo>
                  <a:lnTo>
                    <a:pt x="2783" y="3284"/>
                  </a:lnTo>
                  <a:lnTo>
                    <a:pt x="2824" y="3318"/>
                  </a:lnTo>
                  <a:lnTo>
                    <a:pt x="2811" y="3423"/>
                  </a:lnTo>
                  <a:lnTo>
                    <a:pt x="2817" y="3485"/>
                  </a:lnTo>
                  <a:lnTo>
                    <a:pt x="2873" y="3541"/>
                  </a:lnTo>
                  <a:lnTo>
                    <a:pt x="2950" y="3590"/>
                  </a:lnTo>
                  <a:lnTo>
                    <a:pt x="2971" y="3611"/>
                  </a:lnTo>
                  <a:lnTo>
                    <a:pt x="2957" y="3611"/>
                  </a:lnTo>
                  <a:lnTo>
                    <a:pt x="2991" y="3645"/>
                  </a:lnTo>
                  <a:lnTo>
                    <a:pt x="2991" y="3631"/>
                  </a:lnTo>
                  <a:lnTo>
                    <a:pt x="2984" y="3611"/>
                  </a:lnTo>
                  <a:lnTo>
                    <a:pt x="3068" y="3722"/>
                  </a:lnTo>
                  <a:lnTo>
                    <a:pt x="3075" y="3708"/>
                  </a:lnTo>
                  <a:lnTo>
                    <a:pt x="3054" y="3694"/>
                  </a:lnTo>
                  <a:lnTo>
                    <a:pt x="3130" y="3708"/>
                  </a:lnTo>
                  <a:lnTo>
                    <a:pt x="3138" y="3722"/>
                  </a:lnTo>
                  <a:lnTo>
                    <a:pt x="3165" y="3750"/>
                  </a:lnTo>
                  <a:lnTo>
                    <a:pt x="3165" y="3778"/>
                  </a:lnTo>
                  <a:lnTo>
                    <a:pt x="3138" y="3792"/>
                  </a:lnTo>
                  <a:lnTo>
                    <a:pt x="3138" y="3812"/>
                  </a:lnTo>
                  <a:lnTo>
                    <a:pt x="3144" y="3812"/>
                  </a:lnTo>
                  <a:lnTo>
                    <a:pt x="3103" y="3875"/>
                  </a:lnTo>
                  <a:lnTo>
                    <a:pt x="3103" y="3854"/>
                  </a:lnTo>
                  <a:lnTo>
                    <a:pt x="3089" y="3826"/>
                  </a:lnTo>
                  <a:lnTo>
                    <a:pt x="3089" y="3882"/>
                  </a:lnTo>
                  <a:lnTo>
                    <a:pt x="3089" y="3861"/>
                  </a:lnTo>
                  <a:lnTo>
                    <a:pt x="3103" y="3903"/>
                  </a:lnTo>
                  <a:lnTo>
                    <a:pt x="3089" y="3903"/>
                  </a:lnTo>
                  <a:lnTo>
                    <a:pt x="3103" y="3917"/>
                  </a:lnTo>
                  <a:lnTo>
                    <a:pt x="3054" y="3993"/>
                  </a:lnTo>
                  <a:lnTo>
                    <a:pt x="3054" y="4007"/>
                  </a:lnTo>
                  <a:lnTo>
                    <a:pt x="3068" y="4007"/>
                  </a:lnTo>
                  <a:lnTo>
                    <a:pt x="3012" y="4070"/>
                  </a:lnTo>
                  <a:lnTo>
                    <a:pt x="2991" y="4035"/>
                  </a:lnTo>
                  <a:lnTo>
                    <a:pt x="2977" y="4014"/>
                  </a:lnTo>
                  <a:lnTo>
                    <a:pt x="3005" y="3952"/>
                  </a:lnTo>
                  <a:lnTo>
                    <a:pt x="2991" y="3910"/>
                  </a:lnTo>
                  <a:lnTo>
                    <a:pt x="2957" y="3910"/>
                  </a:lnTo>
                  <a:lnTo>
                    <a:pt x="2950" y="3917"/>
                  </a:lnTo>
                  <a:lnTo>
                    <a:pt x="2915" y="3979"/>
                  </a:lnTo>
                  <a:lnTo>
                    <a:pt x="2936" y="3993"/>
                  </a:lnTo>
                  <a:lnTo>
                    <a:pt x="2936" y="3986"/>
                  </a:lnTo>
                  <a:lnTo>
                    <a:pt x="2971" y="4035"/>
                  </a:lnTo>
                  <a:lnTo>
                    <a:pt x="2922" y="4042"/>
                  </a:lnTo>
                  <a:lnTo>
                    <a:pt x="2936" y="4070"/>
                  </a:lnTo>
                  <a:lnTo>
                    <a:pt x="2957" y="4070"/>
                  </a:lnTo>
                  <a:lnTo>
                    <a:pt x="2977" y="4084"/>
                  </a:lnTo>
                  <a:lnTo>
                    <a:pt x="2957" y="4112"/>
                  </a:lnTo>
                  <a:lnTo>
                    <a:pt x="2950" y="4119"/>
                  </a:lnTo>
                  <a:lnTo>
                    <a:pt x="2922" y="4139"/>
                  </a:lnTo>
                  <a:lnTo>
                    <a:pt x="2845" y="4070"/>
                  </a:lnTo>
                  <a:lnTo>
                    <a:pt x="2838" y="4007"/>
                  </a:lnTo>
                  <a:lnTo>
                    <a:pt x="2762" y="3993"/>
                  </a:lnTo>
                  <a:lnTo>
                    <a:pt x="2741" y="3958"/>
                  </a:lnTo>
                  <a:lnTo>
                    <a:pt x="2748" y="3917"/>
                  </a:lnTo>
                  <a:lnTo>
                    <a:pt x="2741" y="3882"/>
                  </a:lnTo>
                  <a:lnTo>
                    <a:pt x="2755" y="3840"/>
                  </a:lnTo>
                  <a:lnTo>
                    <a:pt x="2727" y="3806"/>
                  </a:lnTo>
                  <a:lnTo>
                    <a:pt x="2706" y="3819"/>
                  </a:lnTo>
                  <a:lnTo>
                    <a:pt x="2706" y="3806"/>
                  </a:lnTo>
                  <a:lnTo>
                    <a:pt x="2692" y="3812"/>
                  </a:lnTo>
                  <a:lnTo>
                    <a:pt x="2678" y="3819"/>
                  </a:lnTo>
                  <a:lnTo>
                    <a:pt x="2650" y="3847"/>
                  </a:lnTo>
                  <a:lnTo>
                    <a:pt x="2588" y="3847"/>
                  </a:lnTo>
                  <a:lnTo>
                    <a:pt x="2553" y="3812"/>
                  </a:lnTo>
                  <a:lnTo>
                    <a:pt x="2532" y="3826"/>
                  </a:lnTo>
                  <a:lnTo>
                    <a:pt x="2511" y="3840"/>
                  </a:lnTo>
                  <a:lnTo>
                    <a:pt x="2463" y="3806"/>
                  </a:lnTo>
                  <a:lnTo>
                    <a:pt x="2463" y="3778"/>
                  </a:lnTo>
                  <a:lnTo>
                    <a:pt x="2435" y="3771"/>
                  </a:lnTo>
                  <a:lnTo>
                    <a:pt x="2435" y="3743"/>
                  </a:lnTo>
                  <a:lnTo>
                    <a:pt x="2414" y="3750"/>
                  </a:lnTo>
                  <a:lnTo>
                    <a:pt x="2400" y="3743"/>
                  </a:lnTo>
                  <a:lnTo>
                    <a:pt x="2379" y="3750"/>
                  </a:lnTo>
                  <a:lnTo>
                    <a:pt x="2358" y="3729"/>
                  </a:lnTo>
                  <a:lnTo>
                    <a:pt x="2296" y="3729"/>
                  </a:lnTo>
                  <a:lnTo>
                    <a:pt x="2254" y="3715"/>
                  </a:lnTo>
                  <a:lnTo>
                    <a:pt x="2219" y="3708"/>
                  </a:lnTo>
                  <a:lnTo>
                    <a:pt x="2156" y="3729"/>
                  </a:lnTo>
                  <a:lnTo>
                    <a:pt x="2024" y="3743"/>
                  </a:lnTo>
                  <a:lnTo>
                    <a:pt x="2004" y="3743"/>
                  </a:lnTo>
                  <a:lnTo>
                    <a:pt x="1941" y="3729"/>
                  </a:lnTo>
                  <a:lnTo>
                    <a:pt x="1899" y="3771"/>
                  </a:lnTo>
                  <a:lnTo>
                    <a:pt x="1857" y="3778"/>
                  </a:lnTo>
                  <a:lnTo>
                    <a:pt x="1843" y="3792"/>
                  </a:lnTo>
                  <a:lnTo>
                    <a:pt x="1843" y="3826"/>
                  </a:lnTo>
                  <a:lnTo>
                    <a:pt x="1823" y="3840"/>
                  </a:lnTo>
                  <a:lnTo>
                    <a:pt x="1704" y="3882"/>
                  </a:lnTo>
                  <a:lnTo>
                    <a:pt x="1663" y="3917"/>
                  </a:lnTo>
                  <a:lnTo>
                    <a:pt x="1600" y="3917"/>
                  </a:lnTo>
                  <a:lnTo>
                    <a:pt x="1593" y="3875"/>
                  </a:lnTo>
                  <a:lnTo>
                    <a:pt x="1531" y="3840"/>
                  </a:lnTo>
                  <a:lnTo>
                    <a:pt x="1496" y="3819"/>
                  </a:lnTo>
                  <a:lnTo>
                    <a:pt x="1398" y="3819"/>
                  </a:lnTo>
                  <a:lnTo>
                    <a:pt x="1384" y="3819"/>
                  </a:lnTo>
                  <a:lnTo>
                    <a:pt x="1329" y="3840"/>
                  </a:lnTo>
                  <a:lnTo>
                    <a:pt x="1329" y="3792"/>
                  </a:lnTo>
                  <a:lnTo>
                    <a:pt x="1336" y="3778"/>
                  </a:lnTo>
                  <a:lnTo>
                    <a:pt x="1308" y="3750"/>
                  </a:lnTo>
                  <a:lnTo>
                    <a:pt x="1266" y="3743"/>
                  </a:lnTo>
                  <a:lnTo>
                    <a:pt x="1169" y="3687"/>
                  </a:lnTo>
                  <a:lnTo>
                    <a:pt x="1120" y="3652"/>
                  </a:lnTo>
                  <a:lnTo>
                    <a:pt x="1092" y="3652"/>
                  </a:lnTo>
                  <a:lnTo>
                    <a:pt x="1057" y="3618"/>
                  </a:lnTo>
                  <a:lnTo>
                    <a:pt x="1071" y="3590"/>
                  </a:lnTo>
                  <a:lnTo>
                    <a:pt x="1071" y="3562"/>
                  </a:lnTo>
                  <a:lnTo>
                    <a:pt x="1037" y="3583"/>
                  </a:lnTo>
                  <a:lnTo>
                    <a:pt x="1009" y="3583"/>
                  </a:lnTo>
                  <a:lnTo>
                    <a:pt x="1002" y="3576"/>
                  </a:lnTo>
                  <a:lnTo>
                    <a:pt x="960" y="3555"/>
                  </a:lnTo>
                  <a:lnTo>
                    <a:pt x="918" y="3555"/>
                  </a:lnTo>
                  <a:lnTo>
                    <a:pt x="911" y="3548"/>
                  </a:lnTo>
                  <a:lnTo>
                    <a:pt x="925" y="3499"/>
                  </a:lnTo>
                  <a:lnTo>
                    <a:pt x="918" y="3479"/>
                  </a:lnTo>
                  <a:lnTo>
                    <a:pt x="960" y="3444"/>
                  </a:lnTo>
                  <a:lnTo>
                    <a:pt x="953" y="3444"/>
                  </a:lnTo>
                  <a:lnTo>
                    <a:pt x="863" y="3402"/>
                  </a:lnTo>
                  <a:lnTo>
                    <a:pt x="856" y="3416"/>
                  </a:lnTo>
                  <a:lnTo>
                    <a:pt x="842" y="3458"/>
                  </a:lnTo>
                  <a:lnTo>
                    <a:pt x="793" y="3430"/>
                  </a:lnTo>
                  <a:lnTo>
                    <a:pt x="786" y="3479"/>
                  </a:lnTo>
                  <a:lnTo>
                    <a:pt x="751" y="3465"/>
                  </a:lnTo>
                  <a:lnTo>
                    <a:pt x="710" y="3444"/>
                  </a:lnTo>
                  <a:lnTo>
                    <a:pt x="682" y="3416"/>
                  </a:lnTo>
                  <a:lnTo>
                    <a:pt x="696" y="3388"/>
                  </a:lnTo>
                  <a:lnTo>
                    <a:pt x="710" y="3353"/>
                  </a:lnTo>
                  <a:lnTo>
                    <a:pt x="689" y="3353"/>
                  </a:lnTo>
                  <a:lnTo>
                    <a:pt x="682" y="3346"/>
                  </a:lnTo>
                  <a:lnTo>
                    <a:pt x="647" y="3353"/>
                  </a:lnTo>
                  <a:lnTo>
                    <a:pt x="619" y="3346"/>
                  </a:lnTo>
                  <a:lnTo>
                    <a:pt x="626" y="3270"/>
                  </a:lnTo>
                  <a:lnTo>
                    <a:pt x="591" y="3249"/>
                  </a:lnTo>
                  <a:lnTo>
                    <a:pt x="543" y="3228"/>
                  </a:lnTo>
                  <a:lnTo>
                    <a:pt x="522" y="3214"/>
                  </a:lnTo>
                  <a:lnTo>
                    <a:pt x="522" y="3172"/>
                  </a:lnTo>
                  <a:lnTo>
                    <a:pt x="466" y="3166"/>
                  </a:lnTo>
                  <a:lnTo>
                    <a:pt x="459" y="3138"/>
                  </a:lnTo>
                  <a:lnTo>
                    <a:pt x="445" y="3138"/>
                  </a:lnTo>
                  <a:lnTo>
                    <a:pt x="424" y="3138"/>
                  </a:lnTo>
                  <a:lnTo>
                    <a:pt x="369" y="3124"/>
                  </a:lnTo>
                  <a:lnTo>
                    <a:pt x="362" y="3089"/>
                  </a:lnTo>
                  <a:lnTo>
                    <a:pt x="355" y="3082"/>
                  </a:lnTo>
                  <a:lnTo>
                    <a:pt x="264" y="2991"/>
                  </a:lnTo>
                  <a:lnTo>
                    <a:pt x="216" y="3040"/>
                  </a:lnTo>
                  <a:lnTo>
                    <a:pt x="195" y="3054"/>
                  </a:lnTo>
                  <a:lnTo>
                    <a:pt x="174" y="3040"/>
                  </a:lnTo>
                  <a:lnTo>
                    <a:pt x="188" y="2991"/>
                  </a:lnTo>
                  <a:lnTo>
                    <a:pt x="139" y="2991"/>
                  </a:lnTo>
                  <a:lnTo>
                    <a:pt x="153" y="2943"/>
                  </a:lnTo>
                  <a:lnTo>
                    <a:pt x="104" y="2936"/>
                  </a:lnTo>
                  <a:lnTo>
                    <a:pt x="104" y="2908"/>
                  </a:lnTo>
                  <a:lnTo>
                    <a:pt x="153" y="2873"/>
                  </a:lnTo>
                  <a:lnTo>
                    <a:pt x="132" y="2852"/>
                  </a:lnTo>
                  <a:lnTo>
                    <a:pt x="167" y="2804"/>
                  </a:lnTo>
                  <a:lnTo>
                    <a:pt x="160" y="2804"/>
                  </a:lnTo>
                  <a:lnTo>
                    <a:pt x="153" y="2769"/>
                  </a:lnTo>
                  <a:lnTo>
                    <a:pt x="77" y="2755"/>
                  </a:lnTo>
                  <a:lnTo>
                    <a:pt x="63" y="2769"/>
                  </a:lnTo>
                  <a:lnTo>
                    <a:pt x="42" y="2769"/>
                  </a:lnTo>
                  <a:lnTo>
                    <a:pt x="56" y="2713"/>
                  </a:lnTo>
                  <a:lnTo>
                    <a:pt x="7" y="2727"/>
                  </a:lnTo>
                  <a:lnTo>
                    <a:pt x="0" y="2706"/>
                  </a:lnTo>
                  <a:lnTo>
                    <a:pt x="35" y="2706"/>
                  </a:lnTo>
                  <a:lnTo>
                    <a:pt x="35" y="2630"/>
                  </a:lnTo>
                  <a:lnTo>
                    <a:pt x="28" y="2560"/>
                  </a:lnTo>
                  <a:lnTo>
                    <a:pt x="28" y="2526"/>
                  </a:lnTo>
                  <a:lnTo>
                    <a:pt x="21" y="2449"/>
                  </a:lnTo>
                  <a:lnTo>
                    <a:pt x="21" y="2414"/>
                  </a:lnTo>
                  <a:lnTo>
                    <a:pt x="7" y="2351"/>
                  </a:lnTo>
                  <a:lnTo>
                    <a:pt x="118" y="2233"/>
                  </a:lnTo>
                  <a:lnTo>
                    <a:pt x="188" y="2136"/>
                  </a:lnTo>
                  <a:lnTo>
                    <a:pt x="236" y="2053"/>
                  </a:lnTo>
                  <a:lnTo>
                    <a:pt x="313" y="1948"/>
                  </a:lnTo>
                  <a:lnTo>
                    <a:pt x="369" y="1858"/>
                  </a:lnTo>
                  <a:lnTo>
                    <a:pt x="445" y="1906"/>
                  </a:lnTo>
                  <a:lnTo>
                    <a:pt x="431" y="1913"/>
                  </a:lnTo>
                  <a:lnTo>
                    <a:pt x="424" y="1941"/>
                  </a:lnTo>
                  <a:lnTo>
                    <a:pt x="445" y="1976"/>
                  </a:lnTo>
                  <a:lnTo>
                    <a:pt x="403" y="2025"/>
                  </a:lnTo>
                  <a:lnTo>
                    <a:pt x="369" y="2108"/>
                  </a:lnTo>
                  <a:lnTo>
                    <a:pt x="424" y="2108"/>
                  </a:lnTo>
                  <a:lnTo>
                    <a:pt x="501" y="2143"/>
                  </a:lnTo>
                  <a:lnTo>
                    <a:pt x="487" y="2171"/>
                  </a:lnTo>
                  <a:lnTo>
                    <a:pt x="529" y="2205"/>
                  </a:lnTo>
                  <a:lnTo>
                    <a:pt x="557" y="2178"/>
                  </a:lnTo>
                  <a:lnTo>
                    <a:pt x="563" y="2178"/>
                  </a:lnTo>
                  <a:lnTo>
                    <a:pt x="584" y="2150"/>
                  </a:lnTo>
                  <a:lnTo>
                    <a:pt x="578" y="2185"/>
                  </a:lnTo>
                  <a:lnTo>
                    <a:pt x="626" y="2143"/>
                  </a:lnTo>
                  <a:lnTo>
                    <a:pt x="626" y="2136"/>
                  </a:lnTo>
                  <a:lnTo>
                    <a:pt x="654" y="2108"/>
                  </a:lnTo>
                  <a:lnTo>
                    <a:pt x="654" y="2136"/>
                  </a:lnTo>
                  <a:lnTo>
                    <a:pt x="696" y="2136"/>
                  </a:lnTo>
                  <a:lnTo>
                    <a:pt x="724" y="2108"/>
                  </a:lnTo>
                  <a:lnTo>
                    <a:pt x="786" y="2164"/>
                  </a:lnTo>
                  <a:lnTo>
                    <a:pt x="807" y="2164"/>
                  </a:lnTo>
                  <a:lnTo>
                    <a:pt x="828" y="2164"/>
                  </a:lnTo>
                  <a:lnTo>
                    <a:pt x="856" y="2150"/>
                  </a:lnTo>
                  <a:lnTo>
                    <a:pt x="863" y="2115"/>
                  </a:lnTo>
                  <a:lnTo>
                    <a:pt x="911" y="2080"/>
                  </a:lnTo>
                  <a:lnTo>
                    <a:pt x="918" y="1983"/>
                  </a:lnTo>
                  <a:lnTo>
                    <a:pt x="918" y="1955"/>
                  </a:lnTo>
                  <a:lnTo>
                    <a:pt x="960" y="1969"/>
                  </a:lnTo>
                  <a:lnTo>
                    <a:pt x="953" y="1941"/>
                  </a:lnTo>
                  <a:lnTo>
                    <a:pt x="946" y="1892"/>
                  </a:lnTo>
                  <a:lnTo>
                    <a:pt x="953" y="1878"/>
                  </a:lnTo>
                  <a:lnTo>
                    <a:pt x="988" y="1858"/>
                  </a:lnTo>
                  <a:lnTo>
                    <a:pt x="988" y="1823"/>
                  </a:lnTo>
                  <a:lnTo>
                    <a:pt x="1023" y="1788"/>
                  </a:lnTo>
                  <a:lnTo>
                    <a:pt x="1023" y="1760"/>
                  </a:lnTo>
                  <a:lnTo>
                    <a:pt x="1016" y="1753"/>
                  </a:lnTo>
                  <a:lnTo>
                    <a:pt x="1043" y="1739"/>
                  </a:lnTo>
                  <a:lnTo>
                    <a:pt x="1043" y="1711"/>
                  </a:lnTo>
                  <a:lnTo>
                    <a:pt x="1057" y="1677"/>
                  </a:lnTo>
                  <a:lnTo>
                    <a:pt x="1051" y="1663"/>
                  </a:lnTo>
                  <a:lnTo>
                    <a:pt x="1071" y="1677"/>
                  </a:lnTo>
                  <a:lnTo>
                    <a:pt x="1120" y="1663"/>
                  </a:lnTo>
                  <a:lnTo>
                    <a:pt x="1120" y="1628"/>
                  </a:lnTo>
                  <a:lnTo>
                    <a:pt x="1134" y="1649"/>
                  </a:lnTo>
                  <a:lnTo>
                    <a:pt x="1141" y="1642"/>
                  </a:lnTo>
                  <a:lnTo>
                    <a:pt x="1169" y="1677"/>
                  </a:lnTo>
                  <a:lnTo>
                    <a:pt x="1190" y="1684"/>
                  </a:lnTo>
                  <a:lnTo>
                    <a:pt x="1203" y="1684"/>
                  </a:lnTo>
                  <a:lnTo>
                    <a:pt x="1203" y="1656"/>
                  </a:lnTo>
                  <a:lnTo>
                    <a:pt x="1218" y="1649"/>
                  </a:lnTo>
                  <a:lnTo>
                    <a:pt x="1218" y="1614"/>
                  </a:lnTo>
                  <a:lnTo>
                    <a:pt x="1266" y="1607"/>
                  </a:lnTo>
                  <a:lnTo>
                    <a:pt x="1266" y="1593"/>
                  </a:lnTo>
                  <a:lnTo>
                    <a:pt x="1245" y="1524"/>
                  </a:lnTo>
                  <a:lnTo>
                    <a:pt x="1370" y="1531"/>
                  </a:lnTo>
                  <a:lnTo>
                    <a:pt x="1412" y="1489"/>
                  </a:lnTo>
                  <a:lnTo>
                    <a:pt x="1440" y="1475"/>
                  </a:lnTo>
                  <a:lnTo>
                    <a:pt x="1468" y="1461"/>
                  </a:lnTo>
                  <a:lnTo>
                    <a:pt x="1531" y="1461"/>
                  </a:lnTo>
                  <a:lnTo>
                    <a:pt x="1579" y="1475"/>
                  </a:lnTo>
                  <a:lnTo>
                    <a:pt x="1593" y="1559"/>
                  </a:lnTo>
                  <a:lnTo>
                    <a:pt x="1663" y="1559"/>
                  </a:lnTo>
                  <a:lnTo>
                    <a:pt x="1663" y="1579"/>
                  </a:lnTo>
                  <a:lnTo>
                    <a:pt x="1760" y="1559"/>
                  </a:lnTo>
                  <a:lnTo>
                    <a:pt x="1746" y="1524"/>
                  </a:lnTo>
                  <a:lnTo>
                    <a:pt x="1760" y="1517"/>
                  </a:lnTo>
                  <a:lnTo>
                    <a:pt x="1732" y="1454"/>
                  </a:lnTo>
                  <a:lnTo>
                    <a:pt x="1746" y="1426"/>
                  </a:lnTo>
                  <a:lnTo>
                    <a:pt x="1725" y="1413"/>
                  </a:lnTo>
                  <a:lnTo>
                    <a:pt x="1767" y="1392"/>
                  </a:lnTo>
                  <a:lnTo>
                    <a:pt x="1795" y="1392"/>
                  </a:lnTo>
                  <a:lnTo>
                    <a:pt x="1774" y="1357"/>
                  </a:lnTo>
                  <a:lnTo>
                    <a:pt x="1746" y="1294"/>
                  </a:lnTo>
                  <a:lnTo>
                    <a:pt x="1774" y="1287"/>
                  </a:lnTo>
                  <a:lnTo>
                    <a:pt x="1843" y="1259"/>
                  </a:lnTo>
                  <a:lnTo>
                    <a:pt x="1864" y="1259"/>
                  </a:lnTo>
                  <a:lnTo>
                    <a:pt x="1885" y="1287"/>
                  </a:lnTo>
                  <a:lnTo>
                    <a:pt x="1899" y="1259"/>
                  </a:lnTo>
                  <a:lnTo>
                    <a:pt x="1969" y="1259"/>
                  </a:lnTo>
                  <a:lnTo>
                    <a:pt x="1990" y="1252"/>
                  </a:lnTo>
                  <a:lnTo>
                    <a:pt x="2017" y="1252"/>
                  </a:lnTo>
                  <a:lnTo>
                    <a:pt x="2094" y="1225"/>
                  </a:lnTo>
                  <a:lnTo>
                    <a:pt x="2122" y="1197"/>
                  </a:lnTo>
                  <a:lnTo>
                    <a:pt x="2115" y="1190"/>
                  </a:lnTo>
                  <a:lnTo>
                    <a:pt x="2136" y="1155"/>
                  </a:lnTo>
                  <a:lnTo>
                    <a:pt x="2156" y="1113"/>
                  </a:lnTo>
                  <a:lnTo>
                    <a:pt x="2191" y="1120"/>
                  </a:lnTo>
                  <a:lnTo>
                    <a:pt x="2205" y="1065"/>
                  </a:lnTo>
                  <a:lnTo>
                    <a:pt x="2184" y="1058"/>
                  </a:lnTo>
                  <a:lnTo>
                    <a:pt x="2129" y="1002"/>
                  </a:lnTo>
                  <a:lnTo>
                    <a:pt x="2156" y="939"/>
                  </a:lnTo>
                  <a:lnTo>
                    <a:pt x="2136" y="939"/>
                  </a:lnTo>
                  <a:lnTo>
                    <a:pt x="2101" y="939"/>
                  </a:lnTo>
                  <a:lnTo>
                    <a:pt x="2087" y="884"/>
                  </a:lnTo>
                  <a:lnTo>
                    <a:pt x="2052" y="898"/>
                  </a:lnTo>
                  <a:lnTo>
                    <a:pt x="2004" y="898"/>
                  </a:lnTo>
                  <a:lnTo>
                    <a:pt x="1997" y="870"/>
                  </a:lnTo>
                  <a:lnTo>
                    <a:pt x="2017" y="821"/>
                  </a:lnTo>
                  <a:lnTo>
                    <a:pt x="1997" y="793"/>
                  </a:lnTo>
                  <a:lnTo>
                    <a:pt x="1941" y="745"/>
                  </a:lnTo>
                  <a:lnTo>
                    <a:pt x="1899" y="703"/>
                  </a:lnTo>
                  <a:lnTo>
                    <a:pt x="1941" y="689"/>
                  </a:lnTo>
                  <a:lnTo>
                    <a:pt x="1969" y="668"/>
                  </a:lnTo>
                  <a:lnTo>
                    <a:pt x="1976" y="661"/>
                  </a:lnTo>
                  <a:lnTo>
                    <a:pt x="1997" y="675"/>
                  </a:lnTo>
                  <a:lnTo>
                    <a:pt x="2017" y="592"/>
                  </a:lnTo>
                  <a:lnTo>
                    <a:pt x="2004" y="578"/>
                  </a:lnTo>
                  <a:lnTo>
                    <a:pt x="2024" y="543"/>
                  </a:lnTo>
                  <a:lnTo>
                    <a:pt x="2066" y="515"/>
                  </a:lnTo>
                  <a:lnTo>
                    <a:pt x="2087" y="480"/>
                  </a:lnTo>
                  <a:lnTo>
                    <a:pt x="2031" y="459"/>
                  </a:lnTo>
                  <a:lnTo>
                    <a:pt x="1962" y="446"/>
                  </a:lnTo>
                  <a:lnTo>
                    <a:pt x="1969" y="397"/>
                  </a:lnTo>
                  <a:lnTo>
                    <a:pt x="1990" y="376"/>
                  </a:lnTo>
                  <a:lnTo>
                    <a:pt x="2136" y="327"/>
                  </a:lnTo>
                  <a:lnTo>
                    <a:pt x="2184" y="327"/>
                  </a:lnTo>
                  <a:lnTo>
                    <a:pt x="2205" y="300"/>
                  </a:lnTo>
                  <a:lnTo>
                    <a:pt x="2254" y="300"/>
                  </a:lnTo>
                  <a:lnTo>
                    <a:pt x="2261" y="327"/>
                  </a:lnTo>
                  <a:lnTo>
                    <a:pt x="2296" y="285"/>
                  </a:lnTo>
                  <a:lnTo>
                    <a:pt x="2351" y="181"/>
                  </a:lnTo>
                  <a:lnTo>
                    <a:pt x="2351" y="153"/>
                  </a:lnTo>
                  <a:lnTo>
                    <a:pt x="2379" y="105"/>
                  </a:lnTo>
                  <a:lnTo>
                    <a:pt x="2393" y="84"/>
                  </a:lnTo>
                  <a:lnTo>
                    <a:pt x="2386" y="42"/>
                  </a:lnTo>
                  <a:lnTo>
                    <a:pt x="2386" y="14"/>
                  </a:lnTo>
                  <a:lnTo>
                    <a:pt x="2498" y="98"/>
                  </a:lnTo>
                  <a:lnTo>
                    <a:pt x="2511" y="105"/>
                  </a:lnTo>
                  <a:lnTo>
                    <a:pt x="2553" y="105"/>
                  </a:lnTo>
                  <a:lnTo>
                    <a:pt x="2581" y="133"/>
                  </a:lnTo>
                  <a:lnTo>
                    <a:pt x="2595" y="153"/>
                  </a:lnTo>
                  <a:lnTo>
                    <a:pt x="2588" y="167"/>
                  </a:lnTo>
                  <a:lnTo>
                    <a:pt x="2588" y="195"/>
                  </a:lnTo>
                  <a:lnTo>
                    <a:pt x="2644" y="146"/>
                  </a:lnTo>
                  <a:lnTo>
                    <a:pt x="2664" y="139"/>
                  </a:lnTo>
                  <a:lnTo>
                    <a:pt x="2685" y="119"/>
                  </a:lnTo>
                  <a:lnTo>
                    <a:pt x="2762" y="133"/>
                  </a:lnTo>
                  <a:lnTo>
                    <a:pt x="2790" y="112"/>
                  </a:lnTo>
                  <a:lnTo>
                    <a:pt x="2838" y="112"/>
                  </a:lnTo>
                  <a:lnTo>
                    <a:pt x="2873" y="133"/>
                  </a:lnTo>
                  <a:lnTo>
                    <a:pt x="2915" y="112"/>
                  </a:lnTo>
                  <a:lnTo>
                    <a:pt x="2894" y="77"/>
                  </a:lnTo>
                  <a:lnTo>
                    <a:pt x="2950" y="70"/>
                  </a:lnTo>
                  <a:lnTo>
                    <a:pt x="3012" y="14"/>
                  </a:lnTo>
                  <a:lnTo>
                    <a:pt x="3068" y="0"/>
                  </a:lnTo>
                  <a:lnTo>
                    <a:pt x="3144" y="14"/>
                  </a:lnTo>
                  <a:lnTo>
                    <a:pt x="3172" y="42"/>
                  </a:lnTo>
                  <a:lnTo>
                    <a:pt x="3214" y="56"/>
                  </a:lnTo>
                  <a:lnTo>
                    <a:pt x="3220" y="49"/>
                  </a:lnTo>
                  <a:lnTo>
                    <a:pt x="3310" y="49"/>
                  </a:lnTo>
                  <a:lnTo>
                    <a:pt x="3345" y="56"/>
                  </a:lnTo>
                  <a:lnTo>
                    <a:pt x="3366" y="49"/>
                  </a:lnTo>
                  <a:lnTo>
                    <a:pt x="3450" y="70"/>
                  </a:lnTo>
                  <a:lnTo>
                    <a:pt x="3477" y="98"/>
                  </a:lnTo>
                  <a:lnTo>
                    <a:pt x="3470" y="112"/>
                  </a:lnTo>
                  <a:lnTo>
                    <a:pt x="3477" y="167"/>
                  </a:lnTo>
                  <a:lnTo>
                    <a:pt x="3498" y="202"/>
                  </a:lnTo>
                  <a:lnTo>
                    <a:pt x="3477" y="272"/>
                  </a:lnTo>
                  <a:lnTo>
                    <a:pt x="3505" y="300"/>
                  </a:lnTo>
                  <a:lnTo>
                    <a:pt x="3477" y="306"/>
                  </a:lnTo>
                  <a:lnTo>
                    <a:pt x="3450" y="300"/>
                  </a:lnTo>
                  <a:lnTo>
                    <a:pt x="3394" y="334"/>
                  </a:lnTo>
                  <a:lnTo>
                    <a:pt x="3310" y="369"/>
                  </a:lnTo>
                  <a:lnTo>
                    <a:pt x="3303" y="397"/>
                  </a:lnTo>
                  <a:lnTo>
                    <a:pt x="3345" y="432"/>
                  </a:lnTo>
                  <a:lnTo>
                    <a:pt x="3359" y="473"/>
                  </a:lnTo>
                  <a:lnTo>
                    <a:pt x="3296" y="446"/>
                  </a:lnTo>
                  <a:lnTo>
                    <a:pt x="3269" y="473"/>
                  </a:lnTo>
                  <a:lnTo>
                    <a:pt x="3214" y="446"/>
                  </a:lnTo>
                  <a:lnTo>
                    <a:pt x="3172" y="480"/>
                  </a:lnTo>
                  <a:lnTo>
                    <a:pt x="3151" y="473"/>
                  </a:lnTo>
                  <a:lnTo>
                    <a:pt x="3144" y="494"/>
                  </a:lnTo>
                  <a:lnTo>
                    <a:pt x="3130" y="508"/>
                  </a:lnTo>
                  <a:lnTo>
                    <a:pt x="3089" y="557"/>
                  </a:lnTo>
                  <a:lnTo>
                    <a:pt x="3089" y="578"/>
                  </a:lnTo>
                  <a:lnTo>
                    <a:pt x="3054" y="626"/>
                  </a:lnTo>
                  <a:lnTo>
                    <a:pt x="3033" y="633"/>
                  </a:lnTo>
                  <a:lnTo>
                    <a:pt x="3040" y="675"/>
                  </a:lnTo>
                  <a:lnTo>
                    <a:pt x="3019" y="668"/>
                  </a:lnTo>
                  <a:lnTo>
                    <a:pt x="3019" y="696"/>
                  </a:lnTo>
                  <a:lnTo>
                    <a:pt x="2957" y="710"/>
                  </a:lnTo>
                  <a:lnTo>
                    <a:pt x="2957" y="765"/>
                  </a:lnTo>
                  <a:lnTo>
                    <a:pt x="2943" y="765"/>
                  </a:lnTo>
                  <a:lnTo>
                    <a:pt x="2894" y="765"/>
                  </a:lnTo>
                  <a:lnTo>
                    <a:pt x="2887" y="773"/>
                  </a:lnTo>
                  <a:lnTo>
                    <a:pt x="2859" y="786"/>
                  </a:lnTo>
                  <a:lnTo>
                    <a:pt x="2852" y="842"/>
                  </a:lnTo>
                  <a:lnTo>
                    <a:pt x="2845" y="856"/>
                  </a:lnTo>
                  <a:lnTo>
                    <a:pt x="2824" y="863"/>
                  </a:lnTo>
                  <a:lnTo>
                    <a:pt x="2804" y="905"/>
                  </a:lnTo>
                  <a:lnTo>
                    <a:pt x="2838" y="967"/>
                  </a:lnTo>
                  <a:lnTo>
                    <a:pt x="2887" y="1002"/>
                  </a:lnTo>
                  <a:lnTo>
                    <a:pt x="2915" y="995"/>
                  </a:lnTo>
                  <a:lnTo>
                    <a:pt x="2936" y="995"/>
                  </a:lnTo>
                  <a:lnTo>
                    <a:pt x="2943" y="995"/>
                  </a:lnTo>
                  <a:lnTo>
                    <a:pt x="2936" y="1030"/>
                  </a:lnTo>
                  <a:lnTo>
                    <a:pt x="3012" y="1037"/>
                  </a:lnTo>
                  <a:lnTo>
                    <a:pt x="3019" y="1113"/>
                  </a:lnTo>
                  <a:lnTo>
                    <a:pt x="3089" y="1169"/>
                  </a:lnTo>
                  <a:lnTo>
                    <a:pt x="3089" y="1197"/>
                  </a:lnTo>
                  <a:lnTo>
                    <a:pt x="3089" y="1204"/>
                  </a:lnTo>
                  <a:lnTo>
                    <a:pt x="3082" y="1246"/>
                  </a:lnTo>
                  <a:lnTo>
                    <a:pt x="3075" y="1252"/>
                  </a:lnTo>
                  <a:lnTo>
                    <a:pt x="3019" y="1294"/>
                  </a:lnTo>
                  <a:lnTo>
                    <a:pt x="3012" y="1301"/>
                  </a:lnTo>
                  <a:lnTo>
                    <a:pt x="2950" y="1357"/>
                  </a:lnTo>
                  <a:lnTo>
                    <a:pt x="2950" y="1364"/>
                  </a:lnTo>
                  <a:lnTo>
                    <a:pt x="2936" y="1399"/>
                  </a:lnTo>
                  <a:lnTo>
                    <a:pt x="2936" y="1413"/>
                  </a:lnTo>
                  <a:lnTo>
                    <a:pt x="2957" y="1447"/>
                  </a:lnTo>
                  <a:lnTo>
                    <a:pt x="2977" y="1524"/>
                  </a:lnTo>
                  <a:lnTo>
                    <a:pt x="2977" y="1607"/>
                  </a:lnTo>
                  <a:lnTo>
                    <a:pt x="3033" y="1614"/>
                  </a:lnTo>
                  <a:lnTo>
                    <a:pt x="3040" y="1628"/>
                  </a:lnTo>
                  <a:lnTo>
                    <a:pt x="3075" y="1656"/>
                  </a:lnTo>
                  <a:lnTo>
                    <a:pt x="3110" y="1663"/>
                  </a:lnTo>
                  <a:lnTo>
                    <a:pt x="3130" y="1705"/>
                  </a:lnTo>
                  <a:lnTo>
                    <a:pt x="3138" y="1705"/>
                  </a:lnTo>
                  <a:lnTo>
                    <a:pt x="3117" y="1719"/>
                  </a:lnTo>
                  <a:lnTo>
                    <a:pt x="3144" y="1746"/>
                  </a:lnTo>
                  <a:lnTo>
                    <a:pt x="3151" y="1788"/>
                  </a:lnTo>
                  <a:lnTo>
                    <a:pt x="3179" y="1795"/>
                  </a:lnTo>
                </a:path>
              </a:pathLst>
            </a:custGeom>
            <a:grpFill/>
            <a:ln w="9525" cap="flat" cmpd="sng">
              <a:solidFill>
                <a:srgbClr val="010101"/>
              </a:solid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110" name="Freeform 107">
              <a:extLst>
                <a:ext uri="{FF2B5EF4-FFF2-40B4-BE49-F238E27FC236}">
                  <a16:creationId xmlns:a16="http://schemas.microsoft.com/office/drawing/2014/main" id="{7B42501C-9135-4D01-8B27-CC7C8153F326}"/>
                </a:ext>
              </a:extLst>
            </p:cNvPr>
            <p:cNvSpPr>
              <a:spLocks noChangeArrowheads="1"/>
            </p:cNvSpPr>
            <p:nvPr/>
          </p:nvSpPr>
          <p:spPr bwMode="auto">
            <a:xfrm>
              <a:off x="16141347" y="2950251"/>
              <a:ext cx="1921989" cy="1944899"/>
            </a:xfrm>
            <a:custGeom>
              <a:avLst/>
              <a:gdLst>
                <a:gd name="T0" fmla="*/ 3262 w 4091"/>
                <a:gd name="T1" fmla="*/ 1886 h 4140"/>
                <a:gd name="T2" fmla="*/ 3415 w 4091"/>
                <a:gd name="T3" fmla="*/ 1913 h 4140"/>
                <a:gd name="T4" fmla="*/ 3693 w 4091"/>
                <a:gd name="T5" fmla="*/ 1823 h 4140"/>
                <a:gd name="T6" fmla="*/ 3853 w 4091"/>
                <a:gd name="T7" fmla="*/ 1878 h 4140"/>
                <a:gd name="T8" fmla="*/ 3902 w 4091"/>
                <a:gd name="T9" fmla="*/ 1934 h 4140"/>
                <a:gd name="T10" fmla="*/ 3992 w 4091"/>
                <a:gd name="T11" fmla="*/ 2143 h 4140"/>
                <a:gd name="T12" fmla="*/ 3902 w 4091"/>
                <a:gd name="T13" fmla="*/ 2310 h 4140"/>
                <a:gd name="T14" fmla="*/ 3763 w 4091"/>
                <a:gd name="T15" fmla="*/ 2171 h 4140"/>
                <a:gd name="T16" fmla="*/ 3763 w 4091"/>
                <a:gd name="T17" fmla="*/ 2338 h 4140"/>
                <a:gd name="T18" fmla="*/ 2984 w 4091"/>
                <a:gd name="T19" fmla="*/ 2741 h 4140"/>
                <a:gd name="T20" fmla="*/ 3117 w 4091"/>
                <a:gd name="T21" fmla="*/ 2595 h 4140"/>
                <a:gd name="T22" fmla="*/ 3179 w 4091"/>
                <a:gd name="T23" fmla="*/ 2428 h 4140"/>
                <a:gd name="T24" fmla="*/ 3033 w 4091"/>
                <a:gd name="T25" fmla="*/ 2567 h 4140"/>
                <a:gd name="T26" fmla="*/ 3040 w 4091"/>
                <a:gd name="T27" fmla="*/ 2637 h 4140"/>
                <a:gd name="T28" fmla="*/ 2880 w 4091"/>
                <a:gd name="T29" fmla="*/ 2567 h 4140"/>
                <a:gd name="T30" fmla="*/ 2817 w 4091"/>
                <a:gd name="T31" fmla="*/ 2699 h 4140"/>
                <a:gd name="T32" fmla="*/ 2824 w 4091"/>
                <a:gd name="T33" fmla="*/ 2741 h 4140"/>
                <a:gd name="T34" fmla="*/ 2727 w 4091"/>
                <a:gd name="T35" fmla="*/ 2665 h 4140"/>
                <a:gd name="T36" fmla="*/ 2644 w 4091"/>
                <a:gd name="T37" fmla="*/ 3006 h 4140"/>
                <a:gd name="T38" fmla="*/ 2657 w 4091"/>
                <a:gd name="T39" fmla="*/ 3158 h 4140"/>
                <a:gd name="T40" fmla="*/ 2720 w 4091"/>
                <a:gd name="T41" fmla="*/ 3228 h 4140"/>
                <a:gd name="T42" fmla="*/ 2817 w 4091"/>
                <a:gd name="T43" fmla="*/ 3485 h 4140"/>
                <a:gd name="T44" fmla="*/ 3054 w 4091"/>
                <a:gd name="T45" fmla="*/ 3694 h 4140"/>
                <a:gd name="T46" fmla="*/ 3089 w 4091"/>
                <a:gd name="T47" fmla="*/ 3826 h 4140"/>
                <a:gd name="T48" fmla="*/ 2991 w 4091"/>
                <a:gd name="T49" fmla="*/ 4035 h 4140"/>
                <a:gd name="T50" fmla="*/ 2922 w 4091"/>
                <a:gd name="T51" fmla="*/ 4042 h 4140"/>
                <a:gd name="T52" fmla="*/ 2741 w 4091"/>
                <a:gd name="T53" fmla="*/ 3958 h 4140"/>
                <a:gd name="T54" fmla="*/ 2588 w 4091"/>
                <a:gd name="T55" fmla="*/ 3847 h 4140"/>
                <a:gd name="T56" fmla="*/ 2379 w 4091"/>
                <a:gd name="T57" fmla="*/ 3750 h 4140"/>
                <a:gd name="T58" fmla="*/ 1857 w 4091"/>
                <a:gd name="T59" fmla="*/ 3778 h 4140"/>
                <a:gd name="T60" fmla="*/ 1398 w 4091"/>
                <a:gd name="T61" fmla="*/ 3819 h 4140"/>
                <a:gd name="T62" fmla="*/ 1057 w 4091"/>
                <a:gd name="T63" fmla="*/ 3618 h 4140"/>
                <a:gd name="T64" fmla="*/ 918 w 4091"/>
                <a:gd name="T65" fmla="*/ 3479 h 4140"/>
                <a:gd name="T66" fmla="*/ 682 w 4091"/>
                <a:gd name="T67" fmla="*/ 3416 h 4140"/>
                <a:gd name="T68" fmla="*/ 522 w 4091"/>
                <a:gd name="T69" fmla="*/ 3214 h 4140"/>
                <a:gd name="T70" fmla="*/ 216 w 4091"/>
                <a:gd name="T71" fmla="*/ 3040 h 4140"/>
                <a:gd name="T72" fmla="*/ 167 w 4091"/>
                <a:gd name="T73" fmla="*/ 2804 h 4140"/>
                <a:gd name="T74" fmla="*/ 35 w 4091"/>
                <a:gd name="T75" fmla="*/ 2630 h 4140"/>
                <a:gd name="T76" fmla="*/ 369 w 4091"/>
                <a:gd name="T77" fmla="*/ 1858 h 4140"/>
                <a:gd name="T78" fmla="*/ 529 w 4091"/>
                <a:gd name="T79" fmla="*/ 2205 h 4140"/>
                <a:gd name="T80" fmla="*/ 724 w 4091"/>
                <a:gd name="T81" fmla="*/ 2108 h 4140"/>
                <a:gd name="T82" fmla="*/ 953 w 4091"/>
                <a:gd name="T83" fmla="*/ 1941 h 4140"/>
                <a:gd name="T84" fmla="*/ 1057 w 4091"/>
                <a:gd name="T85" fmla="*/ 1677 h 4140"/>
                <a:gd name="T86" fmla="*/ 1203 w 4091"/>
                <a:gd name="T87" fmla="*/ 1656 h 4140"/>
                <a:gd name="T88" fmla="*/ 1531 w 4091"/>
                <a:gd name="T89" fmla="*/ 1461 h 4140"/>
                <a:gd name="T90" fmla="*/ 1725 w 4091"/>
                <a:gd name="T91" fmla="*/ 1413 h 4140"/>
                <a:gd name="T92" fmla="*/ 1969 w 4091"/>
                <a:gd name="T93" fmla="*/ 1259 h 4140"/>
                <a:gd name="T94" fmla="*/ 2184 w 4091"/>
                <a:gd name="T95" fmla="*/ 1058 h 4140"/>
                <a:gd name="T96" fmla="*/ 1997 w 4091"/>
                <a:gd name="T97" fmla="*/ 793 h 4140"/>
                <a:gd name="T98" fmla="*/ 2066 w 4091"/>
                <a:gd name="T99" fmla="*/ 515 h 4140"/>
                <a:gd name="T100" fmla="*/ 2261 w 4091"/>
                <a:gd name="T101" fmla="*/ 327 h 4140"/>
                <a:gd name="T102" fmla="*/ 2553 w 4091"/>
                <a:gd name="T103" fmla="*/ 105 h 4140"/>
                <a:gd name="T104" fmla="*/ 2838 w 4091"/>
                <a:gd name="T105" fmla="*/ 112 h 4140"/>
                <a:gd name="T106" fmla="*/ 3220 w 4091"/>
                <a:gd name="T107" fmla="*/ 49 h 4140"/>
                <a:gd name="T108" fmla="*/ 3505 w 4091"/>
                <a:gd name="T109" fmla="*/ 300 h 4140"/>
                <a:gd name="T110" fmla="*/ 3214 w 4091"/>
                <a:gd name="T111" fmla="*/ 446 h 4140"/>
                <a:gd name="T112" fmla="*/ 3019 w 4091"/>
                <a:gd name="T113" fmla="*/ 668 h 4140"/>
                <a:gd name="T114" fmla="*/ 2824 w 4091"/>
                <a:gd name="T115" fmla="*/ 863 h 4140"/>
                <a:gd name="T116" fmla="*/ 3089 w 4091"/>
                <a:gd name="T117" fmla="*/ 1169 h 4140"/>
                <a:gd name="T118" fmla="*/ 2936 w 4091"/>
                <a:gd name="T119" fmla="*/ 1413 h 4140"/>
                <a:gd name="T120" fmla="*/ 3117 w 4091"/>
                <a:gd name="T121" fmla="*/ 1719 h 4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091" h="4140">
                  <a:moveTo>
                    <a:pt x="3179" y="1795"/>
                  </a:moveTo>
                  <a:lnTo>
                    <a:pt x="3186" y="1837"/>
                  </a:lnTo>
                  <a:lnTo>
                    <a:pt x="3179" y="1844"/>
                  </a:lnTo>
                  <a:lnTo>
                    <a:pt x="3200" y="1872"/>
                  </a:lnTo>
                  <a:lnTo>
                    <a:pt x="3207" y="1872"/>
                  </a:lnTo>
                  <a:lnTo>
                    <a:pt x="3214" y="1872"/>
                  </a:lnTo>
                  <a:lnTo>
                    <a:pt x="3214" y="1878"/>
                  </a:lnTo>
                  <a:lnTo>
                    <a:pt x="3234" y="1878"/>
                  </a:lnTo>
                  <a:lnTo>
                    <a:pt x="3262" y="1892"/>
                  </a:lnTo>
                  <a:lnTo>
                    <a:pt x="3262" y="1886"/>
                  </a:lnTo>
                  <a:lnTo>
                    <a:pt x="3269" y="1844"/>
                  </a:lnTo>
                  <a:lnTo>
                    <a:pt x="3296" y="1872"/>
                  </a:lnTo>
                  <a:lnTo>
                    <a:pt x="3310" y="1878"/>
                  </a:lnTo>
                  <a:lnTo>
                    <a:pt x="3317" y="1886"/>
                  </a:lnTo>
                  <a:lnTo>
                    <a:pt x="3338" y="1892"/>
                  </a:lnTo>
                  <a:lnTo>
                    <a:pt x="3345" y="1913"/>
                  </a:lnTo>
                  <a:lnTo>
                    <a:pt x="3345" y="1920"/>
                  </a:lnTo>
                  <a:lnTo>
                    <a:pt x="3366" y="1948"/>
                  </a:lnTo>
                  <a:lnTo>
                    <a:pt x="3401" y="1920"/>
                  </a:lnTo>
                  <a:lnTo>
                    <a:pt x="3415" y="1913"/>
                  </a:lnTo>
                  <a:lnTo>
                    <a:pt x="3450" y="1872"/>
                  </a:lnTo>
                  <a:lnTo>
                    <a:pt x="3477" y="1851"/>
                  </a:lnTo>
                  <a:lnTo>
                    <a:pt x="3498" y="1872"/>
                  </a:lnTo>
                  <a:lnTo>
                    <a:pt x="3561" y="1809"/>
                  </a:lnTo>
                  <a:lnTo>
                    <a:pt x="3589" y="1837"/>
                  </a:lnTo>
                  <a:lnTo>
                    <a:pt x="3596" y="1878"/>
                  </a:lnTo>
                  <a:lnTo>
                    <a:pt x="3623" y="1878"/>
                  </a:lnTo>
                  <a:lnTo>
                    <a:pt x="3630" y="1851"/>
                  </a:lnTo>
                  <a:lnTo>
                    <a:pt x="3658" y="1837"/>
                  </a:lnTo>
                  <a:lnTo>
                    <a:pt x="3693" y="1823"/>
                  </a:lnTo>
                  <a:lnTo>
                    <a:pt x="3721" y="1823"/>
                  </a:lnTo>
                  <a:lnTo>
                    <a:pt x="3721" y="1837"/>
                  </a:lnTo>
                  <a:lnTo>
                    <a:pt x="3700" y="1858"/>
                  </a:lnTo>
                  <a:lnTo>
                    <a:pt x="3728" y="1872"/>
                  </a:lnTo>
                  <a:lnTo>
                    <a:pt x="3756" y="1878"/>
                  </a:lnTo>
                  <a:lnTo>
                    <a:pt x="3769" y="1872"/>
                  </a:lnTo>
                  <a:lnTo>
                    <a:pt x="3790" y="1858"/>
                  </a:lnTo>
                  <a:lnTo>
                    <a:pt x="3804" y="1892"/>
                  </a:lnTo>
                  <a:lnTo>
                    <a:pt x="3825" y="1886"/>
                  </a:lnTo>
                  <a:lnTo>
                    <a:pt x="3853" y="1878"/>
                  </a:lnTo>
                  <a:lnTo>
                    <a:pt x="3853" y="1837"/>
                  </a:lnTo>
                  <a:lnTo>
                    <a:pt x="3867" y="1844"/>
                  </a:lnTo>
                  <a:lnTo>
                    <a:pt x="3888" y="1858"/>
                  </a:lnTo>
                  <a:lnTo>
                    <a:pt x="3874" y="1878"/>
                  </a:lnTo>
                  <a:lnTo>
                    <a:pt x="3895" y="1872"/>
                  </a:lnTo>
                  <a:lnTo>
                    <a:pt x="3888" y="1878"/>
                  </a:lnTo>
                  <a:lnTo>
                    <a:pt x="3916" y="1906"/>
                  </a:lnTo>
                  <a:lnTo>
                    <a:pt x="3888" y="1906"/>
                  </a:lnTo>
                  <a:lnTo>
                    <a:pt x="3888" y="1934"/>
                  </a:lnTo>
                  <a:lnTo>
                    <a:pt x="3902" y="1934"/>
                  </a:lnTo>
                  <a:lnTo>
                    <a:pt x="3902" y="1941"/>
                  </a:lnTo>
                  <a:lnTo>
                    <a:pt x="3874" y="1955"/>
                  </a:lnTo>
                  <a:lnTo>
                    <a:pt x="3895" y="1976"/>
                  </a:lnTo>
                  <a:lnTo>
                    <a:pt x="3929" y="2018"/>
                  </a:lnTo>
                  <a:lnTo>
                    <a:pt x="3929" y="2025"/>
                  </a:lnTo>
                  <a:lnTo>
                    <a:pt x="3936" y="2053"/>
                  </a:lnTo>
                  <a:lnTo>
                    <a:pt x="3936" y="2080"/>
                  </a:lnTo>
                  <a:lnTo>
                    <a:pt x="3936" y="2101"/>
                  </a:lnTo>
                  <a:lnTo>
                    <a:pt x="3964" y="2080"/>
                  </a:lnTo>
                  <a:lnTo>
                    <a:pt x="3992" y="2143"/>
                  </a:lnTo>
                  <a:lnTo>
                    <a:pt x="3985" y="2150"/>
                  </a:lnTo>
                  <a:lnTo>
                    <a:pt x="4006" y="2171"/>
                  </a:lnTo>
                  <a:lnTo>
                    <a:pt x="3992" y="2178"/>
                  </a:lnTo>
                  <a:lnTo>
                    <a:pt x="4027" y="2212"/>
                  </a:lnTo>
                  <a:lnTo>
                    <a:pt x="4027" y="2247"/>
                  </a:lnTo>
                  <a:lnTo>
                    <a:pt x="4062" y="2240"/>
                  </a:lnTo>
                  <a:lnTo>
                    <a:pt x="4062" y="2254"/>
                  </a:lnTo>
                  <a:lnTo>
                    <a:pt x="4090" y="2275"/>
                  </a:lnTo>
                  <a:lnTo>
                    <a:pt x="4083" y="2296"/>
                  </a:lnTo>
                  <a:lnTo>
                    <a:pt x="3902" y="2310"/>
                  </a:lnTo>
                  <a:lnTo>
                    <a:pt x="3916" y="2296"/>
                  </a:lnTo>
                  <a:lnTo>
                    <a:pt x="3874" y="2268"/>
                  </a:lnTo>
                  <a:lnTo>
                    <a:pt x="3874" y="2310"/>
                  </a:lnTo>
                  <a:lnTo>
                    <a:pt x="3777" y="2331"/>
                  </a:lnTo>
                  <a:lnTo>
                    <a:pt x="3790" y="2310"/>
                  </a:lnTo>
                  <a:lnTo>
                    <a:pt x="3825" y="2296"/>
                  </a:lnTo>
                  <a:lnTo>
                    <a:pt x="3777" y="2233"/>
                  </a:lnTo>
                  <a:lnTo>
                    <a:pt x="3804" y="2212"/>
                  </a:lnTo>
                  <a:lnTo>
                    <a:pt x="3777" y="2199"/>
                  </a:lnTo>
                  <a:lnTo>
                    <a:pt x="3763" y="2171"/>
                  </a:lnTo>
                  <a:lnTo>
                    <a:pt x="3763" y="2150"/>
                  </a:lnTo>
                  <a:lnTo>
                    <a:pt x="3742" y="2164"/>
                  </a:lnTo>
                  <a:lnTo>
                    <a:pt x="3735" y="2164"/>
                  </a:lnTo>
                  <a:lnTo>
                    <a:pt x="3721" y="2171"/>
                  </a:lnTo>
                  <a:lnTo>
                    <a:pt x="3721" y="2199"/>
                  </a:lnTo>
                  <a:lnTo>
                    <a:pt x="3769" y="2240"/>
                  </a:lnTo>
                  <a:lnTo>
                    <a:pt x="3769" y="2254"/>
                  </a:lnTo>
                  <a:lnTo>
                    <a:pt x="3777" y="2275"/>
                  </a:lnTo>
                  <a:lnTo>
                    <a:pt x="3742" y="2310"/>
                  </a:lnTo>
                  <a:lnTo>
                    <a:pt x="3763" y="2338"/>
                  </a:lnTo>
                  <a:lnTo>
                    <a:pt x="3721" y="2379"/>
                  </a:lnTo>
                  <a:lnTo>
                    <a:pt x="3568" y="2463"/>
                  </a:lnTo>
                  <a:lnTo>
                    <a:pt x="3491" y="2505"/>
                  </a:lnTo>
                  <a:lnTo>
                    <a:pt x="3526" y="2498"/>
                  </a:lnTo>
                  <a:lnTo>
                    <a:pt x="3477" y="2512"/>
                  </a:lnTo>
                  <a:lnTo>
                    <a:pt x="3234" y="2623"/>
                  </a:lnTo>
                  <a:lnTo>
                    <a:pt x="3234" y="2630"/>
                  </a:lnTo>
                  <a:lnTo>
                    <a:pt x="3130" y="2678"/>
                  </a:lnTo>
                  <a:lnTo>
                    <a:pt x="3005" y="2713"/>
                  </a:lnTo>
                  <a:lnTo>
                    <a:pt x="2984" y="2741"/>
                  </a:lnTo>
                  <a:lnTo>
                    <a:pt x="2971" y="2713"/>
                  </a:lnTo>
                  <a:lnTo>
                    <a:pt x="2977" y="2693"/>
                  </a:lnTo>
                  <a:lnTo>
                    <a:pt x="3012" y="2644"/>
                  </a:lnTo>
                  <a:lnTo>
                    <a:pt x="3054" y="2637"/>
                  </a:lnTo>
                  <a:lnTo>
                    <a:pt x="3068" y="2623"/>
                  </a:lnTo>
                  <a:lnTo>
                    <a:pt x="3054" y="2602"/>
                  </a:lnTo>
                  <a:lnTo>
                    <a:pt x="3068" y="2602"/>
                  </a:lnTo>
                  <a:lnTo>
                    <a:pt x="3075" y="2581"/>
                  </a:lnTo>
                  <a:lnTo>
                    <a:pt x="3103" y="2595"/>
                  </a:lnTo>
                  <a:lnTo>
                    <a:pt x="3117" y="2595"/>
                  </a:lnTo>
                  <a:lnTo>
                    <a:pt x="3110" y="2602"/>
                  </a:lnTo>
                  <a:lnTo>
                    <a:pt x="3138" y="2595"/>
                  </a:lnTo>
                  <a:lnTo>
                    <a:pt x="3138" y="2581"/>
                  </a:lnTo>
                  <a:lnTo>
                    <a:pt x="3144" y="2574"/>
                  </a:lnTo>
                  <a:lnTo>
                    <a:pt x="3138" y="2560"/>
                  </a:lnTo>
                  <a:lnTo>
                    <a:pt x="3151" y="2560"/>
                  </a:lnTo>
                  <a:lnTo>
                    <a:pt x="3234" y="2505"/>
                  </a:lnTo>
                  <a:lnTo>
                    <a:pt x="3248" y="2484"/>
                  </a:lnTo>
                  <a:lnTo>
                    <a:pt x="3214" y="2470"/>
                  </a:lnTo>
                  <a:lnTo>
                    <a:pt x="3179" y="2428"/>
                  </a:lnTo>
                  <a:lnTo>
                    <a:pt x="3103" y="2435"/>
                  </a:lnTo>
                  <a:lnTo>
                    <a:pt x="3047" y="2449"/>
                  </a:lnTo>
                  <a:lnTo>
                    <a:pt x="3068" y="2470"/>
                  </a:lnTo>
                  <a:lnTo>
                    <a:pt x="3075" y="2477"/>
                  </a:lnTo>
                  <a:lnTo>
                    <a:pt x="3054" y="2477"/>
                  </a:lnTo>
                  <a:lnTo>
                    <a:pt x="3033" y="2505"/>
                  </a:lnTo>
                  <a:lnTo>
                    <a:pt x="3012" y="2526"/>
                  </a:lnTo>
                  <a:lnTo>
                    <a:pt x="2991" y="2532"/>
                  </a:lnTo>
                  <a:lnTo>
                    <a:pt x="3005" y="2539"/>
                  </a:lnTo>
                  <a:lnTo>
                    <a:pt x="3033" y="2567"/>
                  </a:lnTo>
                  <a:lnTo>
                    <a:pt x="3005" y="2567"/>
                  </a:lnTo>
                  <a:lnTo>
                    <a:pt x="2991" y="2595"/>
                  </a:lnTo>
                  <a:lnTo>
                    <a:pt x="2977" y="2595"/>
                  </a:lnTo>
                  <a:lnTo>
                    <a:pt x="3012" y="2630"/>
                  </a:lnTo>
                  <a:lnTo>
                    <a:pt x="3040" y="2609"/>
                  </a:lnTo>
                  <a:lnTo>
                    <a:pt x="3040" y="2630"/>
                  </a:lnTo>
                  <a:lnTo>
                    <a:pt x="3047" y="2623"/>
                  </a:lnTo>
                  <a:lnTo>
                    <a:pt x="3054" y="2602"/>
                  </a:lnTo>
                  <a:lnTo>
                    <a:pt x="3054" y="2623"/>
                  </a:lnTo>
                  <a:lnTo>
                    <a:pt x="3040" y="2637"/>
                  </a:lnTo>
                  <a:lnTo>
                    <a:pt x="3019" y="2637"/>
                  </a:lnTo>
                  <a:lnTo>
                    <a:pt x="2991" y="2644"/>
                  </a:lnTo>
                  <a:lnTo>
                    <a:pt x="2984" y="2609"/>
                  </a:lnTo>
                  <a:lnTo>
                    <a:pt x="2950" y="2623"/>
                  </a:lnTo>
                  <a:lnTo>
                    <a:pt x="2936" y="2623"/>
                  </a:lnTo>
                  <a:lnTo>
                    <a:pt x="2922" y="2609"/>
                  </a:lnTo>
                  <a:lnTo>
                    <a:pt x="2894" y="2602"/>
                  </a:lnTo>
                  <a:lnTo>
                    <a:pt x="2908" y="2595"/>
                  </a:lnTo>
                  <a:lnTo>
                    <a:pt x="2922" y="2602"/>
                  </a:lnTo>
                  <a:lnTo>
                    <a:pt x="2880" y="2567"/>
                  </a:lnTo>
                  <a:lnTo>
                    <a:pt x="2873" y="2574"/>
                  </a:lnTo>
                  <a:lnTo>
                    <a:pt x="2873" y="2560"/>
                  </a:lnTo>
                  <a:lnTo>
                    <a:pt x="2838" y="2609"/>
                  </a:lnTo>
                  <a:lnTo>
                    <a:pt x="2790" y="2630"/>
                  </a:lnTo>
                  <a:lnTo>
                    <a:pt x="2762" y="2644"/>
                  </a:lnTo>
                  <a:lnTo>
                    <a:pt x="2748" y="2637"/>
                  </a:lnTo>
                  <a:lnTo>
                    <a:pt x="2741" y="2644"/>
                  </a:lnTo>
                  <a:lnTo>
                    <a:pt x="2741" y="2665"/>
                  </a:lnTo>
                  <a:lnTo>
                    <a:pt x="2804" y="2699"/>
                  </a:lnTo>
                  <a:lnTo>
                    <a:pt x="2817" y="2699"/>
                  </a:lnTo>
                  <a:lnTo>
                    <a:pt x="2838" y="2713"/>
                  </a:lnTo>
                  <a:lnTo>
                    <a:pt x="2859" y="2713"/>
                  </a:lnTo>
                  <a:lnTo>
                    <a:pt x="2873" y="2713"/>
                  </a:lnTo>
                  <a:lnTo>
                    <a:pt x="2852" y="2734"/>
                  </a:lnTo>
                  <a:lnTo>
                    <a:pt x="2873" y="2734"/>
                  </a:lnTo>
                  <a:lnTo>
                    <a:pt x="2873" y="2755"/>
                  </a:lnTo>
                  <a:lnTo>
                    <a:pt x="2859" y="2741"/>
                  </a:lnTo>
                  <a:lnTo>
                    <a:pt x="2838" y="2734"/>
                  </a:lnTo>
                  <a:lnTo>
                    <a:pt x="2824" y="2734"/>
                  </a:lnTo>
                  <a:lnTo>
                    <a:pt x="2824" y="2741"/>
                  </a:lnTo>
                  <a:lnTo>
                    <a:pt x="2783" y="2734"/>
                  </a:lnTo>
                  <a:lnTo>
                    <a:pt x="2790" y="2727"/>
                  </a:lnTo>
                  <a:lnTo>
                    <a:pt x="2783" y="2734"/>
                  </a:lnTo>
                  <a:lnTo>
                    <a:pt x="2790" y="2727"/>
                  </a:lnTo>
                  <a:lnTo>
                    <a:pt x="2776" y="2734"/>
                  </a:lnTo>
                  <a:lnTo>
                    <a:pt x="2783" y="2713"/>
                  </a:lnTo>
                  <a:lnTo>
                    <a:pt x="2776" y="2727"/>
                  </a:lnTo>
                  <a:lnTo>
                    <a:pt x="2776" y="2706"/>
                  </a:lnTo>
                  <a:lnTo>
                    <a:pt x="2790" y="2713"/>
                  </a:lnTo>
                  <a:lnTo>
                    <a:pt x="2727" y="2665"/>
                  </a:lnTo>
                  <a:lnTo>
                    <a:pt x="2720" y="2665"/>
                  </a:lnTo>
                  <a:lnTo>
                    <a:pt x="2727" y="2672"/>
                  </a:lnTo>
                  <a:lnTo>
                    <a:pt x="2727" y="2699"/>
                  </a:lnTo>
                  <a:lnTo>
                    <a:pt x="2692" y="2699"/>
                  </a:lnTo>
                  <a:lnTo>
                    <a:pt x="2706" y="2769"/>
                  </a:lnTo>
                  <a:lnTo>
                    <a:pt x="2685" y="2811"/>
                  </a:lnTo>
                  <a:lnTo>
                    <a:pt x="2713" y="2811"/>
                  </a:lnTo>
                  <a:lnTo>
                    <a:pt x="2713" y="2894"/>
                  </a:lnTo>
                  <a:lnTo>
                    <a:pt x="2692" y="2929"/>
                  </a:lnTo>
                  <a:lnTo>
                    <a:pt x="2644" y="3006"/>
                  </a:lnTo>
                  <a:lnTo>
                    <a:pt x="2630" y="3026"/>
                  </a:lnTo>
                  <a:lnTo>
                    <a:pt x="2623" y="3033"/>
                  </a:lnTo>
                  <a:lnTo>
                    <a:pt x="2616" y="3040"/>
                  </a:lnTo>
                  <a:lnTo>
                    <a:pt x="2630" y="3061"/>
                  </a:lnTo>
                  <a:lnTo>
                    <a:pt x="2650" y="3061"/>
                  </a:lnTo>
                  <a:lnTo>
                    <a:pt x="2623" y="3103"/>
                  </a:lnTo>
                  <a:lnTo>
                    <a:pt x="2630" y="3096"/>
                  </a:lnTo>
                  <a:lnTo>
                    <a:pt x="2630" y="3124"/>
                  </a:lnTo>
                  <a:lnTo>
                    <a:pt x="2650" y="3124"/>
                  </a:lnTo>
                  <a:lnTo>
                    <a:pt x="2657" y="3158"/>
                  </a:lnTo>
                  <a:lnTo>
                    <a:pt x="2623" y="3158"/>
                  </a:lnTo>
                  <a:lnTo>
                    <a:pt x="2623" y="3186"/>
                  </a:lnTo>
                  <a:lnTo>
                    <a:pt x="2650" y="3193"/>
                  </a:lnTo>
                  <a:lnTo>
                    <a:pt x="2644" y="3221"/>
                  </a:lnTo>
                  <a:lnTo>
                    <a:pt x="2657" y="3228"/>
                  </a:lnTo>
                  <a:lnTo>
                    <a:pt x="2657" y="3263"/>
                  </a:lnTo>
                  <a:lnTo>
                    <a:pt x="2713" y="3270"/>
                  </a:lnTo>
                  <a:lnTo>
                    <a:pt x="2720" y="3263"/>
                  </a:lnTo>
                  <a:lnTo>
                    <a:pt x="2706" y="3221"/>
                  </a:lnTo>
                  <a:lnTo>
                    <a:pt x="2720" y="3228"/>
                  </a:lnTo>
                  <a:lnTo>
                    <a:pt x="2727" y="3186"/>
                  </a:lnTo>
                  <a:lnTo>
                    <a:pt x="2748" y="3193"/>
                  </a:lnTo>
                  <a:lnTo>
                    <a:pt x="2741" y="3235"/>
                  </a:lnTo>
                  <a:lnTo>
                    <a:pt x="2748" y="3172"/>
                  </a:lnTo>
                  <a:lnTo>
                    <a:pt x="2790" y="3186"/>
                  </a:lnTo>
                  <a:lnTo>
                    <a:pt x="2762" y="3186"/>
                  </a:lnTo>
                  <a:lnTo>
                    <a:pt x="2783" y="3284"/>
                  </a:lnTo>
                  <a:lnTo>
                    <a:pt x="2824" y="3318"/>
                  </a:lnTo>
                  <a:lnTo>
                    <a:pt x="2811" y="3423"/>
                  </a:lnTo>
                  <a:lnTo>
                    <a:pt x="2817" y="3485"/>
                  </a:lnTo>
                  <a:lnTo>
                    <a:pt x="2873" y="3541"/>
                  </a:lnTo>
                  <a:lnTo>
                    <a:pt x="2950" y="3590"/>
                  </a:lnTo>
                  <a:lnTo>
                    <a:pt x="2971" y="3611"/>
                  </a:lnTo>
                  <a:lnTo>
                    <a:pt x="2957" y="3611"/>
                  </a:lnTo>
                  <a:lnTo>
                    <a:pt x="2991" y="3645"/>
                  </a:lnTo>
                  <a:lnTo>
                    <a:pt x="2991" y="3631"/>
                  </a:lnTo>
                  <a:lnTo>
                    <a:pt x="2984" y="3611"/>
                  </a:lnTo>
                  <a:lnTo>
                    <a:pt x="3068" y="3722"/>
                  </a:lnTo>
                  <a:lnTo>
                    <a:pt x="3075" y="3708"/>
                  </a:lnTo>
                  <a:lnTo>
                    <a:pt x="3054" y="3694"/>
                  </a:lnTo>
                  <a:lnTo>
                    <a:pt x="3130" y="3708"/>
                  </a:lnTo>
                  <a:lnTo>
                    <a:pt x="3138" y="3722"/>
                  </a:lnTo>
                  <a:lnTo>
                    <a:pt x="3165" y="3750"/>
                  </a:lnTo>
                  <a:lnTo>
                    <a:pt x="3165" y="3778"/>
                  </a:lnTo>
                  <a:lnTo>
                    <a:pt x="3138" y="3792"/>
                  </a:lnTo>
                  <a:lnTo>
                    <a:pt x="3138" y="3812"/>
                  </a:lnTo>
                  <a:lnTo>
                    <a:pt x="3144" y="3812"/>
                  </a:lnTo>
                  <a:lnTo>
                    <a:pt x="3103" y="3875"/>
                  </a:lnTo>
                  <a:lnTo>
                    <a:pt x="3103" y="3854"/>
                  </a:lnTo>
                  <a:lnTo>
                    <a:pt x="3089" y="3826"/>
                  </a:lnTo>
                  <a:lnTo>
                    <a:pt x="3089" y="3882"/>
                  </a:lnTo>
                  <a:lnTo>
                    <a:pt x="3089" y="3861"/>
                  </a:lnTo>
                  <a:lnTo>
                    <a:pt x="3103" y="3903"/>
                  </a:lnTo>
                  <a:lnTo>
                    <a:pt x="3089" y="3903"/>
                  </a:lnTo>
                  <a:lnTo>
                    <a:pt x="3103" y="3917"/>
                  </a:lnTo>
                  <a:lnTo>
                    <a:pt x="3054" y="3993"/>
                  </a:lnTo>
                  <a:lnTo>
                    <a:pt x="3054" y="4007"/>
                  </a:lnTo>
                  <a:lnTo>
                    <a:pt x="3068" y="4007"/>
                  </a:lnTo>
                  <a:lnTo>
                    <a:pt x="3012" y="4070"/>
                  </a:lnTo>
                  <a:lnTo>
                    <a:pt x="2991" y="4035"/>
                  </a:lnTo>
                  <a:lnTo>
                    <a:pt x="2977" y="4014"/>
                  </a:lnTo>
                  <a:lnTo>
                    <a:pt x="3005" y="3952"/>
                  </a:lnTo>
                  <a:lnTo>
                    <a:pt x="2991" y="3910"/>
                  </a:lnTo>
                  <a:lnTo>
                    <a:pt x="2957" y="3910"/>
                  </a:lnTo>
                  <a:lnTo>
                    <a:pt x="2950" y="3917"/>
                  </a:lnTo>
                  <a:lnTo>
                    <a:pt x="2915" y="3979"/>
                  </a:lnTo>
                  <a:lnTo>
                    <a:pt x="2936" y="3993"/>
                  </a:lnTo>
                  <a:lnTo>
                    <a:pt x="2936" y="3986"/>
                  </a:lnTo>
                  <a:lnTo>
                    <a:pt x="2971" y="4035"/>
                  </a:lnTo>
                  <a:lnTo>
                    <a:pt x="2922" y="4042"/>
                  </a:lnTo>
                  <a:lnTo>
                    <a:pt x="2936" y="4070"/>
                  </a:lnTo>
                  <a:lnTo>
                    <a:pt x="2957" y="4070"/>
                  </a:lnTo>
                  <a:lnTo>
                    <a:pt x="2977" y="4084"/>
                  </a:lnTo>
                  <a:lnTo>
                    <a:pt x="2957" y="4112"/>
                  </a:lnTo>
                  <a:lnTo>
                    <a:pt x="2950" y="4119"/>
                  </a:lnTo>
                  <a:lnTo>
                    <a:pt x="2922" y="4139"/>
                  </a:lnTo>
                  <a:lnTo>
                    <a:pt x="2845" y="4070"/>
                  </a:lnTo>
                  <a:lnTo>
                    <a:pt x="2838" y="4007"/>
                  </a:lnTo>
                  <a:lnTo>
                    <a:pt x="2762" y="3993"/>
                  </a:lnTo>
                  <a:lnTo>
                    <a:pt x="2741" y="3958"/>
                  </a:lnTo>
                  <a:lnTo>
                    <a:pt x="2748" y="3917"/>
                  </a:lnTo>
                  <a:lnTo>
                    <a:pt x="2741" y="3882"/>
                  </a:lnTo>
                  <a:lnTo>
                    <a:pt x="2755" y="3840"/>
                  </a:lnTo>
                  <a:lnTo>
                    <a:pt x="2727" y="3806"/>
                  </a:lnTo>
                  <a:lnTo>
                    <a:pt x="2706" y="3819"/>
                  </a:lnTo>
                  <a:lnTo>
                    <a:pt x="2706" y="3806"/>
                  </a:lnTo>
                  <a:lnTo>
                    <a:pt x="2692" y="3812"/>
                  </a:lnTo>
                  <a:lnTo>
                    <a:pt x="2678" y="3819"/>
                  </a:lnTo>
                  <a:lnTo>
                    <a:pt x="2650" y="3847"/>
                  </a:lnTo>
                  <a:lnTo>
                    <a:pt x="2588" y="3847"/>
                  </a:lnTo>
                  <a:lnTo>
                    <a:pt x="2553" y="3812"/>
                  </a:lnTo>
                  <a:lnTo>
                    <a:pt x="2532" y="3826"/>
                  </a:lnTo>
                  <a:lnTo>
                    <a:pt x="2511" y="3840"/>
                  </a:lnTo>
                  <a:lnTo>
                    <a:pt x="2463" y="3806"/>
                  </a:lnTo>
                  <a:lnTo>
                    <a:pt x="2463" y="3778"/>
                  </a:lnTo>
                  <a:lnTo>
                    <a:pt x="2435" y="3771"/>
                  </a:lnTo>
                  <a:lnTo>
                    <a:pt x="2435" y="3743"/>
                  </a:lnTo>
                  <a:lnTo>
                    <a:pt x="2414" y="3750"/>
                  </a:lnTo>
                  <a:lnTo>
                    <a:pt x="2400" y="3743"/>
                  </a:lnTo>
                  <a:lnTo>
                    <a:pt x="2379" y="3750"/>
                  </a:lnTo>
                  <a:lnTo>
                    <a:pt x="2358" y="3729"/>
                  </a:lnTo>
                  <a:lnTo>
                    <a:pt x="2296" y="3729"/>
                  </a:lnTo>
                  <a:lnTo>
                    <a:pt x="2254" y="3715"/>
                  </a:lnTo>
                  <a:lnTo>
                    <a:pt x="2219" y="3708"/>
                  </a:lnTo>
                  <a:lnTo>
                    <a:pt x="2156" y="3729"/>
                  </a:lnTo>
                  <a:lnTo>
                    <a:pt x="2024" y="3743"/>
                  </a:lnTo>
                  <a:lnTo>
                    <a:pt x="2004" y="3743"/>
                  </a:lnTo>
                  <a:lnTo>
                    <a:pt x="1941" y="3729"/>
                  </a:lnTo>
                  <a:lnTo>
                    <a:pt x="1899" y="3771"/>
                  </a:lnTo>
                  <a:lnTo>
                    <a:pt x="1857" y="3778"/>
                  </a:lnTo>
                  <a:lnTo>
                    <a:pt x="1843" y="3792"/>
                  </a:lnTo>
                  <a:lnTo>
                    <a:pt x="1843" y="3826"/>
                  </a:lnTo>
                  <a:lnTo>
                    <a:pt x="1823" y="3840"/>
                  </a:lnTo>
                  <a:lnTo>
                    <a:pt x="1704" y="3882"/>
                  </a:lnTo>
                  <a:lnTo>
                    <a:pt x="1663" y="3917"/>
                  </a:lnTo>
                  <a:lnTo>
                    <a:pt x="1600" y="3917"/>
                  </a:lnTo>
                  <a:lnTo>
                    <a:pt x="1593" y="3875"/>
                  </a:lnTo>
                  <a:lnTo>
                    <a:pt x="1531" y="3840"/>
                  </a:lnTo>
                  <a:lnTo>
                    <a:pt x="1496" y="3819"/>
                  </a:lnTo>
                  <a:lnTo>
                    <a:pt x="1398" y="3819"/>
                  </a:lnTo>
                  <a:lnTo>
                    <a:pt x="1384" y="3819"/>
                  </a:lnTo>
                  <a:lnTo>
                    <a:pt x="1329" y="3840"/>
                  </a:lnTo>
                  <a:lnTo>
                    <a:pt x="1329" y="3792"/>
                  </a:lnTo>
                  <a:lnTo>
                    <a:pt x="1336" y="3778"/>
                  </a:lnTo>
                  <a:lnTo>
                    <a:pt x="1308" y="3750"/>
                  </a:lnTo>
                  <a:lnTo>
                    <a:pt x="1266" y="3743"/>
                  </a:lnTo>
                  <a:lnTo>
                    <a:pt x="1169" y="3687"/>
                  </a:lnTo>
                  <a:lnTo>
                    <a:pt x="1120" y="3652"/>
                  </a:lnTo>
                  <a:lnTo>
                    <a:pt x="1092" y="3652"/>
                  </a:lnTo>
                  <a:lnTo>
                    <a:pt x="1057" y="3618"/>
                  </a:lnTo>
                  <a:lnTo>
                    <a:pt x="1071" y="3590"/>
                  </a:lnTo>
                  <a:lnTo>
                    <a:pt x="1071" y="3562"/>
                  </a:lnTo>
                  <a:lnTo>
                    <a:pt x="1037" y="3583"/>
                  </a:lnTo>
                  <a:lnTo>
                    <a:pt x="1009" y="3583"/>
                  </a:lnTo>
                  <a:lnTo>
                    <a:pt x="1002" y="3576"/>
                  </a:lnTo>
                  <a:lnTo>
                    <a:pt x="960" y="3555"/>
                  </a:lnTo>
                  <a:lnTo>
                    <a:pt x="918" y="3555"/>
                  </a:lnTo>
                  <a:lnTo>
                    <a:pt x="911" y="3548"/>
                  </a:lnTo>
                  <a:lnTo>
                    <a:pt x="925" y="3499"/>
                  </a:lnTo>
                  <a:lnTo>
                    <a:pt x="918" y="3479"/>
                  </a:lnTo>
                  <a:lnTo>
                    <a:pt x="960" y="3444"/>
                  </a:lnTo>
                  <a:lnTo>
                    <a:pt x="953" y="3444"/>
                  </a:lnTo>
                  <a:lnTo>
                    <a:pt x="863" y="3402"/>
                  </a:lnTo>
                  <a:lnTo>
                    <a:pt x="856" y="3416"/>
                  </a:lnTo>
                  <a:lnTo>
                    <a:pt x="842" y="3458"/>
                  </a:lnTo>
                  <a:lnTo>
                    <a:pt x="793" y="3430"/>
                  </a:lnTo>
                  <a:lnTo>
                    <a:pt x="786" y="3479"/>
                  </a:lnTo>
                  <a:lnTo>
                    <a:pt x="751" y="3465"/>
                  </a:lnTo>
                  <a:lnTo>
                    <a:pt x="710" y="3444"/>
                  </a:lnTo>
                  <a:lnTo>
                    <a:pt x="682" y="3416"/>
                  </a:lnTo>
                  <a:lnTo>
                    <a:pt x="696" y="3388"/>
                  </a:lnTo>
                  <a:lnTo>
                    <a:pt x="710" y="3353"/>
                  </a:lnTo>
                  <a:lnTo>
                    <a:pt x="689" y="3353"/>
                  </a:lnTo>
                  <a:lnTo>
                    <a:pt x="682" y="3346"/>
                  </a:lnTo>
                  <a:lnTo>
                    <a:pt x="647" y="3353"/>
                  </a:lnTo>
                  <a:lnTo>
                    <a:pt x="619" y="3346"/>
                  </a:lnTo>
                  <a:lnTo>
                    <a:pt x="626" y="3270"/>
                  </a:lnTo>
                  <a:lnTo>
                    <a:pt x="591" y="3249"/>
                  </a:lnTo>
                  <a:lnTo>
                    <a:pt x="543" y="3228"/>
                  </a:lnTo>
                  <a:lnTo>
                    <a:pt x="522" y="3214"/>
                  </a:lnTo>
                  <a:lnTo>
                    <a:pt x="522" y="3172"/>
                  </a:lnTo>
                  <a:lnTo>
                    <a:pt x="466" y="3166"/>
                  </a:lnTo>
                  <a:lnTo>
                    <a:pt x="459" y="3138"/>
                  </a:lnTo>
                  <a:lnTo>
                    <a:pt x="445" y="3138"/>
                  </a:lnTo>
                  <a:lnTo>
                    <a:pt x="424" y="3138"/>
                  </a:lnTo>
                  <a:lnTo>
                    <a:pt x="369" y="3124"/>
                  </a:lnTo>
                  <a:lnTo>
                    <a:pt x="362" y="3089"/>
                  </a:lnTo>
                  <a:lnTo>
                    <a:pt x="355" y="3082"/>
                  </a:lnTo>
                  <a:lnTo>
                    <a:pt x="264" y="2991"/>
                  </a:lnTo>
                  <a:lnTo>
                    <a:pt x="216" y="3040"/>
                  </a:lnTo>
                  <a:lnTo>
                    <a:pt x="195" y="3054"/>
                  </a:lnTo>
                  <a:lnTo>
                    <a:pt x="174" y="3040"/>
                  </a:lnTo>
                  <a:lnTo>
                    <a:pt x="188" y="2991"/>
                  </a:lnTo>
                  <a:lnTo>
                    <a:pt x="139" y="2991"/>
                  </a:lnTo>
                  <a:lnTo>
                    <a:pt x="153" y="2943"/>
                  </a:lnTo>
                  <a:lnTo>
                    <a:pt x="104" y="2936"/>
                  </a:lnTo>
                  <a:lnTo>
                    <a:pt x="104" y="2908"/>
                  </a:lnTo>
                  <a:lnTo>
                    <a:pt x="153" y="2873"/>
                  </a:lnTo>
                  <a:lnTo>
                    <a:pt x="132" y="2852"/>
                  </a:lnTo>
                  <a:lnTo>
                    <a:pt x="167" y="2804"/>
                  </a:lnTo>
                  <a:lnTo>
                    <a:pt x="160" y="2804"/>
                  </a:lnTo>
                  <a:lnTo>
                    <a:pt x="153" y="2769"/>
                  </a:lnTo>
                  <a:lnTo>
                    <a:pt x="77" y="2755"/>
                  </a:lnTo>
                  <a:lnTo>
                    <a:pt x="63" y="2769"/>
                  </a:lnTo>
                  <a:lnTo>
                    <a:pt x="42" y="2769"/>
                  </a:lnTo>
                  <a:lnTo>
                    <a:pt x="56" y="2713"/>
                  </a:lnTo>
                  <a:lnTo>
                    <a:pt x="7" y="2727"/>
                  </a:lnTo>
                  <a:lnTo>
                    <a:pt x="0" y="2706"/>
                  </a:lnTo>
                  <a:lnTo>
                    <a:pt x="35" y="2706"/>
                  </a:lnTo>
                  <a:lnTo>
                    <a:pt x="35" y="2630"/>
                  </a:lnTo>
                  <a:lnTo>
                    <a:pt x="28" y="2560"/>
                  </a:lnTo>
                  <a:lnTo>
                    <a:pt x="28" y="2526"/>
                  </a:lnTo>
                  <a:lnTo>
                    <a:pt x="21" y="2449"/>
                  </a:lnTo>
                  <a:lnTo>
                    <a:pt x="21" y="2414"/>
                  </a:lnTo>
                  <a:lnTo>
                    <a:pt x="7" y="2351"/>
                  </a:lnTo>
                  <a:lnTo>
                    <a:pt x="118" y="2233"/>
                  </a:lnTo>
                  <a:lnTo>
                    <a:pt x="188" y="2136"/>
                  </a:lnTo>
                  <a:lnTo>
                    <a:pt x="236" y="2053"/>
                  </a:lnTo>
                  <a:lnTo>
                    <a:pt x="313" y="1948"/>
                  </a:lnTo>
                  <a:lnTo>
                    <a:pt x="369" y="1858"/>
                  </a:lnTo>
                  <a:lnTo>
                    <a:pt x="445" y="1906"/>
                  </a:lnTo>
                  <a:lnTo>
                    <a:pt x="431" y="1913"/>
                  </a:lnTo>
                  <a:lnTo>
                    <a:pt x="424" y="1941"/>
                  </a:lnTo>
                  <a:lnTo>
                    <a:pt x="445" y="1976"/>
                  </a:lnTo>
                  <a:lnTo>
                    <a:pt x="403" y="2025"/>
                  </a:lnTo>
                  <a:lnTo>
                    <a:pt x="369" y="2108"/>
                  </a:lnTo>
                  <a:lnTo>
                    <a:pt x="424" y="2108"/>
                  </a:lnTo>
                  <a:lnTo>
                    <a:pt x="501" y="2143"/>
                  </a:lnTo>
                  <a:lnTo>
                    <a:pt x="487" y="2171"/>
                  </a:lnTo>
                  <a:lnTo>
                    <a:pt x="529" y="2205"/>
                  </a:lnTo>
                  <a:lnTo>
                    <a:pt x="557" y="2178"/>
                  </a:lnTo>
                  <a:lnTo>
                    <a:pt x="563" y="2178"/>
                  </a:lnTo>
                  <a:lnTo>
                    <a:pt x="584" y="2150"/>
                  </a:lnTo>
                  <a:lnTo>
                    <a:pt x="578" y="2185"/>
                  </a:lnTo>
                  <a:lnTo>
                    <a:pt x="626" y="2143"/>
                  </a:lnTo>
                  <a:lnTo>
                    <a:pt x="626" y="2136"/>
                  </a:lnTo>
                  <a:lnTo>
                    <a:pt x="654" y="2108"/>
                  </a:lnTo>
                  <a:lnTo>
                    <a:pt x="654" y="2136"/>
                  </a:lnTo>
                  <a:lnTo>
                    <a:pt x="696" y="2136"/>
                  </a:lnTo>
                  <a:lnTo>
                    <a:pt x="724" y="2108"/>
                  </a:lnTo>
                  <a:lnTo>
                    <a:pt x="786" y="2164"/>
                  </a:lnTo>
                  <a:lnTo>
                    <a:pt x="807" y="2164"/>
                  </a:lnTo>
                  <a:lnTo>
                    <a:pt x="828" y="2164"/>
                  </a:lnTo>
                  <a:lnTo>
                    <a:pt x="856" y="2150"/>
                  </a:lnTo>
                  <a:lnTo>
                    <a:pt x="863" y="2115"/>
                  </a:lnTo>
                  <a:lnTo>
                    <a:pt x="911" y="2080"/>
                  </a:lnTo>
                  <a:lnTo>
                    <a:pt x="918" y="1983"/>
                  </a:lnTo>
                  <a:lnTo>
                    <a:pt x="918" y="1955"/>
                  </a:lnTo>
                  <a:lnTo>
                    <a:pt x="960" y="1969"/>
                  </a:lnTo>
                  <a:lnTo>
                    <a:pt x="953" y="1941"/>
                  </a:lnTo>
                  <a:lnTo>
                    <a:pt x="946" y="1892"/>
                  </a:lnTo>
                  <a:lnTo>
                    <a:pt x="953" y="1878"/>
                  </a:lnTo>
                  <a:lnTo>
                    <a:pt x="988" y="1858"/>
                  </a:lnTo>
                  <a:lnTo>
                    <a:pt x="988" y="1823"/>
                  </a:lnTo>
                  <a:lnTo>
                    <a:pt x="1023" y="1788"/>
                  </a:lnTo>
                  <a:lnTo>
                    <a:pt x="1023" y="1760"/>
                  </a:lnTo>
                  <a:lnTo>
                    <a:pt x="1016" y="1753"/>
                  </a:lnTo>
                  <a:lnTo>
                    <a:pt x="1043" y="1739"/>
                  </a:lnTo>
                  <a:lnTo>
                    <a:pt x="1043" y="1711"/>
                  </a:lnTo>
                  <a:lnTo>
                    <a:pt x="1057" y="1677"/>
                  </a:lnTo>
                  <a:lnTo>
                    <a:pt x="1051" y="1663"/>
                  </a:lnTo>
                  <a:lnTo>
                    <a:pt x="1071" y="1677"/>
                  </a:lnTo>
                  <a:lnTo>
                    <a:pt x="1120" y="1663"/>
                  </a:lnTo>
                  <a:lnTo>
                    <a:pt x="1120" y="1628"/>
                  </a:lnTo>
                  <a:lnTo>
                    <a:pt x="1134" y="1649"/>
                  </a:lnTo>
                  <a:lnTo>
                    <a:pt x="1141" y="1642"/>
                  </a:lnTo>
                  <a:lnTo>
                    <a:pt x="1169" y="1677"/>
                  </a:lnTo>
                  <a:lnTo>
                    <a:pt x="1190" y="1684"/>
                  </a:lnTo>
                  <a:lnTo>
                    <a:pt x="1203" y="1684"/>
                  </a:lnTo>
                  <a:lnTo>
                    <a:pt x="1203" y="1656"/>
                  </a:lnTo>
                  <a:lnTo>
                    <a:pt x="1218" y="1649"/>
                  </a:lnTo>
                  <a:lnTo>
                    <a:pt x="1218" y="1614"/>
                  </a:lnTo>
                  <a:lnTo>
                    <a:pt x="1266" y="1607"/>
                  </a:lnTo>
                  <a:lnTo>
                    <a:pt x="1266" y="1593"/>
                  </a:lnTo>
                  <a:lnTo>
                    <a:pt x="1245" y="1524"/>
                  </a:lnTo>
                  <a:lnTo>
                    <a:pt x="1370" y="1531"/>
                  </a:lnTo>
                  <a:lnTo>
                    <a:pt x="1412" y="1489"/>
                  </a:lnTo>
                  <a:lnTo>
                    <a:pt x="1440" y="1475"/>
                  </a:lnTo>
                  <a:lnTo>
                    <a:pt x="1468" y="1461"/>
                  </a:lnTo>
                  <a:lnTo>
                    <a:pt x="1531" y="1461"/>
                  </a:lnTo>
                  <a:lnTo>
                    <a:pt x="1579" y="1475"/>
                  </a:lnTo>
                  <a:lnTo>
                    <a:pt x="1593" y="1559"/>
                  </a:lnTo>
                  <a:lnTo>
                    <a:pt x="1663" y="1559"/>
                  </a:lnTo>
                  <a:lnTo>
                    <a:pt x="1663" y="1579"/>
                  </a:lnTo>
                  <a:lnTo>
                    <a:pt x="1760" y="1559"/>
                  </a:lnTo>
                  <a:lnTo>
                    <a:pt x="1746" y="1524"/>
                  </a:lnTo>
                  <a:lnTo>
                    <a:pt x="1760" y="1517"/>
                  </a:lnTo>
                  <a:lnTo>
                    <a:pt x="1732" y="1454"/>
                  </a:lnTo>
                  <a:lnTo>
                    <a:pt x="1746" y="1426"/>
                  </a:lnTo>
                  <a:lnTo>
                    <a:pt x="1725" y="1413"/>
                  </a:lnTo>
                  <a:lnTo>
                    <a:pt x="1767" y="1392"/>
                  </a:lnTo>
                  <a:lnTo>
                    <a:pt x="1795" y="1392"/>
                  </a:lnTo>
                  <a:lnTo>
                    <a:pt x="1774" y="1357"/>
                  </a:lnTo>
                  <a:lnTo>
                    <a:pt x="1746" y="1294"/>
                  </a:lnTo>
                  <a:lnTo>
                    <a:pt x="1774" y="1287"/>
                  </a:lnTo>
                  <a:lnTo>
                    <a:pt x="1843" y="1259"/>
                  </a:lnTo>
                  <a:lnTo>
                    <a:pt x="1864" y="1259"/>
                  </a:lnTo>
                  <a:lnTo>
                    <a:pt x="1885" y="1287"/>
                  </a:lnTo>
                  <a:lnTo>
                    <a:pt x="1899" y="1259"/>
                  </a:lnTo>
                  <a:lnTo>
                    <a:pt x="1969" y="1259"/>
                  </a:lnTo>
                  <a:lnTo>
                    <a:pt x="1990" y="1252"/>
                  </a:lnTo>
                  <a:lnTo>
                    <a:pt x="2017" y="1252"/>
                  </a:lnTo>
                  <a:lnTo>
                    <a:pt x="2094" y="1225"/>
                  </a:lnTo>
                  <a:lnTo>
                    <a:pt x="2122" y="1197"/>
                  </a:lnTo>
                  <a:lnTo>
                    <a:pt x="2115" y="1190"/>
                  </a:lnTo>
                  <a:lnTo>
                    <a:pt x="2136" y="1155"/>
                  </a:lnTo>
                  <a:lnTo>
                    <a:pt x="2156" y="1113"/>
                  </a:lnTo>
                  <a:lnTo>
                    <a:pt x="2191" y="1120"/>
                  </a:lnTo>
                  <a:lnTo>
                    <a:pt x="2205" y="1065"/>
                  </a:lnTo>
                  <a:lnTo>
                    <a:pt x="2184" y="1058"/>
                  </a:lnTo>
                  <a:lnTo>
                    <a:pt x="2129" y="1002"/>
                  </a:lnTo>
                  <a:lnTo>
                    <a:pt x="2156" y="939"/>
                  </a:lnTo>
                  <a:lnTo>
                    <a:pt x="2136" y="939"/>
                  </a:lnTo>
                  <a:lnTo>
                    <a:pt x="2101" y="939"/>
                  </a:lnTo>
                  <a:lnTo>
                    <a:pt x="2087" y="884"/>
                  </a:lnTo>
                  <a:lnTo>
                    <a:pt x="2052" y="898"/>
                  </a:lnTo>
                  <a:lnTo>
                    <a:pt x="2004" y="898"/>
                  </a:lnTo>
                  <a:lnTo>
                    <a:pt x="1997" y="870"/>
                  </a:lnTo>
                  <a:lnTo>
                    <a:pt x="2017" y="821"/>
                  </a:lnTo>
                  <a:lnTo>
                    <a:pt x="1997" y="793"/>
                  </a:lnTo>
                  <a:lnTo>
                    <a:pt x="1941" y="745"/>
                  </a:lnTo>
                  <a:lnTo>
                    <a:pt x="1899" y="703"/>
                  </a:lnTo>
                  <a:lnTo>
                    <a:pt x="1941" y="689"/>
                  </a:lnTo>
                  <a:lnTo>
                    <a:pt x="1969" y="668"/>
                  </a:lnTo>
                  <a:lnTo>
                    <a:pt x="1976" y="661"/>
                  </a:lnTo>
                  <a:lnTo>
                    <a:pt x="1997" y="675"/>
                  </a:lnTo>
                  <a:lnTo>
                    <a:pt x="2017" y="592"/>
                  </a:lnTo>
                  <a:lnTo>
                    <a:pt x="2004" y="578"/>
                  </a:lnTo>
                  <a:lnTo>
                    <a:pt x="2024" y="543"/>
                  </a:lnTo>
                  <a:lnTo>
                    <a:pt x="2066" y="515"/>
                  </a:lnTo>
                  <a:lnTo>
                    <a:pt x="2087" y="480"/>
                  </a:lnTo>
                  <a:lnTo>
                    <a:pt x="2031" y="459"/>
                  </a:lnTo>
                  <a:lnTo>
                    <a:pt x="1962" y="446"/>
                  </a:lnTo>
                  <a:lnTo>
                    <a:pt x="1969" y="397"/>
                  </a:lnTo>
                  <a:lnTo>
                    <a:pt x="1990" y="376"/>
                  </a:lnTo>
                  <a:lnTo>
                    <a:pt x="2136" y="327"/>
                  </a:lnTo>
                  <a:lnTo>
                    <a:pt x="2184" y="327"/>
                  </a:lnTo>
                  <a:lnTo>
                    <a:pt x="2205" y="300"/>
                  </a:lnTo>
                  <a:lnTo>
                    <a:pt x="2254" y="300"/>
                  </a:lnTo>
                  <a:lnTo>
                    <a:pt x="2261" y="327"/>
                  </a:lnTo>
                  <a:lnTo>
                    <a:pt x="2296" y="285"/>
                  </a:lnTo>
                  <a:lnTo>
                    <a:pt x="2351" y="181"/>
                  </a:lnTo>
                  <a:lnTo>
                    <a:pt x="2351" y="153"/>
                  </a:lnTo>
                  <a:lnTo>
                    <a:pt x="2379" y="105"/>
                  </a:lnTo>
                  <a:lnTo>
                    <a:pt x="2393" y="84"/>
                  </a:lnTo>
                  <a:lnTo>
                    <a:pt x="2386" y="42"/>
                  </a:lnTo>
                  <a:lnTo>
                    <a:pt x="2386" y="14"/>
                  </a:lnTo>
                  <a:lnTo>
                    <a:pt x="2498" y="98"/>
                  </a:lnTo>
                  <a:lnTo>
                    <a:pt x="2511" y="105"/>
                  </a:lnTo>
                  <a:lnTo>
                    <a:pt x="2553" y="105"/>
                  </a:lnTo>
                  <a:lnTo>
                    <a:pt x="2581" y="133"/>
                  </a:lnTo>
                  <a:lnTo>
                    <a:pt x="2595" y="153"/>
                  </a:lnTo>
                  <a:lnTo>
                    <a:pt x="2588" y="167"/>
                  </a:lnTo>
                  <a:lnTo>
                    <a:pt x="2588" y="195"/>
                  </a:lnTo>
                  <a:lnTo>
                    <a:pt x="2644" y="146"/>
                  </a:lnTo>
                  <a:lnTo>
                    <a:pt x="2664" y="139"/>
                  </a:lnTo>
                  <a:lnTo>
                    <a:pt x="2685" y="119"/>
                  </a:lnTo>
                  <a:lnTo>
                    <a:pt x="2762" y="133"/>
                  </a:lnTo>
                  <a:lnTo>
                    <a:pt x="2790" y="112"/>
                  </a:lnTo>
                  <a:lnTo>
                    <a:pt x="2838" y="112"/>
                  </a:lnTo>
                  <a:lnTo>
                    <a:pt x="2873" y="133"/>
                  </a:lnTo>
                  <a:lnTo>
                    <a:pt x="2915" y="112"/>
                  </a:lnTo>
                  <a:lnTo>
                    <a:pt x="2894" y="77"/>
                  </a:lnTo>
                  <a:lnTo>
                    <a:pt x="2950" y="70"/>
                  </a:lnTo>
                  <a:lnTo>
                    <a:pt x="3012" y="14"/>
                  </a:lnTo>
                  <a:lnTo>
                    <a:pt x="3068" y="0"/>
                  </a:lnTo>
                  <a:lnTo>
                    <a:pt x="3144" y="14"/>
                  </a:lnTo>
                  <a:lnTo>
                    <a:pt x="3172" y="42"/>
                  </a:lnTo>
                  <a:lnTo>
                    <a:pt x="3214" y="56"/>
                  </a:lnTo>
                  <a:lnTo>
                    <a:pt x="3220" y="49"/>
                  </a:lnTo>
                  <a:lnTo>
                    <a:pt x="3310" y="49"/>
                  </a:lnTo>
                  <a:lnTo>
                    <a:pt x="3345" y="56"/>
                  </a:lnTo>
                  <a:lnTo>
                    <a:pt x="3366" y="49"/>
                  </a:lnTo>
                  <a:lnTo>
                    <a:pt x="3450" y="70"/>
                  </a:lnTo>
                  <a:lnTo>
                    <a:pt x="3477" y="98"/>
                  </a:lnTo>
                  <a:lnTo>
                    <a:pt x="3470" y="112"/>
                  </a:lnTo>
                  <a:lnTo>
                    <a:pt x="3477" y="167"/>
                  </a:lnTo>
                  <a:lnTo>
                    <a:pt x="3498" y="202"/>
                  </a:lnTo>
                  <a:lnTo>
                    <a:pt x="3477" y="272"/>
                  </a:lnTo>
                  <a:lnTo>
                    <a:pt x="3505" y="300"/>
                  </a:lnTo>
                  <a:lnTo>
                    <a:pt x="3477" y="306"/>
                  </a:lnTo>
                  <a:lnTo>
                    <a:pt x="3450" y="300"/>
                  </a:lnTo>
                  <a:lnTo>
                    <a:pt x="3394" y="334"/>
                  </a:lnTo>
                  <a:lnTo>
                    <a:pt x="3310" y="369"/>
                  </a:lnTo>
                  <a:lnTo>
                    <a:pt x="3303" y="397"/>
                  </a:lnTo>
                  <a:lnTo>
                    <a:pt x="3345" y="432"/>
                  </a:lnTo>
                  <a:lnTo>
                    <a:pt x="3359" y="473"/>
                  </a:lnTo>
                  <a:lnTo>
                    <a:pt x="3296" y="446"/>
                  </a:lnTo>
                  <a:lnTo>
                    <a:pt x="3269" y="473"/>
                  </a:lnTo>
                  <a:lnTo>
                    <a:pt x="3214" y="446"/>
                  </a:lnTo>
                  <a:lnTo>
                    <a:pt x="3172" y="480"/>
                  </a:lnTo>
                  <a:lnTo>
                    <a:pt x="3151" y="473"/>
                  </a:lnTo>
                  <a:lnTo>
                    <a:pt x="3144" y="494"/>
                  </a:lnTo>
                  <a:lnTo>
                    <a:pt x="3130" y="508"/>
                  </a:lnTo>
                  <a:lnTo>
                    <a:pt x="3089" y="557"/>
                  </a:lnTo>
                  <a:lnTo>
                    <a:pt x="3089" y="578"/>
                  </a:lnTo>
                  <a:lnTo>
                    <a:pt x="3054" y="626"/>
                  </a:lnTo>
                  <a:lnTo>
                    <a:pt x="3033" y="633"/>
                  </a:lnTo>
                  <a:lnTo>
                    <a:pt x="3040" y="675"/>
                  </a:lnTo>
                  <a:lnTo>
                    <a:pt x="3019" y="668"/>
                  </a:lnTo>
                  <a:lnTo>
                    <a:pt x="3019" y="696"/>
                  </a:lnTo>
                  <a:lnTo>
                    <a:pt x="2957" y="710"/>
                  </a:lnTo>
                  <a:lnTo>
                    <a:pt x="2957" y="765"/>
                  </a:lnTo>
                  <a:lnTo>
                    <a:pt x="2943" y="765"/>
                  </a:lnTo>
                  <a:lnTo>
                    <a:pt x="2894" y="765"/>
                  </a:lnTo>
                  <a:lnTo>
                    <a:pt x="2887" y="773"/>
                  </a:lnTo>
                  <a:lnTo>
                    <a:pt x="2859" y="786"/>
                  </a:lnTo>
                  <a:lnTo>
                    <a:pt x="2852" y="842"/>
                  </a:lnTo>
                  <a:lnTo>
                    <a:pt x="2845" y="856"/>
                  </a:lnTo>
                  <a:lnTo>
                    <a:pt x="2824" y="863"/>
                  </a:lnTo>
                  <a:lnTo>
                    <a:pt x="2804" y="905"/>
                  </a:lnTo>
                  <a:lnTo>
                    <a:pt x="2838" y="967"/>
                  </a:lnTo>
                  <a:lnTo>
                    <a:pt x="2887" y="1002"/>
                  </a:lnTo>
                  <a:lnTo>
                    <a:pt x="2915" y="995"/>
                  </a:lnTo>
                  <a:lnTo>
                    <a:pt x="2936" y="995"/>
                  </a:lnTo>
                  <a:lnTo>
                    <a:pt x="2943" y="995"/>
                  </a:lnTo>
                  <a:lnTo>
                    <a:pt x="2936" y="1030"/>
                  </a:lnTo>
                  <a:lnTo>
                    <a:pt x="3012" y="1037"/>
                  </a:lnTo>
                  <a:lnTo>
                    <a:pt x="3019" y="1113"/>
                  </a:lnTo>
                  <a:lnTo>
                    <a:pt x="3089" y="1169"/>
                  </a:lnTo>
                  <a:lnTo>
                    <a:pt x="3089" y="1197"/>
                  </a:lnTo>
                  <a:lnTo>
                    <a:pt x="3089" y="1204"/>
                  </a:lnTo>
                  <a:lnTo>
                    <a:pt x="3082" y="1246"/>
                  </a:lnTo>
                  <a:lnTo>
                    <a:pt x="3075" y="1252"/>
                  </a:lnTo>
                  <a:lnTo>
                    <a:pt x="3019" y="1294"/>
                  </a:lnTo>
                  <a:lnTo>
                    <a:pt x="3012" y="1301"/>
                  </a:lnTo>
                  <a:lnTo>
                    <a:pt x="2950" y="1357"/>
                  </a:lnTo>
                  <a:lnTo>
                    <a:pt x="2950" y="1364"/>
                  </a:lnTo>
                  <a:lnTo>
                    <a:pt x="2936" y="1399"/>
                  </a:lnTo>
                  <a:lnTo>
                    <a:pt x="2936" y="1413"/>
                  </a:lnTo>
                  <a:lnTo>
                    <a:pt x="2957" y="1447"/>
                  </a:lnTo>
                  <a:lnTo>
                    <a:pt x="2977" y="1524"/>
                  </a:lnTo>
                  <a:lnTo>
                    <a:pt x="2977" y="1607"/>
                  </a:lnTo>
                  <a:lnTo>
                    <a:pt x="3033" y="1614"/>
                  </a:lnTo>
                  <a:lnTo>
                    <a:pt x="3040" y="1628"/>
                  </a:lnTo>
                  <a:lnTo>
                    <a:pt x="3075" y="1656"/>
                  </a:lnTo>
                  <a:lnTo>
                    <a:pt x="3110" y="1663"/>
                  </a:lnTo>
                  <a:lnTo>
                    <a:pt x="3130" y="1705"/>
                  </a:lnTo>
                  <a:lnTo>
                    <a:pt x="3138" y="1705"/>
                  </a:lnTo>
                  <a:lnTo>
                    <a:pt x="3117" y="1719"/>
                  </a:lnTo>
                  <a:lnTo>
                    <a:pt x="3144" y="1746"/>
                  </a:lnTo>
                  <a:lnTo>
                    <a:pt x="3151" y="1788"/>
                  </a:lnTo>
                  <a:lnTo>
                    <a:pt x="3179" y="1795"/>
                  </a:lnTo>
                </a:path>
              </a:pathLst>
            </a:custGeom>
            <a:solidFill>
              <a:schemeClr val="accent1"/>
            </a:solidFill>
            <a:ln w="9525" cap="flat" cmpd="sng">
              <a:solidFill>
                <a:schemeClr val="bg1"/>
              </a:solidFill>
              <a:round/>
              <a:headEnd/>
              <a:tailEnd/>
            </a:ln>
            <a:effectLst/>
          </p:spPr>
          <p:txBody>
            <a:bodyPr wrap="none" anchor="ctr"/>
            <a:lstStyle/>
            <a:p>
              <a:endParaRPr lang="en-US" dirty="0">
                <a:solidFill>
                  <a:srgbClr val="DB4D69"/>
                </a:solidFill>
                <a:latin typeface="Open Sans Regular" charset="0"/>
              </a:endParaRPr>
            </a:p>
          </p:txBody>
        </p:sp>
        <p:sp>
          <p:nvSpPr>
            <p:cNvPr id="111" name="Freeform 108">
              <a:extLst>
                <a:ext uri="{FF2B5EF4-FFF2-40B4-BE49-F238E27FC236}">
                  <a16:creationId xmlns:a16="http://schemas.microsoft.com/office/drawing/2014/main" id="{EA1801E1-1C83-4562-82E9-0AFBD4EE4D91}"/>
                </a:ext>
              </a:extLst>
            </p:cNvPr>
            <p:cNvSpPr>
              <a:spLocks noChangeArrowheads="1"/>
            </p:cNvSpPr>
            <p:nvPr/>
          </p:nvSpPr>
          <p:spPr bwMode="auto">
            <a:xfrm>
              <a:off x="15959089" y="2529788"/>
              <a:ext cx="1623750" cy="1458156"/>
            </a:xfrm>
            <a:custGeom>
              <a:avLst/>
              <a:gdLst>
                <a:gd name="T0" fmla="*/ 153 w 3459"/>
                <a:gd name="T1" fmla="*/ 1301 h 3103"/>
                <a:gd name="T2" fmla="*/ 98 w 3459"/>
                <a:gd name="T3" fmla="*/ 981 h 3103"/>
                <a:gd name="T4" fmla="*/ 56 w 3459"/>
                <a:gd name="T5" fmla="*/ 807 h 3103"/>
                <a:gd name="T6" fmla="*/ 63 w 3459"/>
                <a:gd name="T7" fmla="*/ 640 h 3103"/>
                <a:gd name="T8" fmla="*/ 279 w 3459"/>
                <a:gd name="T9" fmla="*/ 542 h 3103"/>
                <a:gd name="T10" fmla="*/ 550 w 3459"/>
                <a:gd name="T11" fmla="*/ 542 h 3103"/>
                <a:gd name="T12" fmla="*/ 661 w 3459"/>
                <a:gd name="T13" fmla="*/ 647 h 3103"/>
                <a:gd name="T14" fmla="*/ 1023 w 3459"/>
                <a:gd name="T15" fmla="*/ 703 h 3103"/>
                <a:gd name="T16" fmla="*/ 1134 w 3459"/>
                <a:gd name="T17" fmla="*/ 515 h 3103"/>
                <a:gd name="T18" fmla="*/ 1266 w 3459"/>
                <a:gd name="T19" fmla="*/ 341 h 3103"/>
                <a:gd name="T20" fmla="*/ 1413 w 3459"/>
                <a:gd name="T21" fmla="*/ 257 h 3103"/>
                <a:gd name="T22" fmla="*/ 1621 w 3459"/>
                <a:gd name="T23" fmla="*/ 223 h 3103"/>
                <a:gd name="T24" fmla="*/ 1788 w 3459"/>
                <a:gd name="T25" fmla="*/ 209 h 3103"/>
                <a:gd name="T26" fmla="*/ 2053 w 3459"/>
                <a:gd name="T27" fmla="*/ 174 h 3103"/>
                <a:gd name="T28" fmla="*/ 2282 w 3459"/>
                <a:gd name="T29" fmla="*/ 243 h 3103"/>
                <a:gd name="T30" fmla="*/ 2463 w 3459"/>
                <a:gd name="T31" fmla="*/ 174 h 3103"/>
                <a:gd name="T32" fmla="*/ 2755 w 3459"/>
                <a:gd name="T33" fmla="*/ 63 h 3103"/>
                <a:gd name="T34" fmla="*/ 2985 w 3459"/>
                <a:gd name="T35" fmla="*/ 0 h 3103"/>
                <a:gd name="T36" fmla="*/ 2922 w 3459"/>
                <a:gd name="T37" fmla="*/ 146 h 3103"/>
                <a:gd name="T38" fmla="*/ 2943 w 3459"/>
                <a:gd name="T39" fmla="*/ 341 h 3103"/>
                <a:gd name="T40" fmla="*/ 3103 w 3459"/>
                <a:gd name="T41" fmla="*/ 445 h 3103"/>
                <a:gd name="T42" fmla="*/ 3131 w 3459"/>
                <a:gd name="T43" fmla="*/ 654 h 3103"/>
                <a:gd name="T44" fmla="*/ 3409 w 3459"/>
                <a:gd name="T45" fmla="*/ 876 h 3103"/>
                <a:gd name="T46" fmla="*/ 3284 w 3459"/>
                <a:gd name="T47" fmla="*/ 974 h 3103"/>
                <a:gd name="T48" fmla="*/ 3152 w 3459"/>
                <a:gd name="T49" fmla="*/ 1030 h 3103"/>
                <a:gd name="T50" fmla="*/ 2978 w 3459"/>
                <a:gd name="T51" fmla="*/ 1064 h 3103"/>
                <a:gd name="T52" fmla="*/ 2888 w 3459"/>
                <a:gd name="T53" fmla="*/ 995 h 3103"/>
                <a:gd name="T54" fmla="*/ 2741 w 3459"/>
                <a:gd name="T55" fmla="*/ 1050 h 3103"/>
                <a:gd name="T56" fmla="*/ 2595 w 3459"/>
                <a:gd name="T57" fmla="*/ 1197 h 3103"/>
                <a:gd name="T58" fmla="*/ 2352 w 3459"/>
                <a:gd name="T59" fmla="*/ 1343 h 3103"/>
                <a:gd name="T60" fmla="*/ 2394 w 3459"/>
                <a:gd name="T61" fmla="*/ 1475 h 3103"/>
                <a:gd name="T62" fmla="*/ 2331 w 3459"/>
                <a:gd name="T63" fmla="*/ 1586 h 3103"/>
                <a:gd name="T64" fmla="*/ 2387 w 3459"/>
                <a:gd name="T65" fmla="*/ 1767 h 3103"/>
                <a:gd name="T66" fmla="*/ 2526 w 3459"/>
                <a:gd name="T67" fmla="*/ 1836 h 3103"/>
                <a:gd name="T68" fmla="*/ 2581 w 3459"/>
                <a:gd name="T69" fmla="*/ 2017 h 3103"/>
                <a:gd name="T70" fmla="*/ 2484 w 3459"/>
                <a:gd name="T71" fmla="*/ 2122 h 3103"/>
                <a:gd name="T72" fmla="*/ 2275 w 3459"/>
                <a:gd name="T73" fmla="*/ 2184 h 3103"/>
                <a:gd name="T74" fmla="*/ 2164 w 3459"/>
                <a:gd name="T75" fmla="*/ 2254 h 3103"/>
                <a:gd name="T76" fmla="*/ 2122 w 3459"/>
                <a:gd name="T77" fmla="*/ 2351 h 3103"/>
                <a:gd name="T78" fmla="*/ 2053 w 3459"/>
                <a:gd name="T79" fmla="*/ 2456 h 3103"/>
                <a:gd name="T80" fmla="*/ 1830 w 3459"/>
                <a:gd name="T81" fmla="*/ 2372 h 3103"/>
                <a:gd name="T82" fmla="*/ 1656 w 3459"/>
                <a:gd name="T83" fmla="*/ 2504 h 3103"/>
                <a:gd name="T84" fmla="*/ 1580 w 3459"/>
                <a:gd name="T85" fmla="*/ 2581 h 3103"/>
                <a:gd name="T86" fmla="*/ 1510 w 3459"/>
                <a:gd name="T87" fmla="*/ 2560 h 3103"/>
                <a:gd name="T88" fmla="*/ 1433 w 3459"/>
                <a:gd name="T89" fmla="*/ 2636 h 3103"/>
                <a:gd name="T90" fmla="*/ 1378 w 3459"/>
                <a:gd name="T91" fmla="*/ 2755 h 3103"/>
                <a:gd name="T92" fmla="*/ 1308 w 3459"/>
                <a:gd name="T93" fmla="*/ 2852 h 3103"/>
                <a:gd name="T94" fmla="*/ 1218 w 3459"/>
                <a:gd name="T95" fmla="*/ 3061 h 3103"/>
                <a:gd name="T96" fmla="*/ 1044 w 3459"/>
                <a:gd name="T97" fmla="*/ 3033 h 3103"/>
                <a:gd name="T98" fmla="*/ 974 w 3459"/>
                <a:gd name="T99" fmla="*/ 3047 h 3103"/>
                <a:gd name="T100" fmla="*/ 891 w 3459"/>
                <a:gd name="T101" fmla="*/ 3040 h 3103"/>
                <a:gd name="T102" fmla="*/ 814 w 3459"/>
                <a:gd name="T103" fmla="*/ 2838 h 3103"/>
                <a:gd name="T104" fmla="*/ 682 w 3459"/>
                <a:gd name="T105" fmla="*/ 2748 h 3103"/>
                <a:gd name="T106" fmla="*/ 522 w 3459"/>
                <a:gd name="T107" fmla="*/ 2741 h 3103"/>
                <a:gd name="T108" fmla="*/ 418 w 3459"/>
                <a:gd name="T109" fmla="*/ 2810 h 3103"/>
                <a:gd name="T110" fmla="*/ 237 w 3459"/>
                <a:gd name="T111" fmla="*/ 2810 h 3103"/>
                <a:gd name="T112" fmla="*/ 181 w 3459"/>
                <a:gd name="T113" fmla="*/ 2636 h 3103"/>
                <a:gd name="T114" fmla="*/ 181 w 3459"/>
                <a:gd name="T115" fmla="*/ 2518 h 3103"/>
                <a:gd name="T116" fmla="*/ 167 w 3459"/>
                <a:gd name="T117" fmla="*/ 2323 h 3103"/>
                <a:gd name="T118" fmla="*/ 293 w 3459"/>
                <a:gd name="T119" fmla="*/ 2031 h 3103"/>
                <a:gd name="T120" fmla="*/ 320 w 3459"/>
                <a:gd name="T121" fmla="*/ 1802 h 3103"/>
                <a:gd name="T122" fmla="*/ 237 w 3459"/>
                <a:gd name="T123" fmla="*/ 1607 h 3103"/>
                <a:gd name="T124" fmla="*/ 411 w 3459"/>
                <a:gd name="T125" fmla="*/ 1495 h 3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59" h="3103">
                  <a:moveTo>
                    <a:pt x="397" y="1405"/>
                  </a:moveTo>
                  <a:lnTo>
                    <a:pt x="355" y="1363"/>
                  </a:lnTo>
                  <a:lnTo>
                    <a:pt x="286" y="1329"/>
                  </a:lnTo>
                  <a:lnTo>
                    <a:pt x="237" y="1301"/>
                  </a:lnTo>
                  <a:lnTo>
                    <a:pt x="153" y="1301"/>
                  </a:lnTo>
                  <a:lnTo>
                    <a:pt x="119" y="1266"/>
                  </a:lnTo>
                  <a:lnTo>
                    <a:pt x="105" y="1224"/>
                  </a:lnTo>
                  <a:lnTo>
                    <a:pt x="153" y="1176"/>
                  </a:lnTo>
                  <a:lnTo>
                    <a:pt x="181" y="1043"/>
                  </a:lnTo>
                  <a:lnTo>
                    <a:pt x="98" y="981"/>
                  </a:lnTo>
                  <a:lnTo>
                    <a:pt x="35" y="995"/>
                  </a:lnTo>
                  <a:lnTo>
                    <a:pt x="21" y="918"/>
                  </a:lnTo>
                  <a:lnTo>
                    <a:pt x="0" y="876"/>
                  </a:lnTo>
                  <a:lnTo>
                    <a:pt x="49" y="842"/>
                  </a:lnTo>
                  <a:lnTo>
                    <a:pt x="56" y="807"/>
                  </a:lnTo>
                  <a:lnTo>
                    <a:pt x="28" y="772"/>
                  </a:lnTo>
                  <a:lnTo>
                    <a:pt x="91" y="737"/>
                  </a:lnTo>
                  <a:lnTo>
                    <a:pt x="98" y="737"/>
                  </a:lnTo>
                  <a:lnTo>
                    <a:pt x="70" y="668"/>
                  </a:lnTo>
                  <a:lnTo>
                    <a:pt x="63" y="640"/>
                  </a:lnTo>
                  <a:lnTo>
                    <a:pt x="105" y="619"/>
                  </a:lnTo>
                  <a:lnTo>
                    <a:pt x="147" y="508"/>
                  </a:lnTo>
                  <a:lnTo>
                    <a:pt x="223" y="536"/>
                  </a:lnTo>
                  <a:lnTo>
                    <a:pt x="279" y="522"/>
                  </a:lnTo>
                  <a:lnTo>
                    <a:pt x="279" y="542"/>
                  </a:lnTo>
                  <a:lnTo>
                    <a:pt x="397" y="487"/>
                  </a:lnTo>
                  <a:lnTo>
                    <a:pt x="453" y="473"/>
                  </a:lnTo>
                  <a:lnTo>
                    <a:pt x="515" y="494"/>
                  </a:lnTo>
                  <a:lnTo>
                    <a:pt x="522" y="522"/>
                  </a:lnTo>
                  <a:lnTo>
                    <a:pt x="550" y="542"/>
                  </a:lnTo>
                  <a:lnTo>
                    <a:pt x="626" y="584"/>
                  </a:lnTo>
                  <a:lnTo>
                    <a:pt x="564" y="640"/>
                  </a:lnTo>
                  <a:lnTo>
                    <a:pt x="564" y="654"/>
                  </a:lnTo>
                  <a:lnTo>
                    <a:pt x="640" y="654"/>
                  </a:lnTo>
                  <a:lnTo>
                    <a:pt x="661" y="647"/>
                  </a:lnTo>
                  <a:lnTo>
                    <a:pt x="724" y="689"/>
                  </a:lnTo>
                  <a:lnTo>
                    <a:pt x="752" y="682"/>
                  </a:lnTo>
                  <a:lnTo>
                    <a:pt x="835" y="716"/>
                  </a:lnTo>
                  <a:lnTo>
                    <a:pt x="912" y="689"/>
                  </a:lnTo>
                  <a:lnTo>
                    <a:pt x="1023" y="703"/>
                  </a:lnTo>
                  <a:lnTo>
                    <a:pt x="1037" y="703"/>
                  </a:lnTo>
                  <a:lnTo>
                    <a:pt x="1051" y="709"/>
                  </a:lnTo>
                  <a:lnTo>
                    <a:pt x="1100" y="619"/>
                  </a:lnTo>
                  <a:lnTo>
                    <a:pt x="1162" y="584"/>
                  </a:lnTo>
                  <a:lnTo>
                    <a:pt x="1134" y="515"/>
                  </a:lnTo>
                  <a:lnTo>
                    <a:pt x="1176" y="424"/>
                  </a:lnTo>
                  <a:lnTo>
                    <a:pt x="1183" y="382"/>
                  </a:lnTo>
                  <a:lnTo>
                    <a:pt x="1197" y="355"/>
                  </a:lnTo>
                  <a:lnTo>
                    <a:pt x="1218" y="348"/>
                  </a:lnTo>
                  <a:lnTo>
                    <a:pt x="1266" y="341"/>
                  </a:lnTo>
                  <a:lnTo>
                    <a:pt x="1294" y="313"/>
                  </a:lnTo>
                  <a:lnTo>
                    <a:pt x="1294" y="264"/>
                  </a:lnTo>
                  <a:lnTo>
                    <a:pt x="1350" y="257"/>
                  </a:lnTo>
                  <a:lnTo>
                    <a:pt x="1371" y="264"/>
                  </a:lnTo>
                  <a:lnTo>
                    <a:pt x="1413" y="257"/>
                  </a:lnTo>
                  <a:lnTo>
                    <a:pt x="1496" y="223"/>
                  </a:lnTo>
                  <a:lnTo>
                    <a:pt x="1531" y="223"/>
                  </a:lnTo>
                  <a:lnTo>
                    <a:pt x="1559" y="215"/>
                  </a:lnTo>
                  <a:lnTo>
                    <a:pt x="1580" y="215"/>
                  </a:lnTo>
                  <a:lnTo>
                    <a:pt x="1621" y="223"/>
                  </a:lnTo>
                  <a:lnTo>
                    <a:pt x="1656" y="257"/>
                  </a:lnTo>
                  <a:lnTo>
                    <a:pt x="1705" y="264"/>
                  </a:lnTo>
                  <a:lnTo>
                    <a:pt x="1754" y="243"/>
                  </a:lnTo>
                  <a:lnTo>
                    <a:pt x="1767" y="215"/>
                  </a:lnTo>
                  <a:lnTo>
                    <a:pt x="1788" y="209"/>
                  </a:lnTo>
                  <a:lnTo>
                    <a:pt x="1809" y="174"/>
                  </a:lnTo>
                  <a:lnTo>
                    <a:pt x="1872" y="195"/>
                  </a:lnTo>
                  <a:lnTo>
                    <a:pt x="1900" y="230"/>
                  </a:lnTo>
                  <a:lnTo>
                    <a:pt x="1983" y="188"/>
                  </a:lnTo>
                  <a:lnTo>
                    <a:pt x="2053" y="174"/>
                  </a:lnTo>
                  <a:lnTo>
                    <a:pt x="2115" y="215"/>
                  </a:lnTo>
                  <a:lnTo>
                    <a:pt x="2199" y="223"/>
                  </a:lnTo>
                  <a:lnTo>
                    <a:pt x="2227" y="257"/>
                  </a:lnTo>
                  <a:lnTo>
                    <a:pt x="2247" y="264"/>
                  </a:lnTo>
                  <a:lnTo>
                    <a:pt x="2282" y="243"/>
                  </a:lnTo>
                  <a:lnTo>
                    <a:pt x="2317" y="215"/>
                  </a:lnTo>
                  <a:lnTo>
                    <a:pt x="2352" y="215"/>
                  </a:lnTo>
                  <a:lnTo>
                    <a:pt x="2428" y="188"/>
                  </a:lnTo>
                  <a:lnTo>
                    <a:pt x="2449" y="160"/>
                  </a:lnTo>
                  <a:lnTo>
                    <a:pt x="2463" y="174"/>
                  </a:lnTo>
                  <a:lnTo>
                    <a:pt x="2561" y="111"/>
                  </a:lnTo>
                  <a:lnTo>
                    <a:pt x="2616" y="97"/>
                  </a:lnTo>
                  <a:lnTo>
                    <a:pt x="2672" y="90"/>
                  </a:lnTo>
                  <a:lnTo>
                    <a:pt x="2713" y="83"/>
                  </a:lnTo>
                  <a:lnTo>
                    <a:pt x="2755" y="63"/>
                  </a:lnTo>
                  <a:lnTo>
                    <a:pt x="2769" y="63"/>
                  </a:lnTo>
                  <a:lnTo>
                    <a:pt x="2790" y="63"/>
                  </a:lnTo>
                  <a:lnTo>
                    <a:pt x="2825" y="28"/>
                  </a:lnTo>
                  <a:lnTo>
                    <a:pt x="2874" y="28"/>
                  </a:lnTo>
                  <a:lnTo>
                    <a:pt x="2985" y="0"/>
                  </a:lnTo>
                  <a:lnTo>
                    <a:pt x="3040" y="21"/>
                  </a:lnTo>
                  <a:lnTo>
                    <a:pt x="3054" y="49"/>
                  </a:lnTo>
                  <a:lnTo>
                    <a:pt x="3013" y="76"/>
                  </a:lnTo>
                  <a:lnTo>
                    <a:pt x="3006" y="132"/>
                  </a:lnTo>
                  <a:lnTo>
                    <a:pt x="2922" y="146"/>
                  </a:lnTo>
                  <a:lnTo>
                    <a:pt x="2874" y="160"/>
                  </a:lnTo>
                  <a:lnTo>
                    <a:pt x="2867" y="181"/>
                  </a:lnTo>
                  <a:lnTo>
                    <a:pt x="2888" y="243"/>
                  </a:lnTo>
                  <a:lnTo>
                    <a:pt x="2888" y="292"/>
                  </a:lnTo>
                  <a:lnTo>
                    <a:pt x="2943" y="341"/>
                  </a:lnTo>
                  <a:lnTo>
                    <a:pt x="2908" y="382"/>
                  </a:lnTo>
                  <a:lnTo>
                    <a:pt x="2985" y="417"/>
                  </a:lnTo>
                  <a:lnTo>
                    <a:pt x="3020" y="480"/>
                  </a:lnTo>
                  <a:lnTo>
                    <a:pt x="3054" y="445"/>
                  </a:lnTo>
                  <a:lnTo>
                    <a:pt x="3103" y="445"/>
                  </a:lnTo>
                  <a:lnTo>
                    <a:pt x="3138" y="508"/>
                  </a:lnTo>
                  <a:lnTo>
                    <a:pt x="3166" y="542"/>
                  </a:lnTo>
                  <a:lnTo>
                    <a:pt x="3145" y="584"/>
                  </a:lnTo>
                  <a:lnTo>
                    <a:pt x="3138" y="619"/>
                  </a:lnTo>
                  <a:lnTo>
                    <a:pt x="3131" y="654"/>
                  </a:lnTo>
                  <a:lnTo>
                    <a:pt x="3145" y="675"/>
                  </a:lnTo>
                  <a:lnTo>
                    <a:pt x="3207" y="675"/>
                  </a:lnTo>
                  <a:lnTo>
                    <a:pt x="3249" y="703"/>
                  </a:lnTo>
                  <a:lnTo>
                    <a:pt x="3298" y="814"/>
                  </a:lnTo>
                  <a:lnTo>
                    <a:pt x="3409" y="876"/>
                  </a:lnTo>
                  <a:lnTo>
                    <a:pt x="3444" y="883"/>
                  </a:lnTo>
                  <a:lnTo>
                    <a:pt x="3458" y="897"/>
                  </a:lnTo>
                  <a:lnTo>
                    <a:pt x="3402" y="911"/>
                  </a:lnTo>
                  <a:lnTo>
                    <a:pt x="3340" y="967"/>
                  </a:lnTo>
                  <a:lnTo>
                    <a:pt x="3284" y="974"/>
                  </a:lnTo>
                  <a:lnTo>
                    <a:pt x="3305" y="1009"/>
                  </a:lnTo>
                  <a:lnTo>
                    <a:pt x="3263" y="1030"/>
                  </a:lnTo>
                  <a:lnTo>
                    <a:pt x="3228" y="1009"/>
                  </a:lnTo>
                  <a:lnTo>
                    <a:pt x="3180" y="1009"/>
                  </a:lnTo>
                  <a:lnTo>
                    <a:pt x="3152" y="1030"/>
                  </a:lnTo>
                  <a:lnTo>
                    <a:pt x="3075" y="1016"/>
                  </a:lnTo>
                  <a:lnTo>
                    <a:pt x="3054" y="1036"/>
                  </a:lnTo>
                  <a:lnTo>
                    <a:pt x="3034" y="1043"/>
                  </a:lnTo>
                  <a:lnTo>
                    <a:pt x="2978" y="1092"/>
                  </a:lnTo>
                  <a:lnTo>
                    <a:pt x="2978" y="1064"/>
                  </a:lnTo>
                  <a:lnTo>
                    <a:pt x="2985" y="1050"/>
                  </a:lnTo>
                  <a:lnTo>
                    <a:pt x="2971" y="1030"/>
                  </a:lnTo>
                  <a:lnTo>
                    <a:pt x="2943" y="1002"/>
                  </a:lnTo>
                  <a:lnTo>
                    <a:pt x="2901" y="1002"/>
                  </a:lnTo>
                  <a:lnTo>
                    <a:pt x="2888" y="995"/>
                  </a:lnTo>
                  <a:lnTo>
                    <a:pt x="2776" y="911"/>
                  </a:lnTo>
                  <a:lnTo>
                    <a:pt x="2776" y="939"/>
                  </a:lnTo>
                  <a:lnTo>
                    <a:pt x="2783" y="981"/>
                  </a:lnTo>
                  <a:lnTo>
                    <a:pt x="2769" y="1002"/>
                  </a:lnTo>
                  <a:lnTo>
                    <a:pt x="2741" y="1050"/>
                  </a:lnTo>
                  <a:lnTo>
                    <a:pt x="2741" y="1078"/>
                  </a:lnTo>
                  <a:lnTo>
                    <a:pt x="2686" y="1182"/>
                  </a:lnTo>
                  <a:lnTo>
                    <a:pt x="2651" y="1224"/>
                  </a:lnTo>
                  <a:lnTo>
                    <a:pt x="2644" y="1197"/>
                  </a:lnTo>
                  <a:lnTo>
                    <a:pt x="2595" y="1197"/>
                  </a:lnTo>
                  <a:lnTo>
                    <a:pt x="2574" y="1224"/>
                  </a:lnTo>
                  <a:lnTo>
                    <a:pt x="2526" y="1224"/>
                  </a:lnTo>
                  <a:lnTo>
                    <a:pt x="2380" y="1273"/>
                  </a:lnTo>
                  <a:lnTo>
                    <a:pt x="2359" y="1294"/>
                  </a:lnTo>
                  <a:lnTo>
                    <a:pt x="2352" y="1343"/>
                  </a:lnTo>
                  <a:lnTo>
                    <a:pt x="2421" y="1356"/>
                  </a:lnTo>
                  <a:lnTo>
                    <a:pt x="2477" y="1377"/>
                  </a:lnTo>
                  <a:lnTo>
                    <a:pt x="2456" y="1412"/>
                  </a:lnTo>
                  <a:lnTo>
                    <a:pt x="2414" y="1440"/>
                  </a:lnTo>
                  <a:lnTo>
                    <a:pt x="2394" y="1475"/>
                  </a:lnTo>
                  <a:lnTo>
                    <a:pt x="2407" y="1489"/>
                  </a:lnTo>
                  <a:lnTo>
                    <a:pt x="2387" y="1572"/>
                  </a:lnTo>
                  <a:lnTo>
                    <a:pt x="2366" y="1558"/>
                  </a:lnTo>
                  <a:lnTo>
                    <a:pt x="2359" y="1565"/>
                  </a:lnTo>
                  <a:lnTo>
                    <a:pt x="2331" y="1586"/>
                  </a:lnTo>
                  <a:lnTo>
                    <a:pt x="2289" y="1600"/>
                  </a:lnTo>
                  <a:lnTo>
                    <a:pt x="2331" y="1642"/>
                  </a:lnTo>
                  <a:lnTo>
                    <a:pt x="2387" y="1690"/>
                  </a:lnTo>
                  <a:lnTo>
                    <a:pt x="2407" y="1718"/>
                  </a:lnTo>
                  <a:lnTo>
                    <a:pt x="2387" y="1767"/>
                  </a:lnTo>
                  <a:lnTo>
                    <a:pt x="2394" y="1795"/>
                  </a:lnTo>
                  <a:lnTo>
                    <a:pt x="2442" y="1795"/>
                  </a:lnTo>
                  <a:lnTo>
                    <a:pt x="2477" y="1781"/>
                  </a:lnTo>
                  <a:lnTo>
                    <a:pt x="2491" y="1836"/>
                  </a:lnTo>
                  <a:lnTo>
                    <a:pt x="2526" y="1836"/>
                  </a:lnTo>
                  <a:lnTo>
                    <a:pt x="2546" y="1836"/>
                  </a:lnTo>
                  <a:lnTo>
                    <a:pt x="2519" y="1899"/>
                  </a:lnTo>
                  <a:lnTo>
                    <a:pt x="2574" y="1955"/>
                  </a:lnTo>
                  <a:lnTo>
                    <a:pt x="2595" y="1962"/>
                  </a:lnTo>
                  <a:lnTo>
                    <a:pt x="2581" y="2017"/>
                  </a:lnTo>
                  <a:lnTo>
                    <a:pt x="2546" y="2010"/>
                  </a:lnTo>
                  <a:lnTo>
                    <a:pt x="2526" y="2052"/>
                  </a:lnTo>
                  <a:lnTo>
                    <a:pt x="2505" y="2087"/>
                  </a:lnTo>
                  <a:lnTo>
                    <a:pt x="2512" y="2094"/>
                  </a:lnTo>
                  <a:lnTo>
                    <a:pt x="2484" y="2122"/>
                  </a:lnTo>
                  <a:lnTo>
                    <a:pt x="2407" y="2149"/>
                  </a:lnTo>
                  <a:lnTo>
                    <a:pt x="2380" y="2149"/>
                  </a:lnTo>
                  <a:lnTo>
                    <a:pt x="2359" y="2156"/>
                  </a:lnTo>
                  <a:lnTo>
                    <a:pt x="2289" y="2156"/>
                  </a:lnTo>
                  <a:lnTo>
                    <a:pt x="2275" y="2184"/>
                  </a:lnTo>
                  <a:lnTo>
                    <a:pt x="2254" y="2156"/>
                  </a:lnTo>
                  <a:lnTo>
                    <a:pt x="2233" y="2156"/>
                  </a:lnTo>
                  <a:lnTo>
                    <a:pt x="2164" y="2184"/>
                  </a:lnTo>
                  <a:lnTo>
                    <a:pt x="2136" y="2191"/>
                  </a:lnTo>
                  <a:lnTo>
                    <a:pt x="2164" y="2254"/>
                  </a:lnTo>
                  <a:lnTo>
                    <a:pt x="2185" y="2289"/>
                  </a:lnTo>
                  <a:lnTo>
                    <a:pt x="2157" y="2289"/>
                  </a:lnTo>
                  <a:lnTo>
                    <a:pt x="2115" y="2310"/>
                  </a:lnTo>
                  <a:lnTo>
                    <a:pt x="2136" y="2323"/>
                  </a:lnTo>
                  <a:lnTo>
                    <a:pt x="2122" y="2351"/>
                  </a:lnTo>
                  <a:lnTo>
                    <a:pt x="2150" y="2414"/>
                  </a:lnTo>
                  <a:lnTo>
                    <a:pt x="2136" y="2421"/>
                  </a:lnTo>
                  <a:lnTo>
                    <a:pt x="2150" y="2456"/>
                  </a:lnTo>
                  <a:lnTo>
                    <a:pt x="2053" y="2476"/>
                  </a:lnTo>
                  <a:lnTo>
                    <a:pt x="2053" y="2456"/>
                  </a:lnTo>
                  <a:lnTo>
                    <a:pt x="1983" y="2456"/>
                  </a:lnTo>
                  <a:lnTo>
                    <a:pt x="1969" y="2372"/>
                  </a:lnTo>
                  <a:lnTo>
                    <a:pt x="1921" y="2358"/>
                  </a:lnTo>
                  <a:lnTo>
                    <a:pt x="1858" y="2358"/>
                  </a:lnTo>
                  <a:lnTo>
                    <a:pt x="1830" y="2372"/>
                  </a:lnTo>
                  <a:lnTo>
                    <a:pt x="1802" y="2386"/>
                  </a:lnTo>
                  <a:lnTo>
                    <a:pt x="1760" y="2428"/>
                  </a:lnTo>
                  <a:lnTo>
                    <a:pt x="1635" y="2421"/>
                  </a:lnTo>
                  <a:lnTo>
                    <a:pt x="1656" y="2490"/>
                  </a:lnTo>
                  <a:lnTo>
                    <a:pt x="1656" y="2504"/>
                  </a:lnTo>
                  <a:lnTo>
                    <a:pt x="1608" y="2511"/>
                  </a:lnTo>
                  <a:lnTo>
                    <a:pt x="1608" y="2546"/>
                  </a:lnTo>
                  <a:lnTo>
                    <a:pt x="1593" y="2553"/>
                  </a:lnTo>
                  <a:lnTo>
                    <a:pt x="1593" y="2581"/>
                  </a:lnTo>
                  <a:lnTo>
                    <a:pt x="1580" y="2581"/>
                  </a:lnTo>
                  <a:lnTo>
                    <a:pt x="1559" y="2574"/>
                  </a:lnTo>
                  <a:lnTo>
                    <a:pt x="1531" y="2539"/>
                  </a:lnTo>
                  <a:lnTo>
                    <a:pt x="1524" y="2546"/>
                  </a:lnTo>
                  <a:lnTo>
                    <a:pt x="1510" y="2525"/>
                  </a:lnTo>
                  <a:lnTo>
                    <a:pt x="1510" y="2560"/>
                  </a:lnTo>
                  <a:lnTo>
                    <a:pt x="1461" y="2574"/>
                  </a:lnTo>
                  <a:lnTo>
                    <a:pt x="1441" y="2560"/>
                  </a:lnTo>
                  <a:lnTo>
                    <a:pt x="1447" y="2574"/>
                  </a:lnTo>
                  <a:lnTo>
                    <a:pt x="1433" y="2608"/>
                  </a:lnTo>
                  <a:lnTo>
                    <a:pt x="1433" y="2636"/>
                  </a:lnTo>
                  <a:lnTo>
                    <a:pt x="1406" y="2650"/>
                  </a:lnTo>
                  <a:lnTo>
                    <a:pt x="1413" y="2657"/>
                  </a:lnTo>
                  <a:lnTo>
                    <a:pt x="1413" y="2685"/>
                  </a:lnTo>
                  <a:lnTo>
                    <a:pt x="1378" y="2720"/>
                  </a:lnTo>
                  <a:lnTo>
                    <a:pt x="1378" y="2755"/>
                  </a:lnTo>
                  <a:lnTo>
                    <a:pt x="1343" y="2775"/>
                  </a:lnTo>
                  <a:lnTo>
                    <a:pt x="1336" y="2789"/>
                  </a:lnTo>
                  <a:lnTo>
                    <a:pt x="1343" y="2838"/>
                  </a:lnTo>
                  <a:lnTo>
                    <a:pt x="1350" y="2866"/>
                  </a:lnTo>
                  <a:lnTo>
                    <a:pt x="1308" y="2852"/>
                  </a:lnTo>
                  <a:lnTo>
                    <a:pt x="1308" y="2880"/>
                  </a:lnTo>
                  <a:lnTo>
                    <a:pt x="1301" y="2977"/>
                  </a:lnTo>
                  <a:lnTo>
                    <a:pt x="1253" y="3012"/>
                  </a:lnTo>
                  <a:lnTo>
                    <a:pt x="1246" y="3047"/>
                  </a:lnTo>
                  <a:lnTo>
                    <a:pt x="1218" y="3061"/>
                  </a:lnTo>
                  <a:lnTo>
                    <a:pt x="1197" y="3061"/>
                  </a:lnTo>
                  <a:lnTo>
                    <a:pt x="1176" y="3061"/>
                  </a:lnTo>
                  <a:lnTo>
                    <a:pt x="1114" y="3005"/>
                  </a:lnTo>
                  <a:lnTo>
                    <a:pt x="1086" y="3033"/>
                  </a:lnTo>
                  <a:lnTo>
                    <a:pt x="1044" y="3033"/>
                  </a:lnTo>
                  <a:lnTo>
                    <a:pt x="1044" y="3005"/>
                  </a:lnTo>
                  <a:lnTo>
                    <a:pt x="1016" y="3033"/>
                  </a:lnTo>
                  <a:lnTo>
                    <a:pt x="1016" y="3040"/>
                  </a:lnTo>
                  <a:lnTo>
                    <a:pt x="968" y="3082"/>
                  </a:lnTo>
                  <a:lnTo>
                    <a:pt x="974" y="3047"/>
                  </a:lnTo>
                  <a:lnTo>
                    <a:pt x="953" y="3075"/>
                  </a:lnTo>
                  <a:lnTo>
                    <a:pt x="947" y="3075"/>
                  </a:lnTo>
                  <a:lnTo>
                    <a:pt x="919" y="3102"/>
                  </a:lnTo>
                  <a:lnTo>
                    <a:pt x="877" y="3068"/>
                  </a:lnTo>
                  <a:lnTo>
                    <a:pt x="891" y="3040"/>
                  </a:lnTo>
                  <a:lnTo>
                    <a:pt x="814" y="3005"/>
                  </a:lnTo>
                  <a:lnTo>
                    <a:pt x="759" y="3005"/>
                  </a:lnTo>
                  <a:lnTo>
                    <a:pt x="793" y="2922"/>
                  </a:lnTo>
                  <a:lnTo>
                    <a:pt x="835" y="2873"/>
                  </a:lnTo>
                  <a:lnTo>
                    <a:pt x="814" y="2838"/>
                  </a:lnTo>
                  <a:lnTo>
                    <a:pt x="821" y="2810"/>
                  </a:lnTo>
                  <a:lnTo>
                    <a:pt x="835" y="2803"/>
                  </a:lnTo>
                  <a:lnTo>
                    <a:pt x="759" y="2755"/>
                  </a:lnTo>
                  <a:lnTo>
                    <a:pt x="724" y="2741"/>
                  </a:lnTo>
                  <a:lnTo>
                    <a:pt x="682" y="2748"/>
                  </a:lnTo>
                  <a:lnTo>
                    <a:pt x="640" y="2734"/>
                  </a:lnTo>
                  <a:lnTo>
                    <a:pt x="613" y="2755"/>
                  </a:lnTo>
                  <a:lnTo>
                    <a:pt x="606" y="2741"/>
                  </a:lnTo>
                  <a:lnTo>
                    <a:pt x="550" y="2741"/>
                  </a:lnTo>
                  <a:lnTo>
                    <a:pt x="522" y="2741"/>
                  </a:lnTo>
                  <a:lnTo>
                    <a:pt x="508" y="2748"/>
                  </a:lnTo>
                  <a:lnTo>
                    <a:pt x="460" y="2755"/>
                  </a:lnTo>
                  <a:lnTo>
                    <a:pt x="453" y="2769"/>
                  </a:lnTo>
                  <a:lnTo>
                    <a:pt x="425" y="2817"/>
                  </a:lnTo>
                  <a:lnTo>
                    <a:pt x="418" y="2810"/>
                  </a:lnTo>
                  <a:lnTo>
                    <a:pt x="355" y="2831"/>
                  </a:lnTo>
                  <a:lnTo>
                    <a:pt x="327" y="2845"/>
                  </a:lnTo>
                  <a:lnTo>
                    <a:pt x="265" y="2866"/>
                  </a:lnTo>
                  <a:lnTo>
                    <a:pt x="258" y="2852"/>
                  </a:lnTo>
                  <a:lnTo>
                    <a:pt x="237" y="2810"/>
                  </a:lnTo>
                  <a:lnTo>
                    <a:pt x="265" y="2789"/>
                  </a:lnTo>
                  <a:lnTo>
                    <a:pt x="230" y="2775"/>
                  </a:lnTo>
                  <a:lnTo>
                    <a:pt x="195" y="2769"/>
                  </a:lnTo>
                  <a:lnTo>
                    <a:pt x="195" y="2657"/>
                  </a:lnTo>
                  <a:lnTo>
                    <a:pt x="181" y="2636"/>
                  </a:lnTo>
                  <a:lnTo>
                    <a:pt x="195" y="2616"/>
                  </a:lnTo>
                  <a:lnTo>
                    <a:pt x="202" y="2602"/>
                  </a:lnTo>
                  <a:lnTo>
                    <a:pt x="195" y="2553"/>
                  </a:lnTo>
                  <a:lnTo>
                    <a:pt x="181" y="2539"/>
                  </a:lnTo>
                  <a:lnTo>
                    <a:pt x="181" y="2518"/>
                  </a:lnTo>
                  <a:lnTo>
                    <a:pt x="167" y="2456"/>
                  </a:lnTo>
                  <a:lnTo>
                    <a:pt x="105" y="2442"/>
                  </a:lnTo>
                  <a:lnTo>
                    <a:pt x="126" y="2393"/>
                  </a:lnTo>
                  <a:lnTo>
                    <a:pt x="153" y="2344"/>
                  </a:lnTo>
                  <a:lnTo>
                    <a:pt x="167" y="2323"/>
                  </a:lnTo>
                  <a:lnTo>
                    <a:pt x="167" y="2261"/>
                  </a:lnTo>
                  <a:lnTo>
                    <a:pt x="202" y="2226"/>
                  </a:lnTo>
                  <a:lnTo>
                    <a:pt x="258" y="2177"/>
                  </a:lnTo>
                  <a:lnTo>
                    <a:pt x="286" y="2066"/>
                  </a:lnTo>
                  <a:lnTo>
                    <a:pt x="293" y="2031"/>
                  </a:lnTo>
                  <a:lnTo>
                    <a:pt x="265" y="1983"/>
                  </a:lnTo>
                  <a:lnTo>
                    <a:pt x="313" y="1899"/>
                  </a:lnTo>
                  <a:lnTo>
                    <a:pt x="313" y="1892"/>
                  </a:lnTo>
                  <a:lnTo>
                    <a:pt x="327" y="1857"/>
                  </a:lnTo>
                  <a:lnTo>
                    <a:pt x="320" y="1802"/>
                  </a:lnTo>
                  <a:lnTo>
                    <a:pt x="293" y="1767"/>
                  </a:lnTo>
                  <a:lnTo>
                    <a:pt x="320" y="1732"/>
                  </a:lnTo>
                  <a:lnTo>
                    <a:pt x="300" y="1683"/>
                  </a:lnTo>
                  <a:lnTo>
                    <a:pt x="223" y="1635"/>
                  </a:lnTo>
                  <a:lnTo>
                    <a:pt x="237" y="1607"/>
                  </a:lnTo>
                  <a:lnTo>
                    <a:pt x="265" y="1600"/>
                  </a:lnTo>
                  <a:lnTo>
                    <a:pt x="265" y="1586"/>
                  </a:lnTo>
                  <a:lnTo>
                    <a:pt x="313" y="1565"/>
                  </a:lnTo>
                  <a:lnTo>
                    <a:pt x="376" y="1558"/>
                  </a:lnTo>
                  <a:lnTo>
                    <a:pt x="411" y="1495"/>
                  </a:lnTo>
                  <a:lnTo>
                    <a:pt x="390" y="1461"/>
                  </a:lnTo>
                  <a:lnTo>
                    <a:pt x="397" y="1405"/>
                  </a:lnTo>
                </a:path>
              </a:pathLst>
            </a:custGeom>
            <a:grpFill/>
            <a:ln w="9525" cap="flat" cmpd="sng">
              <a:solidFill>
                <a:schemeClr val="bg1"/>
              </a:solid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112" name="Freeform 109">
              <a:extLst>
                <a:ext uri="{FF2B5EF4-FFF2-40B4-BE49-F238E27FC236}">
                  <a16:creationId xmlns:a16="http://schemas.microsoft.com/office/drawing/2014/main" id="{40E92A44-9BBF-494D-A38A-648B8623439B}"/>
                </a:ext>
              </a:extLst>
            </p:cNvPr>
            <p:cNvSpPr>
              <a:spLocks noChangeArrowheads="1"/>
            </p:cNvSpPr>
            <p:nvPr/>
          </p:nvSpPr>
          <p:spPr bwMode="auto">
            <a:xfrm>
              <a:off x="14505171" y="2999961"/>
              <a:ext cx="2263722" cy="2009107"/>
            </a:xfrm>
            <a:custGeom>
              <a:avLst/>
              <a:gdLst>
                <a:gd name="T0" fmla="*/ 4619 w 4822"/>
                <a:gd name="T1" fmla="*/ 3666 h 4279"/>
                <a:gd name="T2" fmla="*/ 4229 w 4822"/>
                <a:gd name="T3" fmla="*/ 3666 h 4279"/>
                <a:gd name="T4" fmla="*/ 3909 w 4822"/>
                <a:gd name="T5" fmla="*/ 3749 h 4279"/>
                <a:gd name="T6" fmla="*/ 3652 w 4822"/>
                <a:gd name="T7" fmla="*/ 3603 h 4279"/>
                <a:gd name="T8" fmla="*/ 3297 w 4822"/>
                <a:gd name="T9" fmla="*/ 3749 h 4279"/>
                <a:gd name="T10" fmla="*/ 2901 w 4822"/>
                <a:gd name="T11" fmla="*/ 3568 h 4279"/>
                <a:gd name="T12" fmla="*/ 2546 w 4822"/>
                <a:gd name="T13" fmla="*/ 3471 h 4279"/>
                <a:gd name="T14" fmla="*/ 2344 w 4822"/>
                <a:gd name="T15" fmla="*/ 3290 h 4279"/>
                <a:gd name="T16" fmla="*/ 2108 w 4822"/>
                <a:gd name="T17" fmla="*/ 3380 h 4279"/>
                <a:gd name="T18" fmla="*/ 1857 w 4822"/>
                <a:gd name="T19" fmla="*/ 3290 h 4279"/>
                <a:gd name="T20" fmla="*/ 1649 w 4822"/>
                <a:gd name="T21" fmla="*/ 3353 h 4279"/>
                <a:gd name="T22" fmla="*/ 1391 w 4822"/>
                <a:gd name="T23" fmla="*/ 3582 h 4279"/>
                <a:gd name="T24" fmla="*/ 1280 w 4822"/>
                <a:gd name="T25" fmla="*/ 3812 h 4279"/>
                <a:gd name="T26" fmla="*/ 1294 w 4822"/>
                <a:gd name="T27" fmla="*/ 4076 h 4279"/>
                <a:gd name="T28" fmla="*/ 1217 w 4822"/>
                <a:gd name="T29" fmla="*/ 4271 h 4279"/>
                <a:gd name="T30" fmla="*/ 981 w 4822"/>
                <a:gd name="T31" fmla="*/ 3972 h 4279"/>
                <a:gd name="T32" fmla="*/ 807 w 4822"/>
                <a:gd name="T33" fmla="*/ 3756 h 4279"/>
                <a:gd name="T34" fmla="*/ 654 w 4822"/>
                <a:gd name="T35" fmla="*/ 3492 h 4279"/>
                <a:gd name="T36" fmla="*/ 515 w 4822"/>
                <a:gd name="T37" fmla="*/ 3478 h 4279"/>
                <a:gd name="T38" fmla="*/ 403 w 4822"/>
                <a:gd name="T39" fmla="*/ 3526 h 4279"/>
                <a:gd name="T40" fmla="*/ 215 w 4822"/>
                <a:gd name="T41" fmla="*/ 3387 h 4279"/>
                <a:gd name="T42" fmla="*/ 69 w 4822"/>
                <a:gd name="T43" fmla="*/ 3179 h 4279"/>
                <a:gd name="T44" fmla="*/ 48 w 4822"/>
                <a:gd name="T45" fmla="*/ 3053 h 4279"/>
                <a:gd name="T46" fmla="*/ 0 w 4822"/>
                <a:gd name="T47" fmla="*/ 2928 h 4279"/>
                <a:gd name="T48" fmla="*/ 250 w 4822"/>
                <a:gd name="T49" fmla="*/ 2866 h 4279"/>
                <a:gd name="T50" fmla="*/ 431 w 4822"/>
                <a:gd name="T51" fmla="*/ 2796 h 4279"/>
                <a:gd name="T52" fmla="*/ 556 w 4822"/>
                <a:gd name="T53" fmla="*/ 2699 h 4279"/>
                <a:gd name="T54" fmla="*/ 445 w 4822"/>
                <a:gd name="T55" fmla="*/ 2518 h 4279"/>
                <a:gd name="T56" fmla="*/ 313 w 4822"/>
                <a:gd name="T57" fmla="*/ 2240 h 4279"/>
                <a:gd name="T58" fmla="*/ 229 w 4822"/>
                <a:gd name="T59" fmla="*/ 2066 h 4279"/>
                <a:gd name="T60" fmla="*/ 146 w 4822"/>
                <a:gd name="T61" fmla="*/ 1732 h 4279"/>
                <a:gd name="T62" fmla="*/ 368 w 4822"/>
                <a:gd name="T63" fmla="*/ 1314 h 4279"/>
                <a:gd name="T64" fmla="*/ 570 w 4822"/>
                <a:gd name="T65" fmla="*/ 1217 h 4279"/>
                <a:gd name="T66" fmla="*/ 626 w 4822"/>
                <a:gd name="T67" fmla="*/ 1481 h 4279"/>
                <a:gd name="T68" fmla="*/ 744 w 4822"/>
                <a:gd name="T69" fmla="*/ 1732 h 4279"/>
                <a:gd name="T70" fmla="*/ 939 w 4822"/>
                <a:gd name="T71" fmla="*/ 1641 h 4279"/>
                <a:gd name="T72" fmla="*/ 862 w 4822"/>
                <a:gd name="T73" fmla="*/ 1405 h 4279"/>
                <a:gd name="T74" fmla="*/ 1148 w 4822"/>
                <a:gd name="T75" fmla="*/ 981 h 4279"/>
                <a:gd name="T76" fmla="*/ 1287 w 4822"/>
                <a:gd name="T77" fmla="*/ 535 h 4279"/>
                <a:gd name="T78" fmla="*/ 1488 w 4822"/>
                <a:gd name="T79" fmla="*/ 361 h 4279"/>
                <a:gd name="T80" fmla="*/ 1718 w 4822"/>
                <a:gd name="T81" fmla="*/ 723 h 4279"/>
                <a:gd name="T82" fmla="*/ 2170 w 4822"/>
                <a:gd name="T83" fmla="*/ 619 h 4279"/>
                <a:gd name="T84" fmla="*/ 2462 w 4822"/>
                <a:gd name="T85" fmla="*/ 765 h 4279"/>
                <a:gd name="T86" fmla="*/ 2692 w 4822"/>
                <a:gd name="T87" fmla="*/ 716 h 4279"/>
                <a:gd name="T88" fmla="*/ 2629 w 4822"/>
                <a:gd name="T89" fmla="*/ 466 h 4279"/>
                <a:gd name="T90" fmla="*/ 2629 w 4822"/>
                <a:gd name="T91" fmla="*/ 48 h 4279"/>
                <a:gd name="T92" fmla="*/ 3012 w 4822"/>
                <a:gd name="T93" fmla="*/ 180 h 4279"/>
                <a:gd name="T94" fmla="*/ 3450 w 4822"/>
                <a:gd name="T95" fmla="*/ 361 h 4279"/>
                <a:gd name="T96" fmla="*/ 3415 w 4822"/>
                <a:gd name="T97" fmla="*/ 730 h 4279"/>
                <a:gd name="T98" fmla="*/ 3262 w 4822"/>
                <a:gd name="T99" fmla="*/ 1259 h 4279"/>
                <a:gd name="T100" fmla="*/ 3276 w 4822"/>
                <a:gd name="T101" fmla="*/ 1634 h 4279"/>
                <a:gd name="T102" fmla="*/ 3520 w 4822"/>
                <a:gd name="T103" fmla="*/ 1815 h 4279"/>
                <a:gd name="T104" fmla="*/ 3854 w 4822"/>
                <a:gd name="T105" fmla="*/ 1753 h 4279"/>
                <a:gd name="T106" fmla="*/ 3520 w 4822"/>
                <a:gd name="T107" fmla="*/ 2601 h 4279"/>
                <a:gd name="T108" fmla="*/ 3638 w 4822"/>
                <a:gd name="T109" fmla="*/ 2768 h 4279"/>
                <a:gd name="T110" fmla="*/ 3847 w 4822"/>
                <a:gd name="T111" fmla="*/ 2984 h 4279"/>
                <a:gd name="T112" fmla="*/ 4104 w 4822"/>
                <a:gd name="T113" fmla="*/ 3241 h 4279"/>
                <a:gd name="T114" fmla="*/ 4327 w 4822"/>
                <a:gd name="T115" fmla="*/ 3353 h 4279"/>
                <a:gd name="T116" fmla="*/ 4494 w 4822"/>
                <a:gd name="T117" fmla="*/ 3478 h 4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822" h="4279">
                  <a:moveTo>
                    <a:pt x="4654" y="3582"/>
                  </a:moveTo>
                  <a:lnTo>
                    <a:pt x="4751" y="3638"/>
                  </a:lnTo>
                  <a:lnTo>
                    <a:pt x="4793" y="3645"/>
                  </a:lnTo>
                  <a:lnTo>
                    <a:pt x="4821" y="3673"/>
                  </a:lnTo>
                  <a:lnTo>
                    <a:pt x="4814" y="3687"/>
                  </a:lnTo>
                  <a:lnTo>
                    <a:pt x="4765" y="3680"/>
                  </a:lnTo>
                  <a:lnTo>
                    <a:pt x="4730" y="3673"/>
                  </a:lnTo>
                  <a:lnTo>
                    <a:pt x="4703" y="3687"/>
                  </a:lnTo>
                  <a:lnTo>
                    <a:pt x="4654" y="3666"/>
                  </a:lnTo>
                  <a:lnTo>
                    <a:pt x="4626" y="3673"/>
                  </a:lnTo>
                  <a:lnTo>
                    <a:pt x="4619" y="3666"/>
                  </a:lnTo>
                  <a:lnTo>
                    <a:pt x="4619" y="3673"/>
                  </a:lnTo>
                  <a:lnTo>
                    <a:pt x="4577" y="3673"/>
                  </a:lnTo>
                  <a:lnTo>
                    <a:pt x="4563" y="3707"/>
                  </a:lnTo>
                  <a:lnTo>
                    <a:pt x="4522" y="3687"/>
                  </a:lnTo>
                  <a:lnTo>
                    <a:pt x="4466" y="3707"/>
                  </a:lnTo>
                  <a:lnTo>
                    <a:pt x="4445" y="3707"/>
                  </a:lnTo>
                  <a:lnTo>
                    <a:pt x="4375" y="3707"/>
                  </a:lnTo>
                  <a:lnTo>
                    <a:pt x="4361" y="3721"/>
                  </a:lnTo>
                  <a:lnTo>
                    <a:pt x="4313" y="3687"/>
                  </a:lnTo>
                  <a:lnTo>
                    <a:pt x="4264" y="3666"/>
                  </a:lnTo>
                  <a:lnTo>
                    <a:pt x="4229" y="3666"/>
                  </a:lnTo>
                  <a:lnTo>
                    <a:pt x="4209" y="3687"/>
                  </a:lnTo>
                  <a:lnTo>
                    <a:pt x="4160" y="3680"/>
                  </a:lnTo>
                  <a:lnTo>
                    <a:pt x="4118" y="3673"/>
                  </a:lnTo>
                  <a:lnTo>
                    <a:pt x="4076" y="3707"/>
                  </a:lnTo>
                  <a:lnTo>
                    <a:pt x="4035" y="3721"/>
                  </a:lnTo>
                  <a:lnTo>
                    <a:pt x="4028" y="3742"/>
                  </a:lnTo>
                  <a:lnTo>
                    <a:pt x="3972" y="3742"/>
                  </a:lnTo>
                  <a:lnTo>
                    <a:pt x="3930" y="3770"/>
                  </a:lnTo>
                  <a:lnTo>
                    <a:pt x="3944" y="3749"/>
                  </a:lnTo>
                  <a:lnTo>
                    <a:pt x="3909" y="3756"/>
                  </a:lnTo>
                  <a:lnTo>
                    <a:pt x="3909" y="3749"/>
                  </a:lnTo>
                  <a:lnTo>
                    <a:pt x="3902" y="3749"/>
                  </a:lnTo>
                  <a:lnTo>
                    <a:pt x="3888" y="3735"/>
                  </a:lnTo>
                  <a:lnTo>
                    <a:pt x="3854" y="3735"/>
                  </a:lnTo>
                  <a:lnTo>
                    <a:pt x="3819" y="3714"/>
                  </a:lnTo>
                  <a:lnTo>
                    <a:pt x="3798" y="3721"/>
                  </a:lnTo>
                  <a:lnTo>
                    <a:pt x="3784" y="3714"/>
                  </a:lnTo>
                  <a:lnTo>
                    <a:pt x="3735" y="3707"/>
                  </a:lnTo>
                  <a:lnTo>
                    <a:pt x="3687" y="3680"/>
                  </a:lnTo>
                  <a:lnTo>
                    <a:pt x="3701" y="3666"/>
                  </a:lnTo>
                  <a:lnTo>
                    <a:pt x="3673" y="3603"/>
                  </a:lnTo>
                  <a:lnTo>
                    <a:pt x="3652" y="3603"/>
                  </a:lnTo>
                  <a:lnTo>
                    <a:pt x="3638" y="3624"/>
                  </a:lnTo>
                  <a:lnTo>
                    <a:pt x="3610" y="3666"/>
                  </a:lnTo>
                  <a:lnTo>
                    <a:pt x="3610" y="3645"/>
                  </a:lnTo>
                  <a:lnTo>
                    <a:pt x="3589" y="3610"/>
                  </a:lnTo>
                  <a:lnTo>
                    <a:pt x="3527" y="3687"/>
                  </a:lnTo>
                  <a:lnTo>
                    <a:pt x="3506" y="3735"/>
                  </a:lnTo>
                  <a:lnTo>
                    <a:pt x="3478" y="3749"/>
                  </a:lnTo>
                  <a:lnTo>
                    <a:pt x="3443" y="3770"/>
                  </a:lnTo>
                  <a:lnTo>
                    <a:pt x="3422" y="3770"/>
                  </a:lnTo>
                  <a:lnTo>
                    <a:pt x="3332" y="3770"/>
                  </a:lnTo>
                  <a:lnTo>
                    <a:pt x="3297" y="3749"/>
                  </a:lnTo>
                  <a:lnTo>
                    <a:pt x="3228" y="3714"/>
                  </a:lnTo>
                  <a:lnTo>
                    <a:pt x="3193" y="3707"/>
                  </a:lnTo>
                  <a:lnTo>
                    <a:pt x="3165" y="3666"/>
                  </a:lnTo>
                  <a:lnTo>
                    <a:pt x="3151" y="3624"/>
                  </a:lnTo>
                  <a:lnTo>
                    <a:pt x="3116" y="3610"/>
                  </a:lnTo>
                  <a:lnTo>
                    <a:pt x="3054" y="3652"/>
                  </a:lnTo>
                  <a:lnTo>
                    <a:pt x="2991" y="3610"/>
                  </a:lnTo>
                  <a:lnTo>
                    <a:pt x="2970" y="3610"/>
                  </a:lnTo>
                  <a:lnTo>
                    <a:pt x="2963" y="3589"/>
                  </a:lnTo>
                  <a:lnTo>
                    <a:pt x="2914" y="3575"/>
                  </a:lnTo>
                  <a:lnTo>
                    <a:pt x="2901" y="3568"/>
                  </a:lnTo>
                  <a:lnTo>
                    <a:pt x="2866" y="3526"/>
                  </a:lnTo>
                  <a:lnTo>
                    <a:pt x="2817" y="3506"/>
                  </a:lnTo>
                  <a:lnTo>
                    <a:pt x="2762" y="3513"/>
                  </a:lnTo>
                  <a:lnTo>
                    <a:pt x="2741" y="3485"/>
                  </a:lnTo>
                  <a:lnTo>
                    <a:pt x="2720" y="3485"/>
                  </a:lnTo>
                  <a:lnTo>
                    <a:pt x="2685" y="3513"/>
                  </a:lnTo>
                  <a:lnTo>
                    <a:pt x="2664" y="3520"/>
                  </a:lnTo>
                  <a:lnTo>
                    <a:pt x="2622" y="3520"/>
                  </a:lnTo>
                  <a:lnTo>
                    <a:pt x="2602" y="3478"/>
                  </a:lnTo>
                  <a:lnTo>
                    <a:pt x="2546" y="3485"/>
                  </a:lnTo>
                  <a:lnTo>
                    <a:pt x="2546" y="3471"/>
                  </a:lnTo>
                  <a:lnTo>
                    <a:pt x="2532" y="3436"/>
                  </a:lnTo>
                  <a:lnTo>
                    <a:pt x="2504" y="3422"/>
                  </a:lnTo>
                  <a:lnTo>
                    <a:pt x="2511" y="3387"/>
                  </a:lnTo>
                  <a:lnTo>
                    <a:pt x="2497" y="3346"/>
                  </a:lnTo>
                  <a:lnTo>
                    <a:pt x="2441" y="3290"/>
                  </a:lnTo>
                  <a:lnTo>
                    <a:pt x="2414" y="3290"/>
                  </a:lnTo>
                  <a:lnTo>
                    <a:pt x="2414" y="3297"/>
                  </a:lnTo>
                  <a:lnTo>
                    <a:pt x="2372" y="3339"/>
                  </a:lnTo>
                  <a:lnTo>
                    <a:pt x="2330" y="3360"/>
                  </a:lnTo>
                  <a:lnTo>
                    <a:pt x="2337" y="3339"/>
                  </a:lnTo>
                  <a:lnTo>
                    <a:pt x="2344" y="3290"/>
                  </a:lnTo>
                  <a:lnTo>
                    <a:pt x="2309" y="3276"/>
                  </a:lnTo>
                  <a:lnTo>
                    <a:pt x="2281" y="3290"/>
                  </a:lnTo>
                  <a:lnTo>
                    <a:pt x="2261" y="3318"/>
                  </a:lnTo>
                  <a:lnTo>
                    <a:pt x="2302" y="3380"/>
                  </a:lnTo>
                  <a:lnTo>
                    <a:pt x="2274" y="3415"/>
                  </a:lnTo>
                  <a:lnTo>
                    <a:pt x="2212" y="3360"/>
                  </a:lnTo>
                  <a:lnTo>
                    <a:pt x="2205" y="3360"/>
                  </a:lnTo>
                  <a:lnTo>
                    <a:pt x="2184" y="3408"/>
                  </a:lnTo>
                  <a:lnTo>
                    <a:pt x="2177" y="3450"/>
                  </a:lnTo>
                  <a:lnTo>
                    <a:pt x="2170" y="3415"/>
                  </a:lnTo>
                  <a:lnTo>
                    <a:pt x="2108" y="3380"/>
                  </a:lnTo>
                  <a:lnTo>
                    <a:pt x="2073" y="3339"/>
                  </a:lnTo>
                  <a:lnTo>
                    <a:pt x="2066" y="3325"/>
                  </a:lnTo>
                  <a:lnTo>
                    <a:pt x="2052" y="3339"/>
                  </a:lnTo>
                  <a:lnTo>
                    <a:pt x="2045" y="3346"/>
                  </a:lnTo>
                  <a:lnTo>
                    <a:pt x="2073" y="3380"/>
                  </a:lnTo>
                  <a:lnTo>
                    <a:pt x="2003" y="3443"/>
                  </a:lnTo>
                  <a:lnTo>
                    <a:pt x="1920" y="3408"/>
                  </a:lnTo>
                  <a:lnTo>
                    <a:pt x="1857" y="3387"/>
                  </a:lnTo>
                  <a:lnTo>
                    <a:pt x="1871" y="3346"/>
                  </a:lnTo>
                  <a:lnTo>
                    <a:pt x="1871" y="3297"/>
                  </a:lnTo>
                  <a:lnTo>
                    <a:pt x="1857" y="3290"/>
                  </a:lnTo>
                  <a:lnTo>
                    <a:pt x="1836" y="3283"/>
                  </a:lnTo>
                  <a:lnTo>
                    <a:pt x="1822" y="3339"/>
                  </a:lnTo>
                  <a:lnTo>
                    <a:pt x="1760" y="3353"/>
                  </a:lnTo>
                  <a:lnTo>
                    <a:pt x="1725" y="3290"/>
                  </a:lnTo>
                  <a:lnTo>
                    <a:pt x="1711" y="3290"/>
                  </a:lnTo>
                  <a:lnTo>
                    <a:pt x="1704" y="3297"/>
                  </a:lnTo>
                  <a:lnTo>
                    <a:pt x="1704" y="3311"/>
                  </a:lnTo>
                  <a:lnTo>
                    <a:pt x="1725" y="3374"/>
                  </a:lnTo>
                  <a:lnTo>
                    <a:pt x="1690" y="3408"/>
                  </a:lnTo>
                  <a:lnTo>
                    <a:pt x="1683" y="3408"/>
                  </a:lnTo>
                  <a:lnTo>
                    <a:pt x="1649" y="3353"/>
                  </a:lnTo>
                  <a:lnTo>
                    <a:pt x="1614" y="3360"/>
                  </a:lnTo>
                  <a:lnTo>
                    <a:pt x="1544" y="3374"/>
                  </a:lnTo>
                  <a:lnTo>
                    <a:pt x="1530" y="3387"/>
                  </a:lnTo>
                  <a:lnTo>
                    <a:pt x="1495" y="3408"/>
                  </a:lnTo>
                  <a:lnTo>
                    <a:pt x="1454" y="3436"/>
                  </a:lnTo>
                  <a:lnTo>
                    <a:pt x="1426" y="3478"/>
                  </a:lnTo>
                  <a:lnTo>
                    <a:pt x="1440" y="3478"/>
                  </a:lnTo>
                  <a:lnTo>
                    <a:pt x="1426" y="3520"/>
                  </a:lnTo>
                  <a:lnTo>
                    <a:pt x="1440" y="3526"/>
                  </a:lnTo>
                  <a:lnTo>
                    <a:pt x="1426" y="3547"/>
                  </a:lnTo>
                  <a:lnTo>
                    <a:pt x="1391" y="3582"/>
                  </a:lnTo>
                  <a:lnTo>
                    <a:pt x="1377" y="3652"/>
                  </a:lnTo>
                  <a:lnTo>
                    <a:pt x="1356" y="3673"/>
                  </a:lnTo>
                  <a:lnTo>
                    <a:pt x="1349" y="3687"/>
                  </a:lnTo>
                  <a:lnTo>
                    <a:pt x="1328" y="3714"/>
                  </a:lnTo>
                  <a:lnTo>
                    <a:pt x="1321" y="3721"/>
                  </a:lnTo>
                  <a:lnTo>
                    <a:pt x="1294" y="3721"/>
                  </a:lnTo>
                  <a:lnTo>
                    <a:pt x="1294" y="3742"/>
                  </a:lnTo>
                  <a:lnTo>
                    <a:pt x="1301" y="3749"/>
                  </a:lnTo>
                  <a:lnTo>
                    <a:pt x="1294" y="3777"/>
                  </a:lnTo>
                  <a:lnTo>
                    <a:pt x="1280" y="3805"/>
                  </a:lnTo>
                  <a:lnTo>
                    <a:pt x="1280" y="3812"/>
                  </a:lnTo>
                  <a:lnTo>
                    <a:pt x="1301" y="3819"/>
                  </a:lnTo>
                  <a:lnTo>
                    <a:pt x="1301" y="3847"/>
                  </a:lnTo>
                  <a:lnTo>
                    <a:pt x="1342" y="3839"/>
                  </a:lnTo>
                  <a:lnTo>
                    <a:pt x="1356" y="3853"/>
                  </a:lnTo>
                  <a:lnTo>
                    <a:pt x="1384" y="3867"/>
                  </a:lnTo>
                  <a:lnTo>
                    <a:pt x="1412" y="3965"/>
                  </a:lnTo>
                  <a:lnTo>
                    <a:pt x="1419" y="3972"/>
                  </a:lnTo>
                  <a:lnTo>
                    <a:pt x="1398" y="3986"/>
                  </a:lnTo>
                  <a:lnTo>
                    <a:pt x="1349" y="4014"/>
                  </a:lnTo>
                  <a:lnTo>
                    <a:pt x="1342" y="4041"/>
                  </a:lnTo>
                  <a:lnTo>
                    <a:pt x="1294" y="4076"/>
                  </a:lnTo>
                  <a:lnTo>
                    <a:pt x="1294" y="4104"/>
                  </a:lnTo>
                  <a:lnTo>
                    <a:pt x="1349" y="4139"/>
                  </a:lnTo>
                  <a:lnTo>
                    <a:pt x="1356" y="4166"/>
                  </a:lnTo>
                  <a:lnTo>
                    <a:pt x="1328" y="4236"/>
                  </a:lnTo>
                  <a:lnTo>
                    <a:pt x="1349" y="4257"/>
                  </a:lnTo>
                  <a:lnTo>
                    <a:pt x="1315" y="4264"/>
                  </a:lnTo>
                  <a:lnTo>
                    <a:pt x="1315" y="4278"/>
                  </a:lnTo>
                  <a:lnTo>
                    <a:pt x="1252" y="4278"/>
                  </a:lnTo>
                  <a:lnTo>
                    <a:pt x="1245" y="4257"/>
                  </a:lnTo>
                  <a:lnTo>
                    <a:pt x="1210" y="4201"/>
                  </a:lnTo>
                  <a:lnTo>
                    <a:pt x="1217" y="4271"/>
                  </a:lnTo>
                  <a:lnTo>
                    <a:pt x="1155" y="4264"/>
                  </a:lnTo>
                  <a:lnTo>
                    <a:pt x="1155" y="4257"/>
                  </a:lnTo>
                  <a:lnTo>
                    <a:pt x="1155" y="4201"/>
                  </a:lnTo>
                  <a:lnTo>
                    <a:pt x="1169" y="4111"/>
                  </a:lnTo>
                  <a:lnTo>
                    <a:pt x="1113" y="4083"/>
                  </a:lnTo>
                  <a:lnTo>
                    <a:pt x="1113" y="4034"/>
                  </a:lnTo>
                  <a:lnTo>
                    <a:pt x="1092" y="4014"/>
                  </a:lnTo>
                  <a:lnTo>
                    <a:pt x="1071" y="3979"/>
                  </a:lnTo>
                  <a:lnTo>
                    <a:pt x="1071" y="3986"/>
                  </a:lnTo>
                  <a:lnTo>
                    <a:pt x="1002" y="4000"/>
                  </a:lnTo>
                  <a:lnTo>
                    <a:pt x="981" y="3972"/>
                  </a:lnTo>
                  <a:lnTo>
                    <a:pt x="960" y="3979"/>
                  </a:lnTo>
                  <a:lnTo>
                    <a:pt x="932" y="3979"/>
                  </a:lnTo>
                  <a:lnTo>
                    <a:pt x="925" y="3944"/>
                  </a:lnTo>
                  <a:lnTo>
                    <a:pt x="897" y="3909"/>
                  </a:lnTo>
                  <a:lnTo>
                    <a:pt x="932" y="3874"/>
                  </a:lnTo>
                  <a:lnTo>
                    <a:pt x="918" y="3839"/>
                  </a:lnTo>
                  <a:lnTo>
                    <a:pt x="897" y="3833"/>
                  </a:lnTo>
                  <a:lnTo>
                    <a:pt x="862" y="3819"/>
                  </a:lnTo>
                  <a:lnTo>
                    <a:pt x="862" y="3805"/>
                  </a:lnTo>
                  <a:lnTo>
                    <a:pt x="855" y="3798"/>
                  </a:lnTo>
                  <a:lnTo>
                    <a:pt x="807" y="3756"/>
                  </a:lnTo>
                  <a:lnTo>
                    <a:pt x="800" y="3735"/>
                  </a:lnTo>
                  <a:lnTo>
                    <a:pt x="765" y="3701"/>
                  </a:lnTo>
                  <a:lnTo>
                    <a:pt x="772" y="3680"/>
                  </a:lnTo>
                  <a:lnTo>
                    <a:pt x="786" y="3673"/>
                  </a:lnTo>
                  <a:lnTo>
                    <a:pt x="786" y="3645"/>
                  </a:lnTo>
                  <a:lnTo>
                    <a:pt x="758" y="3610"/>
                  </a:lnTo>
                  <a:lnTo>
                    <a:pt x="723" y="3610"/>
                  </a:lnTo>
                  <a:lnTo>
                    <a:pt x="696" y="3617"/>
                  </a:lnTo>
                  <a:lnTo>
                    <a:pt x="675" y="3603"/>
                  </a:lnTo>
                  <a:lnTo>
                    <a:pt x="654" y="3547"/>
                  </a:lnTo>
                  <a:lnTo>
                    <a:pt x="654" y="3492"/>
                  </a:lnTo>
                  <a:lnTo>
                    <a:pt x="640" y="3485"/>
                  </a:lnTo>
                  <a:lnTo>
                    <a:pt x="654" y="3478"/>
                  </a:lnTo>
                  <a:lnTo>
                    <a:pt x="640" y="3471"/>
                  </a:lnTo>
                  <a:lnTo>
                    <a:pt x="633" y="3471"/>
                  </a:lnTo>
                  <a:lnTo>
                    <a:pt x="633" y="3450"/>
                  </a:lnTo>
                  <a:lnTo>
                    <a:pt x="605" y="3457"/>
                  </a:lnTo>
                  <a:lnTo>
                    <a:pt x="598" y="3478"/>
                  </a:lnTo>
                  <a:lnTo>
                    <a:pt x="591" y="3457"/>
                  </a:lnTo>
                  <a:lnTo>
                    <a:pt x="556" y="3478"/>
                  </a:lnTo>
                  <a:lnTo>
                    <a:pt x="529" y="3485"/>
                  </a:lnTo>
                  <a:lnTo>
                    <a:pt x="515" y="3478"/>
                  </a:lnTo>
                  <a:lnTo>
                    <a:pt x="515" y="3492"/>
                  </a:lnTo>
                  <a:lnTo>
                    <a:pt x="501" y="3492"/>
                  </a:lnTo>
                  <a:lnTo>
                    <a:pt x="508" y="3513"/>
                  </a:lnTo>
                  <a:lnTo>
                    <a:pt x="480" y="3506"/>
                  </a:lnTo>
                  <a:lnTo>
                    <a:pt x="494" y="3513"/>
                  </a:lnTo>
                  <a:lnTo>
                    <a:pt x="480" y="3526"/>
                  </a:lnTo>
                  <a:lnTo>
                    <a:pt x="445" y="3526"/>
                  </a:lnTo>
                  <a:lnTo>
                    <a:pt x="459" y="3547"/>
                  </a:lnTo>
                  <a:lnTo>
                    <a:pt x="431" y="3554"/>
                  </a:lnTo>
                  <a:lnTo>
                    <a:pt x="403" y="3554"/>
                  </a:lnTo>
                  <a:lnTo>
                    <a:pt x="403" y="3526"/>
                  </a:lnTo>
                  <a:lnTo>
                    <a:pt x="368" y="3526"/>
                  </a:lnTo>
                  <a:lnTo>
                    <a:pt x="334" y="3492"/>
                  </a:lnTo>
                  <a:lnTo>
                    <a:pt x="334" y="3513"/>
                  </a:lnTo>
                  <a:lnTo>
                    <a:pt x="306" y="3526"/>
                  </a:lnTo>
                  <a:lnTo>
                    <a:pt x="250" y="3506"/>
                  </a:lnTo>
                  <a:lnTo>
                    <a:pt x="229" y="3478"/>
                  </a:lnTo>
                  <a:lnTo>
                    <a:pt x="236" y="3443"/>
                  </a:lnTo>
                  <a:lnTo>
                    <a:pt x="229" y="3443"/>
                  </a:lnTo>
                  <a:lnTo>
                    <a:pt x="229" y="3422"/>
                  </a:lnTo>
                  <a:lnTo>
                    <a:pt x="236" y="3415"/>
                  </a:lnTo>
                  <a:lnTo>
                    <a:pt x="215" y="3387"/>
                  </a:lnTo>
                  <a:lnTo>
                    <a:pt x="188" y="3380"/>
                  </a:lnTo>
                  <a:lnTo>
                    <a:pt x="188" y="3374"/>
                  </a:lnTo>
                  <a:lnTo>
                    <a:pt x="181" y="3353"/>
                  </a:lnTo>
                  <a:lnTo>
                    <a:pt x="174" y="3346"/>
                  </a:lnTo>
                  <a:lnTo>
                    <a:pt x="181" y="3311"/>
                  </a:lnTo>
                  <a:lnTo>
                    <a:pt x="146" y="3290"/>
                  </a:lnTo>
                  <a:lnTo>
                    <a:pt x="139" y="3255"/>
                  </a:lnTo>
                  <a:lnTo>
                    <a:pt x="76" y="3228"/>
                  </a:lnTo>
                  <a:lnTo>
                    <a:pt x="83" y="3220"/>
                  </a:lnTo>
                  <a:lnTo>
                    <a:pt x="76" y="3207"/>
                  </a:lnTo>
                  <a:lnTo>
                    <a:pt x="69" y="3179"/>
                  </a:lnTo>
                  <a:lnTo>
                    <a:pt x="132" y="3130"/>
                  </a:lnTo>
                  <a:lnTo>
                    <a:pt x="118" y="3123"/>
                  </a:lnTo>
                  <a:lnTo>
                    <a:pt x="83" y="3123"/>
                  </a:lnTo>
                  <a:lnTo>
                    <a:pt x="76" y="3144"/>
                  </a:lnTo>
                  <a:lnTo>
                    <a:pt x="41" y="3151"/>
                  </a:lnTo>
                  <a:lnTo>
                    <a:pt x="35" y="3144"/>
                  </a:lnTo>
                  <a:lnTo>
                    <a:pt x="35" y="3130"/>
                  </a:lnTo>
                  <a:lnTo>
                    <a:pt x="69" y="3123"/>
                  </a:lnTo>
                  <a:lnTo>
                    <a:pt x="35" y="3081"/>
                  </a:lnTo>
                  <a:lnTo>
                    <a:pt x="56" y="3067"/>
                  </a:lnTo>
                  <a:lnTo>
                    <a:pt x="48" y="3053"/>
                  </a:lnTo>
                  <a:lnTo>
                    <a:pt x="41" y="3053"/>
                  </a:lnTo>
                  <a:lnTo>
                    <a:pt x="83" y="3047"/>
                  </a:lnTo>
                  <a:lnTo>
                    <a:pt x="41" y="3033"/>
                  </a:lnTo>
                  <a:lnTo>
                    <a:pt x="35" y="3019"/>
                  </a:lnTo>
                  <a:lnTo>
                    <a:pt x="48" y="3033"/>
                  </a:lnTo>
                  <a:lnTo>
                    <a:pt x="69" y="3019"/>
                  </a:lnTo>
                  <a:lnTo>
                    <a:pt x="48" y="2998"/>
                  </a:lnTo>
                  <a:lnTo>
                    <a:pt x="48" y="2963"/>
                  </a:lnTo>
                  <a:lnTo>
                    <a:pt x="14" y="2977"/>
                  </a:lnTo>
                  <a:lnTo>
                    <a:pt x="21" y="2949"/>
                  </a:lnTo>
                  <a:lnTo>
                    <a:pt x="0" y="2928"/>
                  </a:lnTo>
                  <a:lnTo>
                    <a:pt x="14" y="2894"/>
                  </a:lnTo>
                  <a:lnTo>
                    <a:pt x="56" y="2886"/>
                  </a:lnTo>
                  <a:lnTo>
                    <a:pt x="41" y="2824"/>
                  </a:lnTo>
                  <a:lnTo>
                    <a:pt x="83" y="2789"/>
                  </a:lnTo>
                  <a:lnTo>
                    <a:pt x="104" y="2817"/>
                  </a:lnTo>
                  <a:lnTo>
                    <a:pt x="146" y="2817"/>
                  </a:lnTo>
                  <a:lnTo>
                    <a:pt x="181" y="2796"/>
                  </a:lnTo>
                  <a:lnTo>
                    <a:pt x="202" y="2796"/>
                  </a:lnTo>
                  <a:lnTo>
                    <a:pt x="208" y="2824"/>
                  </a:lnTo>
                  <a:lnTo>
                    <a:pt x="208" y="2831"/>
                  </a:lnTo>
                  <a:lnTo>
                    <a:pt x="250" y="2866"/>
                  </a:lnTo>
                  <a:lnTo>
                    <a:pt x="250" y="2886"/>
                  </a:lnTo>
                  <a:lnTo>
                    <a:pt x="250" y="2914"/>
                  </a:lnTo>
                  <a:lnTo>
                    <a:pt x="264" y="2928"/>
                  </a:lnTo>
                  <a:lnTo>
                    <a:pt x="306" y="2935"/>
                  </a:lnTo>
                  <a:lnTo>
                    <a:pt x="334" y="2914"/>
                  </a:lnTo>
                  <a:lnTo>
                    <a:pt x="334" y="2921"/>
                  </a:lnTo>
                  <a:lnTo>
                    <a:pt x="348" y="2921"/>
                  </a:lnTo>
                  <a:lnTo>
                    <a:pt x="368" y="2838"/>
                  </a:lnTo>
                  <a:lnTo>
                    <a:pt x="396" y="2852"/>
                  </a:lnTo>
                  <a:lnTo>
                    <a:pt x="431" y="2803"/>
                  </a:lnTo>
                  <a:lnTo>
                    <a:pt x="431" y="2796"/>
                  </a:lnTo>
                  <a:lnTo>
                    <a:pt x="382" y="2789"/>
                  </a:lnTo>
                  <a:lnTo>
                    <a:pt x="362" y="2754"/>
                  </a:lnTo>
                  <a:lnTo>
                    <a:pt x="362" y="2747"/>
                  </a:lnTo>
                  <a:lnTo>
                    <a:pt x="375" y="2754"/>
                  </a:lnTo>
                  <a:lnTo>
                    <a:pt x="431" y="2754"/>
                  </a:lnTo>
                  <a:lnTo>
                    <a:pt x="438" y="2727"/>
                  </a:lnTo>
                  <a:lnTo>
                    <a:pt x="494" y="2747"/>
                  </a:lnTo>
                  <a:lnTo>
                    <a:pt x="529" y="2720"/>
                  </a:lnTo>
                  <a:lnTo>
                    <a:pt x="535" y="2727"/>
                  </a:lnTo>
                  <a:lnTo>
                    <a:pt x="563" y="2720"/>
                  </a:lnTo>
                  <a:lnTo>
                    <a:pt x="556" y="2699"/>
                  </a:lnTo>
                  <a:lnTo>
                    <a:pt x="529" y="2657"/>
                  </a:lnTo>
                  <a:lnTo>
                    <a:pt x="535" y="2629"/>
                  </a:lnTo>
                  <a:lnTo>
                    <a:pt x="515" y="2629"/>
                  </a:lnTo>
                  <a:lnTo>
                    <a:pt x="508" y="2636"/>
                  </a:lnTo>
                  <a:lnTo>
                    <a:pt x="494" y="2573"/>
                  </a:lnTo>
                  <a:lnTo>
                    <a:pt x="480" y="2567"/>
                  </a:lnTo>
                  <a:lnTo>
                    <a:pt x="473" y="2567"/>
                  </a:lnTo>
                  <a:lnTo>
                    <a:pt x="473" y="2560"/>
                  </a:lnTo>
                  <a:lnTo>
                    <a:pt x="473" y="2518"/>
                  </a:lnTo>
                  <a:lnTo>
                    <a:pt x="466" y="2518"/>
                  </a:lnTo>
                  <a:lnTo>
                    <a:pt x="445" y="2518"/>
                  </a:lnTo>
                  <a:lnTo>
                    <a:pt x="424" y="2490"/>
                  </a:lnTo>
                  <a:lnTo>
                    <a:pt x="362" y="2469"/>
                  </a:lnTo>
                  <a:lnTo>
                    <a:pt x="348" y="2434"/>
                  </a:lnTo>
                  <a:lnTo>
                    <a:pt x="362" y="2421"/>
                  </a:lnTo>
                  <a:lnTo>
                    <a:pt x="341" y="2393"/>
                  </a:lnTo>
                  <a:lnTo>
                    <a:pt x="334" y="2365"/>
                  </a:lnTo>
                  <a:lnTo>
                    <a:pt x="334" y="2358"/>
                  </a:lnTo>
                  <a:lnTo>
                    <a:pt x="334" y="2344"/>
                  </a:lnTo>
                  <a:lnTo>
                    <a:pt x="313" y="2309"/>
                  </a:lnTo>
                  <a:lnTo>
                    <a:pt x="334" y="2274"/>
                  </a:lnTo>
                  <a:lnTo>
                    <a:pt x="313" y="2240"/>
                  </a:lnTo>
                  <a:lnTo>
                    <a:pt x="299" y="2226"/>
                  </a:lnTo>
                  <a:lnTo>
                    <a:pt x="264" y="2212"/>
                  </a:lnTo>
                  <a:lnTo>
                    <a:pt x="264" y="2191"/>
                  </a:lnTo>
                  <a:lnTo>
                    <a:pt x="271" y="2170"/>
                  </a:lnTo>
                  <a:lnTo>
                    <a:pt x="299" y="2191"/>
                  </a:lnTo>
                  <a:lnTo>
                    <a:pt x="306" y="2177"/>
                  </a:lnTo>
                  <a:lnTo>
                    <a:pt x="278" y="2135"/>
                  </a:lnTo>
                  <a:lnTo>
                    <a:pt x="285" y="2100"/>
                  </a:lnTo>
                  <a:lnTo>
                    <a:pt x="243" y="2100"/>
                  </a:lnTo>
                  <a:lnTo>
                    <a:pt x="229" y="2080"/>
                  </a:lnTo>
                  <a:lnTo>
                    <a:pt x="229" y="2066"/>
                  </a:lnTo>
                  <a:lnTo>
                    <a:pt x="243" y="2010"/>
                  </a:lnTo>
                  <a:lnTo>
                    <a:pt x="229" y="1996"/>
                  </a:lnTo>
                  <a:lnTo>
                    <a:pt x="146" y="1975"/>
                  </a:lnTo>
                  <a:lnTo>
                    <a:pt x="132" y="1934"/>
                  </a:lnTo>
                  <a:lnTo>
                    <a:pt x="83" y="1878"/>
                  </a:lnTo>
                  <a:lnTo>
                    <a:pt x="76" y="1843"/>
                  </a:lnTo>
                  <a:lnTo>
                    <a:pt x="83" y="1829"/>
                  </a:lnTo>
                  <a:lnTo>
                    <a:pt x="118" y="1787"/>
                  </a:lnTo>
                  <a:lnTo>
                    <a:pt x="146" y="1746"/>
                  </a:lnTo>
                  <a:lnTo>
                    <a:pt x="146" y="1739"/>
                  </a:lnTo>
                  <a:lnTo>
                    <a:pt x="146" y="1732"/>
                  </a:lnTo>
                  <a:lnTo>
                    <a:pt x="146" y="1704"/>
                  </a:lnTo>
                  <a:lnTo>
                    <a:pt x="139" y="1690"/>
                  </a:lnTo>
                  <a:lnTo>
                    <a:pt x="104" y="1614"/>
                  </a:lnTo>
                  <a:lnTo>
                    <a:pt x="167" y="1537"/>
                  </a:lnTo>
                  <a:lnTo>
                    <a:pt x="250" y="1454"/>
                  </a:lnTo>
                  <a:lnTo>
                    <a:pt x="285" y="1419"/>
                  </a:lnTo>
                  <a:lnTo>
                    <a:pt x="313" y="1391"/>
                  </a:lnTo>
                  <a:lnTo>
                    <a:pt x="327" y="1384"/>
                  </a:lnTo>
                  <a:lnTo>
                    <a:pt x="341" y="1370"/>
                  </a:lnTo>
                  <a:lnTo>
                    <a:pt x="368" y="1321"/>
                  </a:lnTo>
                  <a:lnTo>
                    <a:pt x="368" y="1314"/>
                  </a:lnTo>
                  <a:lnTo>
                    <a:pt x="368" y="1308"/>
                  </a:lnTo>
                  <a:lnTo>
                    <a:pt x="362" y="1308"/>
                  </a:lnTo>
                  <a:lnTo>
                    <a:pt x="341" y="1231"/>
                  </a:lnTo>
                  <a:lnTo>
                    <a:pt x="341" y="1182"/>
                  </a:lnTo>
                  <a:lnTo>
                    <a:pt x="348" y="1175"/>
                  </a:lnTo>
                  <a:lnTo>
                    <a:pt x="396" y="1120"/>
                  </a:lnTo>
                  <a:lnTo>
                    <a:pt x="431" y="1161"/>
                  </a:lnTo>
                  <a:lnTo>
                    <a:pt x="466" y="1182"/>
                  </a:lnTo>
                  <a:lnTo>
                    <a:pt x="508" y="1175"/>
                  </a:lnTo>
                  <a:lnTo>
                    <a:pt x="563" y="1217"/>
                  </a:lnTo>
                  <a:lnTo>
                    <a:pt x="570" y="1217"/>
                  </a:lnTo>
                  <a:lnTo>
                    <a:pt x="563" y="1280"/>
                  </a:lnTo>
                  <a:lnTo>
                    <a:pt x="542" y="1273"/>
                  </a:lnTo>
                  <a:lnTo>
                    <a:pt x="535" y="1294"/>
                  </a:lnTo>
                  <a:lnTo>
                    <a:pt x="535" y="1314"/>
                  </a:lnTo>
                  <a:lnTo>
                    <a:pt x="501" y="1342"/>
                  </a:lnTo>
                  <a:lnTo>
                    <a:pt x="473" y="1384"/>
                  </a:lnTo>
                  <a:lnTo>
                    <a:pt x="459" y="1412"/>
                  </a:lnTo>
                  <a:lnTo>
                    <a:pt x="515" y="1412"/>
                  </a:lnTo>
                  <a:lnTo>
                    <a:pt x="556" y="1426"/>
                  </a:lnTo>
                  <a:lnTo>
                    <a:pt x="563" y="1440"/>
                  </a:lnTo>
                  <a:lnTo>
                    <a:pt x="626" y="1481"/>
                  </a:lnTo>
                  <a:lnTo>
                    <a:pt x="640" y="1474"/>
                  </a:lnTo>
                  <a:lnTo>
                    <a:pt x="654" y="1544"/>
                  </a:lnTo>
                  <a:lnTo>
                    <a:pt x="668" y="1558"/>
                  </a:lnTo>
                  <a:lnTo>
                    <a:pt x="696" y="1606"/>
                  </a:lnTo>
                  <a:lnTo>
                    <a:pt x="696" y="1614"/>
                  </a:lnTo>
                  <a:lnTo>
                    <a:pt x="709" y="1669"/>
                  </a:lnTo>
                  <a:lnTo>
                    <a:pt x="723" y="1669"/>
                  </a:lnTo>
                  <a:lnTo>
                    <a:pt x="675" y="1732"/>
                  </a:lnTo>
                  <a:lnTo>
                    <a:pt x="668" y="1753"/>
                  </a:lnTo>
                  <a:lnTo>
                    <a:pt x="696" y="1746"/>
                  </a:lnTo>
                  <a:lnTo>
                    <a:pt x="744" y="1732"/>
                  </a:lnTo>
                  <a:lnTo>
                    <a:pt x="758" y="1739"/>
                  </a:lnTo>
                  <a:lnTo>
                    <a:pt x="765" y="1753"/>
                  </a:lnTo>
                  <a:lnTo>
                    <a:pt x="807" y="1746"/>
                  </a:lnTo>
                  <a:lnTo>
                    <a:pt x="807" y="1767"/>
                  </a:lnTo>
                  <a:lnTo>
                    <a:pt x="835" y="1781"/>
                  </a:lnTo>
                  <a:lnTo>
                    <a:pt x="855" y="1773"/>
                  </a:lnTo>
                  <a:lnTo>
                    <a:pt x="869" y="1773"/>
                  </a:lnTo>
                  <a:lnTo>
                    <a:pt x="883" y="1732"/>
                  </a:lnTo>
                  <a:lnTo>
                    <a:pt x="897" y="1711"/>
                  </a:lnTo>
                  <a:lnTo>
                    <a:pt x="918" y="1655"/>
                  </a:lnTo>
                  <a:lnTo>
                    <a:pt x="939" y="1641"/>
                  </a:lnTo>
                  <a:lnTo>
                    <a:pt x="960" y="1606"/>
                  </a:lnTo>
                  <a:lnTo>
                    <a:pt x="939" y="1600"/>
                  </a:lnTo>
                  <a:lnTo>
                    <a:pt x="939" y="1586"/>
                  </a:lnTo>
                  <a:lnTo>
                    <a:pt x="897" y="1558"/>
                  </a:lnTo>
                  <a:lnTo>
                    <a:pt x="862" y="1544"/>
                  </a:lnTo>
                  <a:lnTo>
                    <a:pt x="855" y="1523"/>
                  </a:lnTo>
                  <a:lnTo>
                    <a:pt x="842" y="1502"/>
                  </a:lnTo>
                  <a:lnTo>
                    <a:pt x="842" y="1481"/>
                  </a:lnTo>
                  <a:lnTo>
                    <a:pt x="807" y="1454"/>
                  </a:lnTo>
                  <a:lnTo>
                    <a:pt x="807" y="1440"/>
                  </a:lnTo>
                  <a:lnTo>
                    <a:pt x="862" y="1405"/>
                  </a:lnTo>
                  <a:lnTo>
                    <a:pt x="835" y="1328"/>
                  </a:lnTo>
                  <a:lnTo>
                    <a:pt x="842" y="1280"/>
                  </a:lnTo>
                  <a:lnTo>
                    <a:pt x="939" y="1245"/>
                  </a:lnTo>
                  <a:lnTo>
                    <a:pt x="967" y="1196"/>
                  </a:lnTo>
                  <a:lnTo>
                    <a:pt x="953" y="1120"/>
                  </a:lnTo>
                  <a:lnTo>
                    <a:pt x="1002" y="1092"/>
                  </a:lnTo>
                  <a:lnTo>
                    <a:pt x="1015" y="1092"/>
                  </a:lnTo>
                  <a:lnTo>
                    <a:pt x="1057" y="1043"/>
                  </a:lnTo>
                  <a:lnTo>
                    <a:pt x="1099" y="1015"/>
                  </a:lnTo>
                  <a:lnTo>
                    <a:pt x="1120" y="1015"/>
                  </a:lnTo>
                  <a:lnTo>
                    <a:pt x="1148" y="981"/>
                  </a:lnTo>
                  <a:lnTo>
                    <a:pt x="1155" y="925"/>
                  </a:lnTo>
                  <a:lnTo>
                    <a:pt x="1182" y="911"/>
                  </a:lnTo>
                  <a:lnTo>
                    <a:pt x="1189" y="883"/>
                  </a:lnTo>
                  <a:lnTo>
                    <a:pt x="1224" y="869"/>
                  </a:lnTo>
                  <a:lnTo>
                    <a:pt x="1231" y="814"/>
                  </a:lnTo>
                  <a:lnTo>
                    <a:pt x="1287" y="730"/>
                  </a:lnTo>
                  <a:lnTo>
                    <a:pt x="1294" y="695"/>
                  </a:lnTo>
                  <a:lnTo>
                    <a:pt x="1301" y="668"/>
                  </a:lnTo>
                  <a:lnTo>
                    <a:pt x="1301" y="626"/>
                  </a:lnTo>
                  <a:lnTo>
                    <a:pt x="1280" y="591"/>
                  </a:lnTo>
                  <a:lnTo>
                    <a:pt x="1287" y="535"/>
                  </a:lnTo>
                  <a:lnTo>
                    <a:pt x="1280" y="521"/>
                  </a:lnTo>
                  <a:lnTo>
                    <a:pt x="1266" y="466"/>
                  </a:lnTo>
                  <a:lnTo>
                    <a:pt x="1231" y="452"/>
                  </a:lnTo>
                  <a:lnTo>
                    <a:pt x="1224" y="403"/>
                  </a:lnTo>
                  <a:lnTo>
                    <a:pt x="1259" y="389"/>
                  </a:lnTo>
                  <a:lnTo>
                    <a:pt x="1280" y="306"/>
                  </a:lnTo>
                  <a:lnTo>
                    <a:pt x="1315" y="292"/>
                  </a:lnTo>
                  <a:lnTo>
                    <a:pt x="1426" y="278"/>
                  </a:lnTo>
                  <a:lnTo>
                    <a:pt x="1419" y="299"/>
                  </a:lnTo>
                  <a:lnTo>
                    <a:pt x="1454" y="334"/>
                  </a:lnTo>
                  <a:lnTo>
                    <a:pt x="1488" y="361"/>
                  </a:lnTo>
                  <a:lnTo>
                    <a:pt x="1516" y="327"/>
                  </a:lnTo>
                  <a:lnTo>
                    <a:pt x="1544" y="292"/>
                  </a:lnTo>
                  <a:lnTo>
                    <a:pt x="1579" y="278"/>
                  </a:lnTo>
                  <a:lnTo>
                    <a:pt x="1586" y="361"/>
                  </a:lnTo>
                  <a:lnTo>
                    <a:pt x="1579" y="487"/>
                  </a:lnTo>
                  <a:lnTo>
                    <a:pt x="1586" y="549"/>
                  </a:lnTo>
                  <a:lnTo>
                    <a:pt x="1586" y="570"/>
                  </a:lnTo>
                  <a:lnTo>
                    <a:pt x="1621" y="584"/>
                  </a:lnTo>
                  <a:lnTo>
                    <a:pt x="1655" y="626"/>
                  </a:lnTo>
                  <a:lnTo>
                    <a:pt x="1704" y="702"/>
                  </a:lnTo>
                  <a:lnTo>
                    <a:pt x="1718" y="723"/>
                  </a:lnTo>
                  <a:lnTo>
                    <a:pt x="1746" y="723"/>
                  </a:lnTo>
                  <a:lnTo>
                    <a:pt x="1781" y="737"/>
                  </a:lnTo>
                  <a:lnTo>
                    <a:pt x="1878" y="751"/>
                  </a:lnTo>
                  <a:lnTo>
                    <a:pt x="1941" y="730"/>
                  </a:lnTo>
                  <a:lnTo>
                    <a:pt x="1996" y="737"/>
                  </a:lnTo>
                  <a:lnTo>
                    <a:pt x="2010" y="681"/>
                  </a:lnTo>
                  <a:lnTo>
                    <a:pt x="2010" y="660"/>
                  </a:lnTo>
                  <a:lnTo>
                    <a:pt x="2031" y="626"/>
                  </a:lnTo>
                  <a:lnTo>
                    <a:pt x="2045" y="626"/>
                  </a:lnTo>
                  <a:lnTo>
                    <a:pt x="2101" y="654"/>
                  </a:lnTo>
                  <a:lnTo>
                    <a:pt x="2170" y="619"/>
                  </a:lnTo>
                  <a:lnTo>
                    <a:pt x="2198" y="591"/>
                  </a:lnTo>
                  <a:lnTo>
                    <a:pt x="2268" y="584"/>
                  </a:lnTo>
                  <a:lnTo>
                    <a:pt x="2309" y="556"/>
                  </a:lnTo>
                  <a:lnTo>
                    <a:pt x="2337" y="584"/>
                  </a:lnTo>
                  <a:lnTo>
                    <a:pt x="2379" y="556"/>
                  </a:lnTo>
                  <a:lnTo>
                    <a:pt x="2435" y="619"/>
                  </a:lnTo>
                  <a:lnTo>
                    <a:pt x="2455" y="626"/>
                  </a:lnTo>
                  <a:lnTo>
                    <a:pt x="2441" y="688"/>
                  </a:lnTo>
                  <a:lnTo>
                    <a:pt x="2462" y="702"/>
                  </a:lnTo>
                  <a:lnTo>
                    <a:pt x="2455" y="758"/>
                  </a:lnTo>
                  <a:lnTo>
                    <a:pt x="2462" y="765"/>
                  </a:lnTo>
                  <a:lnTo>
                    <a:pt x="2546" y="814"/>
                  </a:lnTo>
                  <a:lnTo>
                    <a:pt x="2546" y="869"/>
                  </a:lnTo>
                  <a:lnTo>
                    <a:pt x="2539" y="890"/>
                  </a:lnTo>
                  <a:lnTo>
                    <a:pt x="2587" y="911"/>
                  </a:lnTo>
                  <a:lnTo>
                    <a:pt x="2622" y="883"/>
                  </a:lnTo>
                  <a:lnTo>
                    <a:pt x="2629" y="890"/>
                  </a:lnTo>
                  <a:lnTo>
                    <a:pt x="2685" y="890"/>
                  </a:lnTo>
                  <a:lnTo>
                    <a:pt x="2755" y="820"/>
                  </a:lnTo>
                  <a:lnTo>
                    <a:pt x="2734" y="786"/>
                  </a:lnTo>
                  <a:lnTo>
                    <a:pt x="2727" y="779"/>
                  </a:lnTo>
                  <a:lnTo>
                    <a:pt x="2692" y="716"/>
                  </a:lnTo>
                  <a:lnTo>
                    <a:pt x="2643" y="681"/>
                  </a:lnTo>
                  <a:lnTo>
                    <a:pt x="2636" y="640"/>
                  </a:lnTo>
                  <a:lnTo>
                    <a:pt x="2643" y="619"/>
                  </a:lnTo>
                  <a:lnTo>
                    <a:pt x="2671" y="591"/>
                  </a:lnTo>
                  <a:lnTo>
                    <a:pt x="2685" y="556"/>
                  </a:lnTo>
                  <a:lnTo>
                    <a:pt x="2727" y="535"/>
                  </a:lnTo>
                  <a:lnTo>
                    <a:pt x="2734" y="493"/>
                  </a:lnTo>
                  <a:lnTo>
                    <a:pt x="2720" y="473"/>
                  </a:lnTo>
                  <a:lnTo>
                    <a:pt x="2706" y="459"/>
                  </a:lnTo>
                  <a:lnTo>
                    <a:pt x="2685" y="438"/>
                  </a:lnTo>
                  <a:lnTo>
                    <a:pt x="2629" y="466"/>
                  </a:lnTo>
                  <a:lnTo>
                    <a:pt x="2574" y="459"/>
                  </a:lnTo>
                  <a:lnTo>
                    <a:pt x="2560" y="431"/>
                  </a:lnTo>
                  <a:lnTo>
                    <a:pt x="2532" y="424"/>
                  </a:lnTo>
                  <a:lnTo>
                    <a:pt x="2539" y="389"/>
                  </a:lnTo>
                  <a:lnTo>
                    <a:pt x="2539" y="292"/>
                  </a:lnTo>
                  <a:lnTo>
                    <a:pt x="2539" y="264"/>
                  </a:lnTo>
                  <a:lnTo>
                    <a:pt x="2532" y="208"/>
                  </a:lnTo>
                  <a:lnTo>
                    <a:pt x="2595" y="160"/>
                  </a:lnTo>
                  <a:lnTo>
                    <a:pt x="2595" y="132"/>
                  </a:lnTo>
                  <a:lnTo>
                    <a:pt x="2622" y="125"/>
                  </a:lnTo>
                  <a:lnTo>
                    <a:pt x="2629" y="48"/>
                  </a:lnTo>
                  <a:lnTo>
                    <a:pt x="2657" y="48"/>
                  </a:lnTo>
                  <a:lnTo>
                    <a:pt x="2762" y="14"/>
                  </a:lnTo>
                  <a:lnTo>
                    <a:pt x="2817" y="28"/>
                  </a:lnTo>
                  <a:lnTo>
                    <a:pt x="2852" y="0"/>
                  </a:lnTo>
                  <a:lnTo>
                    <a:pt x="2887" y="41"/>
                  </a:lnTo>
                  <a:lnTo>
                    <a:pt x="2859" y="90"/>
                  </a:lnTo>
                  <a:lnTo>
                    <a:pt x="2873" y="132"/>
                  </a:lnTo>
                  <a:lnTo>
                    <a:pt x="2914" y="132"/>
                  </a:lnTo>
                  <a:lnTo>
                    <a:pt x="2956" y="167"/>
                  </a:lnTo>
                  <a:lnTo>
                    <a:pt x="2963" y="180"/>
                  </a:lnTo>
                  <a:lnTo>
                    <a:pt x="3012" y="180"/>
                  </a:lnTo>
                  <a:lnTo>
                    <a:pt x="3026" y="195"/>
                  </a:lnTo>
                  <a:lnTo>
                    <a:pt x="3054" y="167"/>
                  </a:lnTo>
                  <a:lnTo>
                    <a:pt x="3130" y="195"/>
                  </a:lnTo>
                  <a:lnTo>
                    <a:pt x="3158" y="180"/>
                  </a:lnTo>
                  <a:lnTo>
                    <a:pt x="3179" y="201"/>
                  </a:lnTo>
                  <a:lnTo>
                    <a:pt x="3200" y="222"/>
                  </a:lnTo>
                  <a:lnTo>
                    <a:pt x="3214" y="264"/>
                  </a:lnTo>
                  <a:lnTo>
                    <a:pt x="3248" y="299"/>
                  </a:lnTo>
                  <a:lnTo>
                    <a:pt x="3332" y="299"/>
                  </a:lnTo>
                  <a:lnTo>
                    <a:pt x="3381" y="327"/>
                  </a:lnTo>
                  <a:lnTo>
                    <a:pt x="3450" y="361"/>
                  </a:lnTo>
                  <a:lnTo>
                    <a:pt x="3492" y="403"/>
                  </a:lnTo>
                  <a:lnTo>
                    <a:pt x="3485" y="459"/>
                  </a:lnTo>
                  <a:lnTo>
                    <a:pt x="3506" y="493"/>
                  </a:lnTo>
                  <a:lnTo>
                    <a:pt x="3471" y="556"/>
                  </a:lnTo>
                  <a:lnTo>
                    <a:pt x="3408" y="563"/>
                  </a:lnTo>
                  <a:lnTo>
                    <a:pt x="3360" y="584"/>
                  </a:lnTo>
                  <a:lnTo>
                    <a:pt x="3360" y="598"/>
                  </a:lnTo>
                  <a:lnTo>
                    <a:pt x="3332" y="605"/>
                  </a:lnTo>
                  <a:lnTo>
                    <a:pt x="3318" y="633"/>
                  </a:lnTo>
                  <a:lnTo>
                    <a:pt x="3395" y="681"/>
                  </a:lnTo>
                  <a:lnTo>
                    <a:pt x="3415" y="730"/>
                  </a:lnTo>
                  <a:lnTo>
                    <a:pt x="3388" y="765"/>
                  </a:lnTo>
                  <a:lnTo>
                    <a:pt x="3415" y="800"/>
                  </a:lnTo>
                  <a:lnTo>
                    <a:pt x="3422" y="855"/>
                  </a:lnTo>
                  <a:lnTo>
                    <a:pt x="3408" y="890"/>
                  </a:lnTo>
                  <a:lnTo>
                    <a:pt x="3408" y="897"/>
                  </a:lnTo>
                  <a:lnTo>
                    <a:pt x="3360" y="981"/>
                  </a:lnTo>
                  <a:lnTo>
                    <a:pt x="3388" y="1029"/>
                  </a:lnTo>
                  <a:lnTo>
                    <a:pt x="3381" y="1064"/>
                  </a:lnTo>
                  <a:lnTo>
                    <a:pt x="3353" y="1175"/>
                  </a:lnTo>
                  <a:lnTo>
                    <a:pt x="3297" y="1224"/>
                  </a:lnTo>
                  <a:lnTo>
                    <a:pt x="3262" y="1259"/>
                  </a:lnTo>
                  <a:lnTo>
                    <a:pt x="3262" y="1321"/>
                  </a:lnTo>
                  <a:lnTo>
                    <a:pt x="3248" y="1342"/>
                  </a:lnTo>
                  <a:lnTo>
                    <a:pt x="3221" y="1391"/>
                  </a:lnTo>
                  <a:lnTo>
                    <a:pt x="3200" y="1440"/>
                  </a:lnTo>
                  <a:lnTo>
                    <a:pt x="3262" y="1454"/>
                  </a:lnTo>
                  <a:lnTo>
                    <a:pt x="3276" y="1516"/>
                  </a:lnTo>
                  <a:lnTo>
                    <a:pt x="3276" y="1537"/>
                  </a:lnTo>
                  <a:lnTo>
                    <a:pt x="3290" y="1551"/>
                  </a:lnTo>
                  <a:lnTo>
                    <a:pt x="3297" y="1600"/>
                  </a:lnTo>
                  <a:lnTo>
                    <a:pt x="3290" y="1614"/>
                  </a:lnTo>
                  <a:lnTo>
                    <a:pt x="3276" y="1634"/>
                  </a:lnTo>
                  <a:lnTo>
                    <a:pt x="3290" y="1655"/>
                  </a:lnTo>
                  <a:lnTo>
                    <a:pt x="3290" y="1767"/>
                  </a:lnTo>
                  <a:lnTo>
                    <a:pt x="3325" y="1773"/>
                  </a:lnTo>
                  <a:lnTo>
                    <a:pt x="3360" y="1787"/>
                  </a:lnTo>
                  <a:lnTo>
                    <a:pt x="3332" y="1808"/>
                  </a:lnTo>
                  <a:lnTo>
                    <a:pt x="3353" y="1850"/>
                  </a:lnTo>
                  <a:lnTo>
                    <a:pt x="3360" y="1864"/>
                  </a:lnTo>
                  <a:lnTo>
                    <a:pt x="3422" y="1843"/>
                  </a:lnTo>
                  <a:lnTo>
                    <a:pt x="3450" y="1829"/>
                  </a:lnTo>
                  <a:lnTo>
                    <a:pt x="3513" y="1808"/>
                  </a:lnTo>
                  <a:lnTo>
                    <a:pt x="3520" y="1815"/>
                  </a:lnTo>
                  <a:lnTo>
                    <a:pt x="3548" y="1767"/>
                  </a:lnTo>
                  <a:lnTo>
                    <a:pt x="3555" y="1753"/>
                  </a:lnTo>
                  <a:lnTo>
                    <a:pt x="3603" y="1746"/>
                  </a:lnTo>
                  <a:lnTo>
                    <a:pt x="3617" y="1739"/>
                  </a:lnTo>
                  <a:lnTo>
                    <a:pt x="3645" y="1739"/>
                  </a:lnTo>
                  <a:lnTo>
                    <a:pt x="3701" y="1739"/>
                  </a:lnTo>
                  <a:lnTo>
                    <a:pt x="3708" y="1753"/>
                  </a:lnTo>
                  <a:lnTo>
                    <a:pt x="3735" y="1732"/>
                  </a:lnTo>
                  <a:lnTo>
                    <a:pt x="3777" y="1746"/>
                  </a:lnTo>
                  <a:lnTo>
                    <a:pt x="3819" y="1739"/>
                  </a:lnTo>
                  <a:lnTo>
                    <a:pt x="3854" y="1753"/>
                  </a:lnTo>
                  <a:lnTo>
                    <a:pt x="3798" y="1843"/>
                  </a:lnTo>
                  <a:lnTo>
                    <a:pt x="3721" y="1948"/>
                  </a:lnTo>
                  <a:lnTo>
                    <a:pt x="3673" y="2031"/>
                  </a:lnTo>
                  <a:lnTo>
                    <a:pt x="3603" y="2128"/>
                  </a:lnTo>
                  <a:lnTo>
                    <a:pt x="3492" y="2246"/>
                  </a:lnTo>
                  <a:lnTo>
                    <a:pt x="3506" y="2309"/>
                  </a:lnTo>
                  <a:lnTo>
                    <a:pt x="3506" y="2344"/>
                  </a:lnTo>
                  <a:lnTo>
                    <a:pt x="3513" y="2421"/>
                  </a:lnTo>
                  <a:lnTo>
                    <a:pt x="3513" y="2455"/>
                  </a:lnTo>
                  <a:lnTo>
                    <a:pt x="3520" y="2525"/>
                  </a:lnTo>
                  <a:lnTo>
                    <a:pt x="3520" y="2601"/>
                  </a:lnTo>
                  <a:lnTo>
                    <a:pt x="3485" y="2601"/>
                  </a:lnTo>
                  <a:lnTo>
                    <a:pt x="3492" y="2622"/>
                  </a:lnTo>
                  <a:lnTo>
                    <a:pt x="3541" y="2608"/>
                  </a:lnTo>
                  <a:lnTo>
                    <a:pt x="3527" y="2664"/>
                  </a:lnTo>
                  <a:lnTo>
                    <a:pt x="3548" y="2664"/>
                  </a:lnTo>
                  <a:lnTo>
                    <a:pt x="3562" y="2650"/>
                  </a:lnTo>
                  <a:lnTo>
                    <a:pt x="3638" y="2664"/>
                  </a:lnTo>
                  <a:lnTo>
                    <a:pt x="3645" y="2699"/>
                  </a:lnTo>
                  <a:lnTo>
                    <a:pt x="3652" y="2699"/>
                  </a:lnTo>
                  <a:lnTo>
                    <a:pt x="3617" y="2747"/>
                  </a:lnTo>
                  <a:lnTo>
                    <a:pt x="3638" y="2768"/>
                  </a:lnTo>
                  <a:lnTo>
                    <a:pt x="3589" y="2803"/>
                  </a:lnTo>
                  <a:lnTo>
                    <a:pt x="3589" y="2831"/>
                  </a:lnTo>
                  <a:lnTo>
                    <a:pt x="3638" y="2838"/>
                  </a:lnTo>
                  <a:lnTo>
                    <a:pt x="3624" y="2886"/>
                  </a:lnTo>
                  <a:lnTo>
                    <a:pt x="3673" y="2886"/>
                  </a:lnTo>
                  <a:lnTo>
                    <a:pt x="3659" y="2935"/>
                  </a:lnTo>
                  <a:lnTo>
                    <a:pt x="3680" y="2949"/>
                  </a:lnTo>
                  <a:lnTo>
                    <a:pt x="3701" y="2935"/>
                  </a:lnTo>
                  <a:lnTo>
                    <a:pt x="3749" y="2886"/>
                  </a:lnTo>
                  <a:lnTo>
                    <a:pt x="3840" y="2977"/>
                  </a:lnTo>
                  <a:lnTo>
                    <a:pt x="3847" y="2984"/>
                  </a:lnTo>
                  <a:lnTo>
                    <a:pt x="3854" y="3019"/>
                  </a:lnTo>
                  <a:lnTo>
                    <a:pt x="3909" y="3033"/>
                  </a:lnTo>
                  <a:lnTo>
                    <a:pt x="3930" y="3033"/>
                  </a:lnTo>
                  <a:lnTo>
                    <a:pt x="3944" y="3033"/>
                  </a:lnTo>
                  <a:lnTo>
                    <a:pt x="3951" y="3061"/>
                  </a:lnTo>
                  <a:lnTo>
                    <a:pt x="4007" y="3067"/>
                  </a:lnTo>
                  <a:lnTo>
                    <a:pt x="4007" y="3109"/>
                  </a:lnTo>
                  <a:lnTo>
                    <a:pt x="4028" y="3123"/>
                  </a:lnTo>
                  <a:lnTo>
                    <a:pt x="4076" y="3144"/>
                  </a:lnTo>
                  <a:lnTo>
                    <a:pt x="4111" y="3165"/>
                  </a:lnTo>
                  <a:lnTo>
                    <a:pt x="4104" y="3241"/>
                  </a:lnTo>
                  <a:lnTo>
                    <a:pt x="4132" y="3248"/>
                  </a:lnTo>
                  <a:lnTo>
                    <a:pt x="4167" y="3241"/>
                  </a:lnTo>
                  <a:lnTo>
                    <a:pt x="4174" y="3248"/>
                  </a:lnTo>
                  <a:lnTo>
                    <a:pt x="4195" y="3248"/>
                  </a:lnTo>
                  <a:lnTo>
                    <a:pt x="4181" y="3283"/>
                  </a:lnTo>
                  <a:lnTo>
                    <a:pt x="4167" y="3311"/>
                  </a:lnTo>
                  <a:lnTo>
                    <a:pt x="4195" y="3339"/>
                  </a:lnTo>
                  <a:lnTo>
                    <a:pt x="4236" y="3360"/>
                  </a:lnTo>
                  <a:lnTo>
                    <a:pt x="4271" y="3374"/>
                  </a:lnTo>
                  <a:lnTo>
                    <a:pt x="4278" y="3325"/>
                  </a:lnTo>
                  <a:lnTo>
                    <a:pt x="4327" y="3353"/>
                  </a:lnTo>
                  <a:lnTo>
                    <a:pt x="4341" y="3311"/>
                  </a:lnTo>
                  <a:lnTo>
                    <a:pt x="4348" y="3297"/>
                  </a:lnTo>
                  <a:lnTo>
                    <a:pt x="4438" y="3339"/>
                  </a:lnTo>
                  <a:lnTo>
                    <a:pt x="4445" y="3339"/>
                  </a:lnTo>
                  <a:lnTo>
                    <a:pt x="4403" y="3374"/>
                  </a:lnTo>
                  <a:lnTo>
                    <a:pt x="4410" y="3394"/>
                  </a:lnTo>
                  <a:lnTo>
                    <a:pt x="4396" y="3443"/>
                  </a:lnTo>
                  <a:lnTo>
                    <a:pt x="4403" y="3450"/>
                  </a:lnTo>
                  <a:lnTo>
                    <a:pt x="4445" y="3450"/>
                  </a:lnTo>
                  <a:lnTo>
                    <a:pt x="4487" y="3471"/>
                  </a:lnTo>
                  <a:lnTo>
                    <a:pt x="4494" y="3478"/>
                  </a:lnTo>
                  <a:lnTo>
                    <a:pt x="4522" y="3478"/>
                  </a:lnTo>
                  <a:lnTo>
                    <a:pt x="4556" y="3457"/>
                  </a:lnTo>
                  <a:lnTo>
                    <a:pt x="4556" y="3485"/>
                  </a:lnTo>
                  <a:lnTo>
                    <a:pt x="4542" y="3513"/>
                  </a:lnTo>
                  <a:lnTo>
                    <a:pt x="4577" y="3547"/>
                  </a:lnTo>
                  <a:lnTo>
                    <a:pt x="4605" y="3547"/>
                  </a:lnTo>
                  <a:lnTo>
                    <a:pt x="4654" y="3582"/>
                  </a:lnTo>
                </a:path>
              </a:pathLst>
            </a:custGeom>
            <a:grpFill/>
            <a:ln w="9525" cap="flat" cmpd="sng">
              <a:solidFill>
                <a:srgbClr val="010101"/>
              </a:solid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113" name="Freeform 110">
              <a:extLst>
                <a:ext uri="{FF2B5EF4-FFF2-40B4-BE49-F238E27FC236}">
                  <a16:creationId xmlns:a16="http://schemas.microsoft.com/office/drawing/2014/main" id="{7286046B-EA4D-4262-B037-A481747B4101}"/>
                </a:ext>
              </a:extLst>
            </p:cNvPr>
            <p:cNvSpPr>
              <a:spLocks noChangeArrowheads="1"/>
            </p:cNvSpPr>
            <p:nvPr/>
          </p:nvSpPr>
          <p:spPr bwMode="auto">
            <a:xfrm>
              <a:off x="14505171" y="2999961"/>
              <a:ext cx="2263722" cy="2009107"/>
            </a:xfrm>
            <a:custGeom>
              <a:avLst/>
              <a:gdLst>
                <a:gd name="T0" fmla="*/ 4619 w 4822"/>
                <a:gd name="T1" fmla="*/ 3666 h 4279"/>
                <a:gd name="T2" fmla="*/ 4229 w 4822"/>
                <a:gd name="T3" fmla="*/ 3666 h 4279"/>
                <a:gd name="T4" fmla="*/ 3909 w 4822"/>
                <a:gd name="T5" fmla="*/ 3749 h 4279"/>
                <a:gd name="T6" fmla="*/ 3652 w 4822"/>
                <a:gd name="T7" fmla="*/ 3603 h 4279"/>
                <a:gd name="T8" fmla="*/ 3297 w 4822"/>
                <a:gd name="T9" fmla="*/ 3749 h 4279"/>
                <a:gd name="T10" fmla="*/ 2901 w 4822"/>
                <a:gd name="T11" fmla="*/ 3568 h 4279"/>
                <a:gd name="T12" fmla="*/ 2546 w 4822"/>
                <a:gd name="T13" fmla="*/ 3471 h 4279"/>
                <a:gd name="T14" fmla="*/ 2344 w 4822"/>
                <a:gd name="T15" fmla="*/ 3290 h 4279"/>
                <a:gd name="T16" fmla="*/ 2108 w 4822"/>
                <a:gd name="T17" fmla="*/ 3380 h 4279"/>
                <a:gd name="T18" fmla="*/ 1857 w 4822"/>
                <a:gd name="T19" fmla="*/ 3290 h 4279"/>
                <a:gd name="T20" fmla="*/ 1649 w 4822"/>
                <a:gd name="T21" fmla="*/ 3353 h 4279"/>
                <a:gd name="T22" fmla="*/ 1391 w 4822"/>
                <a:gd name="T23" fmla="*/ 3582 h 4279"/>
                <a:gd name="T24" fmla="*/ 1280 w 4822"/>
                <a:gd name="T25" fmla="*/ 3812 h 4279"/>
                <a:gd name="T26" fmla="*/ 1294 w 4822"/>
                <a:gd name="T27" fmla="*/ 4076 h 4279"/>
                <a:gd name="T28" fmla="*/ 1217 w 4822"/>
                <a:gd name="T29" fmla="*/ 4271 h 4279"/>
                <a:gd name="T30" fmla="*/ 981 w 4822"/>
                <a:gd name="T31" fmla="*/ 3972 h 4279"/>
                <a:gd name="T32" fmla="*/ 807 w 4822"/>
                <a:gd name="T33" fmla="*/ 3756 h 4279"/>
                <a:gd name="T34" fmla="*/ 654 w 4822"/>
                <a:gd name="T35" fmla="*/ 3492 h 4279"/>
                <a:gd name="T36" fmla="*/ 515 w 4822"/>
                <a:gd name="T37" fmla="*/ 3478 h 4279"/>
                <a:gd name="T38" fmla="*/ 403 w 4822"/>
                <a:gd name="T39" fmla="*/ 3526 h 4279"/>
                <a:gd name="T40" fmla="*/ 215 w 4822"/>
                <a:gd name="T41" fmla="*/ 3387 h 4279"/>
                <a:gd name="T42" fmla="*/ 69 w 4822"/>
                <a:gd name="T43" fmla="*/ 3179 h 4279"/>
                <a:gd name="T44" fmla="*/ 48 w 4822"/>
                <a:gd name="T45" fmla="*/ 3053 h 4279"/>
                <a:gd name="T46" fmla="*/ 0 w 4822"/>
                <a:gd name="T47" fmla="*/ 2928 h 4279"/>
                <a:gd name="T48" fmla="*/ 250 w 4822"/>
                <a:gd name="T49" fmla="*/ 2866 h 4279"/>
                <a:gd name="T50" fmla="*/ 431 w 4822"/>
                <a:gd name="T51" fmla="*/ 2796 h 4279"/>
                <a:gd name="T52" fmla="*/ 556 w 4822"/>
                <a:gd name="T53" fmla="*/ 2699 h 4279"/>
                <a:gd name="T54" fmla="*/ 445 w 4822"/>
                <a:gd name="T55" fmla="*/ 2518 h 4279"/>
                <a:gd name="T56" fmla="*/ 313 w 4822"/>
                <a:gd name="T57" fmla="*/ 2240 h 4279"/>
                <a:gd name="T58" fmla="*/ 229 w 4822"/>
                <a:gd name="T59" fmla="*/ 2066 h 4279"/>
                <a:gd name="T60" fmla="*/ 146 w 4822"/>
                <a:gd name="T61" fmla="*/ 1732 h 4279"/>
                <a:gd name="T62" fmla="*/ 368 w 4822"/>
                <a:gd name="T63" fmla="*/ 1314 h 4279"/>
                <a:gd name="T64" fmla="*/ 570 w 4822"/>
                <a:gd name="T65" fmla="*/ 1217 h 4279"/>
                <a:gd name="T66" fmla="*/ 626 w 4822"/>
                <a:gd name="T67" fmla="*/ 1481 h 4279"/>
                <a:gd name="T68" fmla="*/ 744 w 4822"/>
                <a:gd name="T69" fmla="*/ 1732 h 4279"/>
                <a:gd name="T70" fmla="*/ 939 w 4822"/>
                <a:gd name="T71" fmla="*/ 1641 h 4279"/>
                <a:gd name="T72" fmla="*/ 862 w 4822"/>
                <a:gd name="T73" fmla="*/ 1405 h 4279"/>
                <a:gd name="T74" fmla="*/ 1148 w 4822"/>
                <a:gd name="T75" fmla="*/ 981 h 4279"/>
                <a:gd name="T76" fmla="*/ 1287 w 4822"/>
                <a:gd name="T77" fmla="*/ 535 h 4279"/>
                <a:gd name="T78" fmla="*/ 1488 w 4822"/>
                <a:gd name="T79" fmla="*/ 361 h 4279"/>
                <a:gd name="T80" fmla="*/ 1718 w 4822"/>
                <a:gd name="T81" fmla="*/ 723 h 4279"/>
                <a:gd name="T82" fmla="*/ 2170 w 4822"/>
                <a:gd name="T83" fmla="*/ 619 h 4279"/>
                <a:gd name="T84" fmla="*/ 2462 w 4822"/>
                <a:gd name="T85" fmla="*/ 765 h 4279"/>
                <a:gd name="T86" fmla="*/ 2692 w 4822"/>
                <a:gd name="T87" fmla="*/ 716 h 4279"/>
                <a:gd name="T88" fmla="*/ 2629 w 4822"/>
                <a:gd name="T89" fmla="*/ 466 h 4279"/>
                <a:gd name="T90" fmla="*/ 2629 w 4822"/>
                <a:gd name="T91" fmla="*/ 48 h 4279"/>
                <a:gd name="T92" fmla="*/ 3012 w 4822"/>
                <a:gd name="T93" fmla="*/ 180 h 4279"/>
                <a:gd name="T94" fmla="*/ 3450 w 4822"/>
                <a:gd name="T95" fmla="*/ 361 h 4279"/>
                <a:gd name="T96" fmla="*/ 3415 w 4822"/>
                <a:gd name="T97" fmla="*/ 730 h 4279"/>
                <a:gd name="T98" fmla="*/ 3262 w 4822"/>
                <a:gd name="T99" fmla="*/ 1259 h 4279"/>
                <a:gd name="T100" fmla="*/ 3276 w 4822"/>
                <a:gd name="T101" fmla="*/ 1634 h 4279"/>
                <a:gd name="T102" fmla="*/ 3520 w 4822"/>
                <a:gd name="T103" fmla="*/ 1815 h 4279"/>
                <a:gd name="T104" fmla="*/ 3854 w 4822"/>
                <a:gd name="T105" fmla="*/ 1753 h 4279"/>
                <a:gd name="T106" fmla="*/ 3520 w 4822"/>
                <a:gd name="T107" fmla="*/ 2601 h 4279"/>
                <a:gd name="T108" fmla="*/ 3638 w 4822"/>
                <a:gd name="T109" fmla="*/ 2768 h 4279"/>
                <a:gd name="T110" fmla="*/ 3847 w 4822"/>
                <a:gd name="T111" fmla="*/ 2984 h 4279"/>
                <a:gd name="T112" fmla="*/ 4104 w 4822"/>
                <a:gd name="T113" fmla="*/ 3241 h 4279"/>
                <a:gd name="T114" fmla="*/ 4327 w 4822"/>
                <a:gd name="T115" fmla="*/ 3353 h 4279"/>
                <a:gd name="T116" fmla="*/ 4494 w 4822"/>
                <a:gd name="T117" fmla="*/ 3478 h 4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822" h="4279">
                  <a:moveTo>
                    <a:pt x="4654" y="3582"/>
                  </a:moveTo>
                  <a:lnTo>
                    <a:pt x="4751" y="3638"/>
                  </a:lnTo>
                  <a:lnTo>
                    <a:pt x="4793" y="3645"/>
                  </a:lnTo>
                  <a:lnTo>
                    <a:pt x="4821" y="3673"/>
                  </a:lnTo>
                  <a:lnTo>
                    <a:pt x="4814" y="3687"/>
                  </a:lnTo>
                  <a:lnTo>
                    <a:pt x="4765" y="3680"/>
                  </a:lnTo>
                  <a:lnTo>
                    <a:pt x="4730" y="3673"/>
                  </a:lnTo>
                  <a:lnTo>
                    <a:pt x="4703" y="3687"/>
                  </a:lnTo>
                  <a:lnTo>
                    <a:pt x="4654" y="3666"/>
                  </a:lnTo>
                  <a:lnTo>
                    <a:pt x="4626" y="3673"/>
                  </a:lnTo>
                  <a:lnTo>
                    <a:pt x="4619" y="3666"/>
                  </a:lnTo>
                  <a:lnTo>
                    <a:pt x="4619" y="3673"/>
                  </a:lnTo>
                  <a:lnTo>
                    <a:pt x="4577" y="3673"/>
                  </a:lnTo>
                  <a:lnTo>
                    <a:pt x="4563" y="3707"/>
                  </a:lnTo>
                  <a:lnTo>
                    <a:pt x="4522" y="3687"/>
                  </a:lnTo>
                  <a:lnTo>
                    <a:pt x="4466" y="3707"/>
                  </a:lnTo>
                  <a:lnTo>
                    <a:pt x="4445" y="3707"/>
                  </a:lnTo>
                  <a:lnTo>
                    <a:pt x="4375" y="3707"/>
                  </a:lnTo>
                  <a:lnTo>
                    <a:pt x="4361" y="3721"/>
                  </a:lnTo>
                  <a:lnTo>
                    <a:pt x="4313" y="3687"/>
                  </a:lnTo>
                  <a:lnTo>
                    <a:pt x="4264" y="3666"/>
                  </a:lnTo>
                  <a:lnTo>
                    <a:pt x="4229" y="3666"/>
                  </a:lnTo>
                  <a:lnTo>
                    <a:pt x="4209" y="3687"/>
                  </a:lnTo>
                  <a:lnTo>
                    <a:pt x="4160" y="3680"/>
                  </a:lnTo>
                  <a:lnTo>
                    <a:pt x="4118" y="3673"/>
                  </a:lnTo>
                  <a:lnTo>
                    <a:pt x="4076" y="3707"/>
                  </a:lnTo>
                  <a:lnTo>
                    <a:pt x="4035" y="3721"/>
                  </a:lnTo>
                  <a:lnTo>
                    <a:pt x="4028" y="3742"/>
                  </a:lnTo>
                  <a:lnTo>
                    <a:pt x="3972" y="3742"/>
                  </a:lnTo>
                  <a:lnTo>
                    <a:pt x="3930" y="3770"/>
                  </a:lnTo>
                  <a:lnTo>
                    <a:pt x="3944" y="3749"/>
                  </a:lnTo>
                  <a:lnTo>
                    <a:pt x="3909" y="3756"/>
                  </a:lnTo>
                  <a:lnTo>
                    <a:pt x="3909" y="3749"/>
                  </a:lnTo>
                  <a:lnTo>
                    <a:pt x="3902" y="3749"/>
                  </a:lnTo>
                  <a:lnTo>
                    <a:pt x="3888" y="3735"/>
                  </a:lnTo>
                  <a:lnTo>
                    <a:pt x="3854" y="3735"/>
                  </a:lnTo>
                  <a:lnTo>
                    <a:pt x="3819" y="3714"/>
                  </a:lnTo>
                  <a:lnTo>
                    <a:pt x="3798" y="3721"/>
                  </a:lnTo>
                  <a:lnTo>
                    <a:pt x="3784" y="3714"/>
                  </a:lnTo>
                  <a:lnTo>
                    <a:pt x="3735" y="3707"/>
                  </a:lnTo>
                  <a:lnTo>
                    <a:pt x="3687" y="3680"/>
                  </a:lnTo>
                  <a:lnTo>
                    <a:pt x="3701" y="3666"/>
                  </a:lnTo>
                  <a:lnTo>
                    <a:pt x="3673" y="3603"/>
                  </a:lnTo>
                  <a:lnTo>
                    <a:pt x="3652" y="3603"/>
                  </a:lnTo>
                  <a:lnTo>
                    <a:pt x="3638" y="3624"/>
                  </a:lnTo>
                  <a:lnTo>
                    <a:pt x="3610" y="3666"/>
                  </a:lnTo>
                  <a:lnTo>
                    <a:pt x="3610" y="3645"/>
                  </a:lnTo>
                  <a:lnTo>
                    <a:pt x="3589" y="3610"/>
                  </a:lnTo>
                  <a:lnTo>
                    <a:pt x="3527" y="3687"/>
                  </a:lnTo>
                  <a:lnTo>
                    <a:pt x="3506" y="3735"/>
                  </a:lnTo>
                  <a:lnTo>
                    <a:pt x="3478" y="3749"/>
                  </a:lnTo>
                  <a:lnTo>
                    <a:pt x="3443" y="3770"/>
                  </a:lnTo>
                  <a:lnTo>
                    <a:pt x="3422" y="3770"/>
                  </a:lnTo>
                  <a:lnTo>
                    <a:pt x="3332" y="3770"/>
                  </a:lnTo>
                  <a:lnTo>
                    <a:pt x="3297" y="3749"/>
                  </a:lnTo>
                  <a:lnTo>
                    <a:pt x="3228" y="3714"/>
                  </a:lnTo>
                  <a:lnTo>
                    <a:pt x="3193" y="3707"/>
                  </a:lnTo>
                  <a:lnTo>
                    <a:pt x="3165" y="3666"/>
                  </a:lnTo>
                  <a:lnTo>
                    <a:pt x="3151" y="3624"/>
                  </a:lnTo>
                  <a:lnTo>
                    <a:pt x="3116" y="3610"/>
                  </a:lnTo>
                  <a:lnTo>
                    <a:pt x="3054" y="3652"/>
                  </a:lnTo>
                  <a:lnTo>
                    <a:pt x="2991" y="3610"/>
                  </a:lnTo>
                  <a:lnTo>
                    <a:pt x="2970" y="3610"/>
                  </a:lnTo>
                  <a:lnTo>
                    <a:pt x="2963" y="3589"/>
                  </a:lnTo>
                  <a:lnTo>
                    <a:pt x="2914" y="3575"/>
                  </a:lnTo>
                  <a:lnTo>
                    <a:pt x="2901" y="3568"/>
                  </a:lnTo>
                  <a:lnTo>
                    <a:pt x="2866" y="3526"/>
                  </a:lnTo>
                  <a:lnTo>
                    <a:pt x="2817" y="3506"/>
                  </a:lnTo>
                  <a:lnTo>
                    <a:pt x="2762" y="3513"/>
                  </a:lnTo>
                  <a:lnTo>
                    <a:pt x="2741" y="3485"/>
                  </a:lnTo>
                  <a:lnTo>
                    <a:pt x="2720" y="3485"/>
                  </a:lnTo>
                  <a:lnTo>
                    <a:pt x="2685" y="3513"/>
                  </a:lnTo>
                  <a:lnTo>
                    <a:pt x="2664" y="3520"/>
                  </a:lnTo>
                  <a:lnTo>
                    <a:pt x="2622" y="3520"/>
                  </a:lnTo>
                  <a:lnTo>
                    <a:pt x="2602" y="3478"/>
                  </a:lnTo>
                  <a:lnTo>
                    <a:pt x="2546" y="3485"/>
                  </a:lnTo>
                  <a:lnTo>
                    <a:pt x="2546" y="3471"/>
                  </a:lnTo>
                  <a:lnTo>
                    <a:pt x="2532" y="3436"/>
                  </a:lnTo>
                  <a:lnTo>
                    <a:pt x="2504" y="3422"/>
                  </a:lnTo>
                  <a:lnTo>
                    <a:pt x="2511" y="3387"/>
                  </a:lnTo>
                  <a:lnTo>
                    <a:pt x="2497" y="3346"/>
                  </a:lnTo>
                  <a:lnTo>
                    <a:pt x="2441" y="3290"/>
                  </a:lnTo>
                  <a:lnTo>
                    <a:pt x="2414" y="3290"/>
                  </a:lnTo>
                  <a:lnTo>
                    <a:pt x="2414" y="3297"/>
                  </a:lnTo>
                  <a:lnTo>
                    <a:pt x="2372" y="3339"/>
                  </a:lnTo>
                  <a:lnTo>
                    <a:pt x="2330" y="3360"/>
                  </a:lnTo>
                  <a:lnTo>
                    <a:pt x="2337" y="3339"/>
                  </a:lnTo>
                  <a:lnTo>
                    <a:pt x="2344" y="3290"/>
                  </a:lnTo>
                  <a:lnTo>
                    <a:pt x="2309" y="3276"/>
                  </a:lnTo>
                  <a:lnTo>
                    <a:pt x="2281" y="3290"/>
                  </a:lnTo>
                  <a:lnTo>
                    <a:pt x="2261" y="3318"/>
                  </a:lnTo>
                  <a:lnTo>
                    <a:pt x="2302" y="3380"/>
                  </a:lnTo>
                  <a:lnTo>
                    <a:pt x="2274" y="3415"/>
                  </a:lnTo>
                  <a:lnTo>
                    <a:pt x="2212" y="3360"/>
                  </a:lnTo>
                  <a:lnTo>
                    <a:pt x="2205" y="3360"/>
                  </a:lnTo>
                  <a:lnTo>
                    <a:pt x="2184" y="3408"/>
                  </a:lnTo>
                  <a:lnTo>
                    <a:pt x="2177" y="3450"/>
                  </a:lnTo>
                  <a:lnTo>
                    <a:pt x="2170" y="3415"/>
                  </a:lnTo>
                  <a:lnTo>
                    <a:pt x="2108" y="3380"/>
                  </a:lnTo>
                  <a:lnTo>
                    <a:pt x="2073" y="3339"/>
                  </a:lnTo>
                  <a:lnTo>
                    <a:pt x="2066" y="3325"/>
                  </a:lnTo>
                  <a:lnTo>
                    <a:pt x="2052" y="3339"/>
                  </a:lnTo>
                  <a:lnTo>
                    <a:pt x="2045" y="3346"/>
                  </a:lnTo>
                  <a:lnTo>
                    <a:pt x="2073" y="3380"/>
                  </a:lnTo>
                  <a:lnTo>
                    <a:pt x="2003" y="3443"/>
                  </a:lnTo>
                  <a:lnTo>
                    <a:pt x="1920" y="3408"/>
                  </a:lnTo>
                  <a:lnTo>
                    <a:pt x="1857" y="3387"/>
                  </a:lnTo>
                  <a:lnTo>
                    <a:pt x="1871" y="3346"/>
                  </a:lnTo>
                  <a:lnTo>
                    <a:pt x="1871" y="3297"/>
                  </a:lnTo>
                  <a:lnTo>
                    <a:pt x="1857" y="3290"/>
                  </a:lnTo>
                  <a:lnTo>
                    <a:pt x="1836" y="3283"/>
                  </a:lnTo>
                  <a:lnTo>
                    <a:pt x="1822" y="3339"/>
                  </a:lnTo>
                  <a:lnTo>
                    <a:pt x="1760" y="3353"/>
                  </a:lnTo>
                  <a:lnTo>
                    <a:pt x="1725" y="3290"/>
                  </a:lnTo>
                  <a:lnTo>
                    <a:pt x="1711" y="3290"/>
                  </a:lnTo>
                  <a:lnTo>
                    <a:pt x="1704" y="3297"/>
                  </a:lnTo>
                  <a:lnTo>
                    <a:pt x="1704" y="3311"/>
                  </a:lnTo>
                  <a:lnTo>
                    <a:pt x="1725" y="3374"/>
                  </a:lnTo>
                  <a:lnTo>
                    <a:pt x="1690" y="3408"/>
                  </a:lnTo>
                  <a:lnTo>
                    <a:pt x="1683" y="3408"/>
                  </a:lnTo>
                  <a:lnTo>
                    <a:pt x="1649" y="3353"/>
                  </a:lnTo>
                  <a:lnTo>
                    <a:pt x="1614" y="3360"/>
                  </a:lnTo>
                  <a:lnTo>
                    <a:pt x="1544" y="3374"/>
                  </a:lnTo>
                  <a:lnTo>
                    <a:pt x="1530" y="3387"/>
                  </a:lnTo>
                  <a:lnTo>
                    <a:pt x="1495" y="3408"/>
                  </a:lnTo>
                  <a:lnTo>
                    <a:pt x="1454" y="3436"/>
                  </a:lnTo>
                  <a:lnTo>
                    <a:pt x="1426" y="3478"/>
                  </a:lnTo>
                  <a:lnTo>
                    <a:pt x="1440" y="3478"/>
                  </a:lnTo>
                  <a:lnTo>
                    <a:pt x="1426" y="3520"/>
                  </a:lnTo>
                  <a:lnTo>
                    <a:pt x="1440" y="3526"/>
                  </a:lnTo>
                  <a:lnTo>
                    <a:pt x="1426" y="3547"/>
                  </a:lnTo>
                  <a:lnTo>
                    <a:pt x="1391" y="3582"/>
                  </a:lnTo>
                  <a:lnTo>
                    <a:pt x="1377" y="3652"/>
                  </a:lnTo>
                  <a:lnTo>
                    <a:pt x="1356" y="3673"/>
                  </a:lnTo>
                  <a:lnTo>
                    <a:pt x="1349" y="3687"/>
                  </a:lnTo>
                  <a:lnTo>
                    <a:pt x="1328" y="3714"/>
                  </a:lnTo>
                  <a:lnTo>
                    <a:pt x="1321" y="3721"/>
                  </a:lnTo>
                  <a:lnTo>
                    <a:pt x="1294" y="3721"/>
                  </a:lnTo>
                  <a:lnTo>
                    <a:pt x="1294" y="3742"/>
                  </a:lnTo>
                  <a:lnTo>
                    <a:pt x="1301" y="3749"/>
                  </a:lnTo>
                  <a:lnTo>
                    <a:pt x="1294" y="3777"/>
                  </a:lnTo>
                  <a:lnTo>
                    <a:pt x="1280" y="3805"/>
                  </a:lnTo>
                  <a:lnTo>
                    <a:pt x="1280" y="3812"/>
                  </a:lnTo>
                  <a:lnTo>
                    <a:pt x="1301" y="3819"/>
                  </a:lnTo>
                  <a:lnTo>
                    <a:pt x="1301" y="3847"/>
                  </a:lnTo>
                  <a:lnTo>
                    <a:pt x="1342" y="3839"/>
                  </a:lnTo>
                  <a:lnTo>
                    <a:pt x="1356" y="3853"/>
                  </a:lnTo>
                  <a:lnTo>
                    <a:pt x="1384" y="3867"/>
                  </a:lnTo>
                  <a:lnTo>
                    <a:pt x="1412" y="3965"/>
                  </a:lnTo>
                  <a:lnTo>
                    <a:pt x="1419" y="3972"/>
                  </a:lnTo>
                  <a:lnTo>
                    <a:pt x="1398" y="3986"/>
                  </a:lnTo>
                  <a:lnTo>
                    <a:pt x="1349" y="4014"/>
                  </a:lnTo>
                  <a:lnTo>
                    <a:pt x="1342" y="4041"/>
                  </a:lnTo>
                  <a:lnTo>
                    <a:pt x="1294" y="4076"/>
                  </a:lnTo>
                  <a:lnTo>
                    <a:pt x="1294" y="4104"/>
                  </a:lnTo>
                  <a:lnTo>
                    <a:pt x="1349" y="4139"/>
                  </a:lnTo>
                  <a:lnTo>
                    <a:pt x="1356" y="4166"/>
                  </a:lnTo>
                  <a:lnTo>
                    <a:pt x="1328" y="4236"/>
                  </a:lnTo>
                  <a:lnTo>
                    <a:pt x="1349" y="4257"/>
                  </a:lnTo>
                  <a:lnTo>
                    <a:pt x="1315" y="4264"/>
                  </a:lnTo>
                  <a:lnTo>
                    <a:pt x="1315" y="4278"/>
                  </a:lnTo>
                  <a:lnTo>
                    <a:pt x="1252" y="4278"/>
                  </a:lnTo>
                  <a:lnTo>
                    <a:pt x="1245" y="4257"/>
                  </a:lnTo>
                  <a:lnTo>
                    <a:pt x="1210" y="4201"/>
                  </a:lnTo>
                  <a:lnTo>
                    <a:pt x="1217" y="4271"/>
                  </a:lnTo>
                  <a:lnTo>
                    <a:pt x="1155" y="4264"/>
                  </a:lnTo>
                  <a:lnTo>
                    <a:pt x="1155" y="4257"/>
                  </a:lnTo>
                  <a:lnTo>
                    <a:pt x="1155" y="4201"/>
                  </a:lnTo>
                  <a:lnTo>
                    <a:pt x="1169" y="4111"/>
                  </a:lnTo>
                  <a:lnTo>
                    <a:pt x="1113" y="4083"/>
                  </a:lnTo>
                  <a:lnTo>
                    <a:pt x="1113" y="4034"/>
                  </a:lnTo>
                  <a:lnTo>
                    <a:pt x="1092" y="4014"/>
                  </a:lnTo>
                  <a:lnTo>
                    <a:pt x="1071" y="3979"/>
                  </a:lnTo>
                  <a:lnTo>
                    <a:pt x="1071" y="3986"/>
                  </a:lnTo>
                  <a:lnTo>
                    <a:pt x="1002" y="4000"/>
                  </a:lnTo>
                  <a:lnTo>
                    <a:pt x="981" y="3972"/>
                  </a:lnTo>
                  <a:lnTo>
                    <a:pt x="960" y="3979"/>
                  </a:lnTo>
                  <a:lnTo>
                    <a:pt x="932" y="3979"/>
                  </a:lnTo>
                  <a:lnTo>
                    <a:pt x="925" y="3944"/>
                  </a:lnTo>
                  <a:lnTo>
                    <a:pt x="897" y="3909"/>
                  </a:lnTo>
                  <a:lnTo>
                    <a:pt x="932" y="3874"/>
                  </a:lnTo>
                  <a:lnTo>
                    <a:pt x="918" y="3839"/>
                  </a:lnTo>
                  <a:lnTo>
                    <a:pt x="897" y="3833"/>
                  </a:lnTo>
                  <a:lnTo>
                    <a:pt x="862" y="3819"/>
                  </a:lnTo>
                  <a:lnTo>
                    <a:pt x="862" y="3805"/>
                  </a:lnTo>
                  <a:lnTo>
                    <a:pt x="855" y="3798"/>
                  </a:lnTo>
                  <a:lnTo>
                    <a:pt x="807" y="3756"/>
                  </a:lnTo>
                  <a:lnTo>
                    <a:pt x="800" y="3735"/>
                  </a:lnTo>
                  <a:lnTo>
                    <a:pt x="765" y="3701"/>
                  </a:lnTo>
                  <a:lnTo>
                    <a:pt x="772" y="3680"/>
                  </a:lnTo>
                  <a:lnTo>
                    <a:pt x="786" y="3673"/>
                  </a:lnTo>
                  <a:lnTo>
                    <a:pt x="786" y="3645"/>
                  </a:lnTo>
                  <a:lnTo>
                    <a:pt x="758" y="3610"/>
                  </a:lnTo>
                  <a:lnTo>
                    <a:pt x="723" y="3610"/>
                  </a:lnTo>
                  <a:lnTo>
                    <a:pt x="696" y="3617"/>
                  </a:lnTo>
                  <a:lnTo>
                    <a:pt x="675" y="3603"/>
                  </a:lnTo>
                  <a:lnTo>
                    <a:pt x="654" y="3547"/>
                  </a:lnTo>
                  <a:lnTo>
                    <a:pt x="654" y="3492"/>
                  </a:lnTo>
                  <a:lnTo>
                    <a:pt x="640" y="3485"/>
                  </a:lnTo>
                  <a:lnTo>
                    <a:pt x="654" y="3478"/>
                  </a:lnTo>
                  <a:lnTo>
                    <a:pt x="640" y="3471"/>
                  </a:lnTo>
                  <a:lnTo>
                    <a:pt x="633" y="3471"/>
                  </a:lnTo>
                  <a:lnTo>
                    <a:pt x="633" y="3450"/>
                  </a:lnTo>
                  <a:lnTo>
                    <a:pt x="605" y="3457"/>
                  </a:lnTo>
                  <a:lnTo>
                    <a:pt x="598" y="3478"/>
                  </a:lnTo>
                  <a:lnTo>
                    <a:pt x="591" y="3457"/>
                  </a:lnTo>
                  <a:lnTo>
                    <a:pt x="556" y="3478"/>
                  </a:lnTo>
                  <a:lnTo>
                    <a:pt x="529" y="3485"/>
                  </a:lnTo>
                  <a:lnTo>
                    <a:pt x="515" y="3478"/>
                  </a:lnTo>
                  <a:lnTo>
                    <a:pt x="515" y="3492"/>
                  </a:lnTo>
                  <a:lnTo>
                    <a:pt x="501" y="3492"/>
                  </a:lnTo>
                  <a:lnTo>
                    <a:pt x="508" y="3513"/>
                  </a:lnTo>
                  <a:lnTo>
                    <a:pt x="480" y="3506"/>
                  </a:lnTo>
                  <a:lnTo>
                    <a:pt x="494" y="3513"/>
                  </a:lnTo>
                  <a:lnTo>
                    <a:pt x="480" y="3526"/>
                  </a:lnTo>
                  <a:lnTo>
                    <a:pt x="445" y="3526"/>
                  </a:lnTo>
                  <a:lnTo>
                    <a:pt x="459" y="3547"/>
                  </a:lnTo>
                  <a:lnTo>
                    <a:pt x="431" y="3554"/>
                  </a:lnTo>
                  <a:lnTo>
                    <a:pt x="403" y="3554"/>
                  </a:lnTo>
                  <a:lnTo>
                    <a:pt x="403" y="3526"/>
                  </a:lnTo>
                  <a:lnTo>
                    <a:pt x="368" y="3526"/>
                  </a:lnTo>
                  <a:lnTo>
                    <a:pt x="334" y="3492"/>
                  </a:lnTo>
                  <a:lnTo>
                    <a:pt x="334" y="3513"/>
                  </a:lnTo>
                  <a:lnTo>
                    <a:pt x="306" y="3526"/>
                  </a:lnTo>
                  <a:lnTo>
                    <a:pt x="250" y="3506"/>
                  </a:lnTo>
                  <a:lnTo>
                    <a:pt x="229" y="3478"/>
                  </a:lnTo>
                  <a:lnTo>
                    <a:pt x="236" y="3443"/>
                  </a:lnTo>
                  <a:lnTo>
                    <a:pt x="229" y="3443"/>
                  </a:lnTo>
                  <a:lnTo>
                    <a:pt x="229" y="3422"/>
                  </a:lnTo>
                  <a:lnTo>
                    <a:pt x="236" y="3415"/>
                  </a:lnTo>
                  <a:lnTo>
                    <a:pt x="215" y="3387"/>
                  </a:lnTo>
                  <a:lnTo>
                    <a:pt x="188" y="3380"/>
                  </a:lnTo>
                  <a:lnTo>
                    <a:pt x="188" y="3374"/>
                  </a:lnTo>
                  <a:lnTo>
                    <a:pt x="181" y="3353"/>
                  </a:lnTo>
                  <a:lnTo>
                    <a:pt x="174" y="3346"/>
                  </a:lnTo>
                  <a:lnTo>
                    <a:pt x="181" y="3311"/>
                  </a:lnTo>
                  <a:lnTo>
                    <a:pt x="146" y="3290"/>
                  </a:lnTo>
                  <a:lnTo>
                    <a:pt x="139" y="3255"/>
                  </a:lnTo>
                  <a:lnTo>
                    <a:pt x="76" y="3228"/>
                  </a:lnTo>
                  <a:lnTo>
                    <a:pt x="83" y="3220"/>
                  </a:lnTo>
                  <a:lnTo>
                    <a:pt x="76" y="3207"/>
                  </a:lnTo>
                  <a:lnTo>
                    <a:pt x="69" y="3179"/>
                  </a:lnTo>
                  <a:lnTo>
                    <a:pt x="132" y="3130"/>
                  </a:lnTo>
                  <a:lnTo>
                    <a:pt x="118" y="3123"/>
                  </a:lnTo>
                  <a:lnTo>
                    <a:pt x="83" y="3123"/>
                  </a:lnTo>
                  <a:lnTo>
                    <a:pt x="76" y="3144"/>
                  </a:lnTo>
                  <a:lnTo>
                    <a:pt x="41" y="3151"/>
                  </a:lnTo>
                  <a:lnTo>
                    <a:pt x="35" y="3144"/>
                  </a:lnTo>
                  <a:lnTo>
                    <a:pt x="35" y="3130"/>
                  </a:lnTo>
                  <a:lnTo>
                    <a:pt x="69" y="3123"/>
                  </a:lnTo>
                  <a:lnTo>
                    <a:pt x="35" y="3081"/>
                  </a:lnTo>
                  <a:lnTo>
                    <a:pt x="56" y="3067"/>
                  </a:lnTo>
                  <a:lnTo>
                    <a:pt x="48" y="3053"/>
                  </a:lnTo>
                  <a:lnTo>
                    <a:pt x="41" y="3053"/>
                  </a:lnTo>
                  <a:lnTo>
                    <a:pt x="83" y="3047"/>
                  </a:lnTo>
                  <a:lnTo>
                    <a:pt x="41" y="3033"/>
                  </a:lnTo>
                  <a:lnTo>
                    <a:pt x="35" y="3019"/>
                  </a:lnTo>
                  <a:lnTo>
                    <a:pt x="48" y="3033"/>
                  </a:lnTo>
                  <a:lnTo>
                    <a:pt x="69" y="3019"/>
                  </a:lnTo>
                  <a:lnTo>
                    <a:pt x="48" y="2998"/>
                  </a:lnTo>
                  <a:lnTo>
                    <a:pt x="48" y="2963"/>
                  </a:lnTo>
                  <a:lnTo>
                    <a:pt x="14" y="2977"/>
                  </a:lnTo>
                  <a:lnTo>
                    <a:pt x="21" y="2949"/>
                  </a:lnTo>
                  <a:lnTo>
                    <a:pt x="0" y="2928"/>
                  </a:lnTo>
                  <a:lnTo>
                    <a:pt x="14" y="2894"/>
                  </a:lnTo>
                  <a:lnTo>
                    <a:pt x="56" y="2886"/>
                  </a:lnTo>
                  <a:lnTo>
                    <a:pt x="41" y="2824"/>
                  </a:lnTo>
                  <a:lnTo>
                    <a:pt x="83" y="2789"/>
                  </a:lnTo>
                  <a:lnTo>
                    <a:pt x="104" y="2817"/>
                  </a:lnTo>
                  <a:lnTo>
                    <a:pt x="146" y="2817"/>
                  </a:lnTo>
                  <a:lnTo>
                    <a:pt x="181" y="2796"/>
                  </a:lnTo>
                  <a:lnTo>
                    <a:pt x="202" y="2796"/>
                  </a:lnTo>
                  <a:lnTo>
                    <a:pt x="208" y="2824"/>
                  </a:lnTo>
                  <a:lnTo>
                    <a:pt x="208" y="2831"/>
                  </a:lnTo>
                  <a:lnTo>
                    <a:pt x="250" y="2866"/>
                  </a:lnTo>
                  <a:lnTo>
                    <a:pt x="250" y="2886"/>
                  </a:lnTo>
                  <a:lnTo>
                    <a:pt x="250" y="2914"/>
                  </a:lnTo>
                  <a:lnTo>
                    <a:pt x="264" y="2928"/>
                  </a:lnTo>
                  <a:lnTo>
                    <a:pt x="306" y="2935"/>
                  </a:lnTo>
                  <a:lnTo>
                    <a:pt x="334" y="2914"/>
                  </a:lnTo>
                  <a:lnTo>
                    <a:pt x="334" y="2921"/>
                  </a:lnTo>
                  <a:lnTo>
                    <a:pt x="348" y="2921"/>
                  </a:lnTo>
                  <a:lnTo>
                    <a:pt x="368" y="2838"/>
                  </a:lnTo>
                  <a:lnTo>
                    <a:pt x="396" y="2852"/>
                  </a:lnTo>
                  <a:lnTo>
                    <a:pt x="431" y="2803"/>
                  </a:lnTo>
                  <a:lnTo>
                    <a:pt x="431" y="2796"/>
                  </a:lnTo>
                  <a:lnTo>
                    <a:pt x="382" y="2789"/>
                  </a:lnTo>
                  <a:lnTo>
                    <a:pt x="362" y="2754"/>
                  </a:lnTo>
                  <a:lnTo>
                    <a:pt x="362" y="2747"/>
                  </a:lnTo>
                  <a:lnTo>
                    <a:pt x="375" y="2754"/>
                  </a:lnTo>
                  <a:lnTo>
                    <a:pt x="431" y="2754"/>
                  </a:lnTo>
                  <a:lnTo>
                    <a:pt x="438" y="2727"/>
                  </a:lnTo>
                  <a:lnTo>
                    <a:pt x="494" y="2747"/>
                  </a:lnTo>
                  <a:lnTo>
                    <a:pt x="529" y="2720"/>
                  </a:lnTo>
                  <a:lnTo>
                    <a:pt x="535" y="2727"/>
                  </a:lnTo>
                  <a:lnTo>
                    <a:pt x="563" y="2720"/>
                  </a:lnTo>
                  <a:lnTo>
                    <a:pt x="556" y="2699"/>
                  </a:lnTo>
                  <a:lnTo>
                    <a:pt x="529" y="2657"/>
                  </a:lnTo>
                  <a:lnTo>
                    <a:pt x="535" y="2629"/>
                  </a:lnTo>
                  <a:lnTo>
                    <a:pt x="515" y="2629"/>
                  </a:lnTo>
                  <a:lnTo>
                    <a:pt x="508" y="2636"/>
                  </a:lnTo>
                  <a:lnTo>
                    <a:pt x="494" y="2573"/>
                  </a:lnTo>
                  <a:lnTo>
                    <a:pt x="480" y="2567"/>
                  </a:lnTo>
                  <a:lnTo>
                    <a:pt x="473" y="2567"/>
                  </a:lnTo>
                  <a:lnTo>
                    <a:pt x="473" y="2560"/>
                  </a:lnTo>
                  <a:lnTo>
                    <a:pt x="473" y="2518"/>
                  </a:lnTo>
                  <a:lnTo>
                    <a:pt x="466" y="2518"/>
                  </a:lnTo>
                  <a:lnTo>
                    <a:pt x="445" y="2518"/>
                  </a:lnTo>
                  <a:lnTo>
                    <a:pt x="424" y="2490"/>
                  </a:lnTo>
                  <a:lnTo>
                    <a:pt x="362" y="2469"/>
                  </a:lnTo>
                  <a:lnTo>
                    <a:pt x="348" y="2434"/>
                  </a:lnTo>
                  <a:lnTo>
                    <a:pt x="362" y="2421"/>
                  </a:lnTo>
                  <a:lnTo>
                    <a:pt x="341" y="2393"/>
                  </a:lnTo>
                  <a:lnTo>
                    <a:pt x="334" y="2365"/>
                  </a:lnTo>
                  <a:lnTo>
                    <a:pt x="334" y="2358"/>
                  </a:lnTo>
                  <a:lnTo>
                    <a:pt x="334" y="2344"/>
                  </a:lnTo>
                  <a:lnTo>
                    <a:pt x="313" y="2309"/>
                  </a:lnTo>
                  <a:lnTo>
                    <a:pt x="334" y="2274"/>
                  </a:lnTo>
                  <a:lnTo>
                    <a:pt x="313" y="2240"/>
                  </a:lnTo>
                  <a:lnTo>
                    <a:pt x="299" y="2226"/>
                  </a:lnTo>
                  <a:lnTo>
                    <a:pt x="264" y="2212"/>
                  </a:lnTo>
                  <a:lnTo>
                    <a:pt x="264" y="2191"/>
                  </a:lnTo>
                  <a:lnTo>
                    <a:pt x="271" y="2170"/>
                  </a:lnTo>
                  <a:lnTo>
                    <a:pt x="299" y="2191"/>
                  </a:lnTo>
                  <a:lnTo>
                    <a:pt x="306" y="2177"/>
                  </a:lnTo>
                  <a:lnTo>
                    <a:pt x="278" y="2135"/>
                  </a:lnTo>
                  <a:lnTo>
                    <a:pt x="285" y="2100"/>
                  </a:lnTo>
                  <a:lnTo>
                    <a:pt x="243" y="2100"/>
                  </a:lnTo>
                  <a:lnTo>
                    <a:pt x="229" y="2080"/>
                  </a:lnTo>
                  <a:lnTo>
                    <a:pt x="229" y="2066"/>
                  </a:lnTo>
                  <a:lnTo>
                    <a:pt x="243" y="2010"/>
                  </a:lnTo>
                  <a:lnTo>
                    <a:pt x="229" y="1996"/>
                  </a:lnTo>
                  <a:lnTo>
                    <a:pt x="146" y="1975"/>
                  </a:lnTo>
                  <a:lnTo>
                    <a:pt x="132" y="1934"/>
                  </a:lnTo>
                  <a:lnTo>
                    <a:pt x="83" y="1878"/>
                  </a:lnTo>
                  <a:lnTo>
                    <a:pt x="76" y="1843"/>
                  </a:lnTo>
                  <a:lnTo>
                    <a:pt x="83" y="1829"/>
                  </a:lnTo>
                  <a:lnTo>
                    <a:pt x="118" y="1787"/>
                  </a:lnTo>
                  <a:lnTo>
                    <a:pt x="146" y="1746"/>
                  </a:lnTo>
                  <a:lnTo>
                    <a:pt x="146" y="1739"/>
                  </a:lnTo>
                  <a:lnTo>
                    <a:pt x="146" y="1732"/>
                  </a:lnTo>
                  <a:lnTo>
                    <a:pt x="146" y="1704"/>
                  </a:lnTo>
                  <a:lnTo>
                    <a:pt x="139" y="1690"/>
                  </a:lnTo>
                  <a:lnTo>
                    <a:pt x="104" y="1614"/>
                  </a:lnTo>
                  <a:lnTo>
                    <a:pt x="167" y="1537"/>
                  </a:lnTo>
                  <a:lnTo>
                    <a:pt x="250" y="1454"/>
                  </a:lnTo>
                  <a:lnTo>
                    <a:pt x="285" y="1419"/>
                  </a:lnTo>
                  <a:lnTo>
                    <a:pt x="313" y="1391"/>
                  </a:lnTo>
                  <a:lnTo>
                    <a:pt x="327" y="1384"/>
                  </a:lnTo>
                  <a:lnTo>
                    <a:pt x="341" y="1370"/>
                  </a:lnTo>
                  <a:lnTo>
                    <a:pt x="368" y="1321"/>
                  </a:lnTo>
                  <a:lnTo>
                    <a:pt x="368" y="1314"/>
                  </a:lnTo>
                  <a:lnTo>
                    <a:pt x="368" y="1308"/>
                  </a:lnTo>
                  <a:lnTo>
                    <a:pt x="362" y="1308"/>
                  </a:lnTo>
                  <a:lnTo>
                    <a:pt x="341" y="1231"/>
                  </a:lnTo>
                  <a:lnTo>
                    <a:pt x="341" y="1182"/>
                  </a:lnTo>
                  <a:lnTo>
                    <a:pt x="348" y="1175"/>
                  </a:lnTo>
                  <a:lnTo>
                    <a:pt x="396" y="1120"/>
                  </a:lnTo>
                  <a:lnTo>
                    <a:pt x="431" y="1161"/>
                  </a:lnTo>
                  <a:lnTo>
                    <a:pt x="466" y="1182"/>
                  </a:lnTo>
                  <a:lnTo>
                    <a:pt x="508" y="1175"/>
                  </a:lnTo>
                  <a:lnTo>
                    <a:pt x="563" y="1217"/>
                  </a:lnTo>
                  <a:lnTo>
                    <a:pt x="570" y="1217"/>
                  </a:lnTo>
                  <a:lnTo>
                    <a:pt x="563" y="1280"/>
                  </a:lnTo>
                  <a:lnTo>
                    <a:pt x="542" y="1273"/>
                  </a:lnTo>
                  <a:lnTo>
                    <a:pt x="535" y="1294"/>
                  </a:lnTo>
                  <a:lnTo>
                    <a:pt x="535" y="1314"/>
                  </a:lnTo>
                  <a:lnTo>
                    <a:pt x="501" y="1342"/>
                  </a:lnTo>
                  <a:lnTo>
                    <a:pt x="473" y="1384"/>
                  </a:lnTo>
                  <a:lnTo>
                    <a:pt x="459" y="1412"/>
                  </a:lnTo>
                  <a:lnTo>
                    <a:pt x="515" y="1412"/>
                  </a:lnTo>
                  <a:lnTo>
                    <a:pt x="556" y="1426"/>
                  </a:lnTo>
                  <a:lnTo>
                    <a:pt x="563" y="1440"/>
                  </a:lnTo>
                  <a:lnTo>
                    <a:pt x="626" y="1481"/>
                  </a:lnTo>
                  <a:lnTo>
                    <a:pt x="640" y="1474"/>
                  </a:lnTo>
                  <a:lnTo>
                    <a:pt x="654" y="1544"/>
                  </a:lnTo>
                  <a:lnTo>
                    <a:pt x="668" y="1558"/>
                  </a:lnTo>
                  <a:lnTo>
                    <a:pt x="696" y="1606"/>
                  </a:lnTo>
                  <a:lnTo>
                    <a:pt x="696" y="1614"/>
                  </a:lnTo>
                  <a:lnTo>
                    <a:pt x="709" y="1669"/>
                  </a:lnTo>
                  <a:lnTo>
                    <a:pt x="723" y="1669"/>
                  </a:lnTo>
                  <a:lnTo>
                    <a:pt x="675" y="1732"/>
                  </a:lnTo>
                  <a:lnTo>
                    <a:pt x="668" y="1753"/>
                  </a:lnTo>
                  <a:lnTo>
                    <a:pt x="696" y="1746"/>
                  </a:lnTo>
                  <a:lnTo>
                    <a:pt x="744" y="1732"/>
                  </a:lnTo>
                  <a:lnTo>
                    <a:pt x="758" y="1739"/>
                  </a:lnTo>
                  <a:lnTo>
                    <a:pt x="765" y="1753"/>
                  </a:lnTo>
                  <a:lnTo>
                    <a:pt x="807" y="1746"/>
                  </a:lnTo>
                  <a:lnTo>
                    <a:pt x="807" y="1767"/>
                  </a:lnTo>
                  <a:lnTo>
                    <a:pt x="835" y="1781"/>
                  </a:lnTo>
                  <a:lnTo>
                    <a:pt x="855" y="1773"/>
                  </a:lnTo>
                  <a:lnTo>
                    <a:pt x="869" y="1773"/>
                  </a:lnTo>
                  <a:lnTo>
                    <a:pt x="883" y="1732"/>
                  </a:lnTo>
                  <a:lnTo>
                    <a:pt x="897" y="1711"/>
                  </a:lnTo>
                  <a:lnTo>
                    <a:pt x="918" y="1655"/>
                  </a:lnTo>
                  <a:lnTo>
                    <a:pt x="939" y="1641"/>
                  </a:lnTo>
                  <a:lnTo>
                    <a:pt x="960" y="1606"/>
                  </a:lnTo>
                  <a:lnTo>
                    <a:pt x="939" y="1600"/>
                  </a:lnTo>
                  <a:lnTo>
                    <a:pt x="939" y="1586"/>
                  </a:lnTo>
                  <a:lnTo>
                    <a:pt x="897" y="1558"/>
                  </a:lnTo>
                  <a:lnTo>
                    <a:pt x="862" y="1544"/>
                  </a:lnTo>
                  <a:lnTo>
                    <a:pt x="855" y="1523"/>
                  </a:lnTo>
                  <a:lnTo>
                    <a:pt x="842" y="1502"/>
                  </a:lnTo>
                  <a:lnTo>
                    <a:pt x="842" y="1481"/>
                  </a:lnTo>
                  <a:lnTo>
                    <a:pt x="807" y="1454"/>
                  </a:lnTo>
                  <a:lnTo>
                    <a:pt x="807" y="1440"/>
                  </a:lnTo>
                  <a:lnTo>
                    <a:pt x="862" y="1405"/>
                  </a:lnTo>
                  <a:lnTo>
                    <a:pt x="835" y="1328"/>
                  </a:lnTo>
                  <a:lnTo>
                    <a:pt x="842" y="1280"/>
                  </a:lnTo>
                  <a:lnTo>
                    <a:pt x="939" y="1245"/>
                  </a:lnTo>
                  <a:lnTo>
                    <a:pt x="967" y="1196"/>
                  </a:lnTo>
                  <a:lnTo>
                    <a:pt x="953" y="1120"/>
                  </a:lnTo>
                  <a:lnTo>
                    <a:pt x="1002" y="1092"/>
                  </a:lnTo>
                  <a:lnTo>
                    <a:pt x="1015" y="1092"/>
                  </a:lnTo>
                  <a:lnTo>
                    <a:pt x="1057" y="1043"/>
                  </a:lnTo>
                  <a:lnTo>
                    <a:pt x="1099" y="1015"/>
                  </a:lnTo>
                  <a:lnTo>
                    <a:pt x="1120" y="1015"/>
                  </a:lnTo>
                  <a:lnTo>
                    <a:pt x="1148" y="981"/>
                  </a:lnTo>
                  <a:lnTo>
                    <a:pt x="1155" y="925"/>
                  </a:lnTo>
                  <a:lnTo>
                    <a:pt x="1182" y="911"/>
                  </a:lnTo>
                  <a:lnTo>
                    <a:pt x="1189" y="883"/>
                  </a:lnTo>
                  <a:lnTo>
                    <a:pt x="1224" y="869"/>
                  </a:lnTo>
                  <a:lnTo>
                    <a:pt x="1231" y="814"/>
                  </a:lnTo>
                  <a:lnTo>
                    <a:pt x="1287" y="730"/>
                  </a:lnTo>
                  <a:lnTo>
                    <a:pt x="1294" y="695"/>
                  </a:lnTo>
                  <a:lnTo>
                    <a:pt x="1301" y="668"/>
                  </a:lnTo>
                  <a:lnTo>
                    <a:pt x="1301" y="626"/>
                  </a:lnTo>
                  <a:lnTo>
                    <a:pt x="1280" y="591"/>
                  </a:lnTo>
                  <a:lnTo>
                    <a:pt x="1287" y="535"/>
                  </a:lnTo>
                  <a:lnTo>
                    <a:pt x="1280" y="521"/>
                  </a:lnTo>
                  <a:lnTo>
                    <a:pt x="1266" y="466"/>
                  </a:lnTo>
                  <a:lnTo>
                    <a:pt x="1231" y="452"/>
                  </a:lnTo>
                  <a:lnTo>
                    <a:pt x="1224" y="403"/>
                  </a:lnTo>
                  <a:lnTo>
                    <a:pt x="1259" y="389"/>
                  </a:lnTo>
                  <a:lnTo>
                    <a:pt x="1280" y="306"/>
                  </a:lnTo>
                  <a:lnTo>
                    <a:pt x="1315" y="292"/>
                  </a:lnTo>
                  <a:lnTo>
                    <a:pt x="1426" y="278"/>
                  </a:lnTo>
                  <a:lnTo>
                    <a:pt x="1419" y="299"/>
                  </a:lnTo>
                  <a:lnTo>
                    <a:pt x="1454" y="334"/>
                  </a:lnTo>
                  <a:lnTo>
                    <a:pt x="1488" y="361"/>
                  </a:lnTo>
                  <a:lnTo>
                    <a:pt x="1516" y="327"/>
                  </a:lnTo>
                  <a:lnTo>
                    <a:pt x="1544" y="292"/>
                  </a:lnTo>
                  <a:lnTo>
                    <a:pt x="1579" y="278"/>
                  </a:lnTo>
                  <a:lnTo>
                    <a:pt x="1586" y="361"/>
                  </a:lnTo>
                  <a:lnTo>
                    <a:pt x="1579" y="487"/>
                  </a:lnTo>
                  <a:lnTo>
                    <a:pt x="1586" y="549"/>
                  </a:lnTo>
                  <a:lnTo>
                    <a:pt x="1586" y="570"/>
                  </a:lnTo>
                  <a:lnTo>
                    <a:pt x="1621" y="584"/>
                  </a:lnTo>
                  <a:lnTo>
                    <a:pt x="1655" y="626"/>
                  </a:lnTo>
                  <a:lnTo>
                    <a:pt x="1704" y="702"/>
                  </a:lnTo>
                  <a:lnTo>
                    <a:pt x="1718" y="723"/>
                  </a:lnTo>
                  <a:lnTo>
                    <a:pt x="1746" y="723"/>
                  </a:lnTo>
                  <a:lnTo>
                    <a:pt x="1781" y="737"/>
                  </a:lnTo>
                  <a:lnTo>
                    <a:pt x="1878" y="751"/>
                  </a:lnTo>
                  <a:lnTo>
                    <a:pt x="1941" y="730"/>
                  </a:lnTo>
                  <a:lnTo>
                    <a:pt x="1996" y="737"/>
                  </a:lnTo>
                  <a:lnTo>
                    <a:pt x="2010" y="681"/>
                  </a:lnTo>
                  <a:lnTo>
                    <a:pt x="2010" y="660"/>
                  </a:lnTo>
                  <a:lnTo>
                    <a:pt x="2031" y="626"/>
                  </a:lnTo>
                  <a:lnTo>
                    <a:pt x="2045" y="626"/>
                  </a:lnTo>
                  <a:lnTo>
                    <a:pt x="2101" y="654"/>
                  </a:lnTo>
                  <a:lnTo>
                    <a:pt x="2170" y="619"/>
                  </a:lnTo>
                  <a:lnTo>
                    <a:pt x="2198" y="591"/>
                  </a:lnTo>
                  <a:lnTo>
                    <a:pt x="2268" y="584"/>
                  </a:lnTo>
                  <a:lnTo>
                    <a:pt x="2309" y="556"/>
                  </a:lnTo>
                  <a:lnTo>
                    <a:pt x="2337" y="584"/>
                  </a:lnTo>
                  <a:lnTo>
                    <a:pt x="2379" y="556"/>
                  </a:lnTo>
                  <a:lnTo>
                    <a:pt x="2435" y="619"/>
                  </a:lnTo>
                  <a:lnTo>
                    <a:pt x="2455" y="626"/>
                  </a:lnTo>
                  <a:lnTo>
                    <a:pt x="2441" y="688"/>
                  </a:lnTo>
                  <a:lnTo>
                    <a:pt x="2462" y="702"/>
                  </a:lnTo>
                  <a:lnTo>
                    <a:pt x="2455" y="758"/>
                  </a:lnTo>
                  <a:lnTo>
                    <a:pt x="2462" y="765"/>
                  </a:lnTo>
                  <a:lnTo>
                    <a:pt x="2546" y="814"/>
                  </a:lnTo>
                  <a:lnTo>
                    <a:pt x="2546" y="869"/>
                  </a:lnTo>
                  <a:lnTo>
                    <a:pt x="2539" y="890"/>
                  </a:lnTo>
                  <a:lnTo>
                    <a:pt x="2587" y="911"/>
                  </a:lnTo>
                  <a:lnTo>
                    <a:pt x="2622" y="883"/>
                  </a:lnTo>
                  <a:lnTo>
                    <a:pt x="2629" y="890"/>
                  </a:lnTo>
                  <a:lnTo>
                    <a:pt x="2685" y="890"/>
                  </a:lnTo>
                  <a:lnTo>
                    <a:pt x="2755" y="820"/>
                  </a:lnTo>
                  <a:lnTo>
                    <a:pt x="2734" y="786"/>
                  </a:lnTo>
                  <a:lnTo>
                    <a:pt x="2727" y="779"/>
                  </a:lnTo>
                  <a:lnTo>
                    <a:pt x="2692" y="716"/>
                  </a:lnTo>
                  <a:lnTo>
                    <a:pt x="2643" y="681"/>
                  </a:lnTo>
                  <a:lnTo>
                    <a:pt x="2636" y="640"/>
                  </a:lnTo>
                  <a:lnTo>
                    <a:pt x="2643" y="619"/>
                  </a:lnTo>
                  <a:lnTo>
                    <a:pt x="2671" y="591"/>
                  </a:lnTo>
                  <a:lnTo>
                    <a:pt x="2685" y="556"/>
                  </a:lnTo>
                  <a:lnTo>
                    <a:pt x="2727" y="535"/>
                  </a:lnTo>
                  <a:lnTo>
                    <a:pt x="2734" y="493"/>
                  </a:lnTo>
                  <a:lnTo>
                    <a:pt x="2720" y="473"/>
                  </a:lnTo>
                  <a:lnTo>
                    <a:pt x="2706" y="459"/>
                  </a:lnTo>
                  <a:lnTo>
                    <a:pt x="2685" y="438"/>
                  </a:lnTo>
                  <a:lnTo>
                    <a:pt x="2629" y="466"/>
                  </a:lnTo>
                  <a:lnTo>
                    <a:pt x="2574" y="459"/>
                  </a:lnTo>
                  <a:lnTo>
                    <a:pt x="2560" y="431"/>
                  </a:lnTo>
                  <a:lnTo>
                    <a:pt x="2532" y="424"/>
                  </a:lnTo>
                  <a:lnTo>
                    <a:pt x="2539" y="389"/>
                  </a:lnTo>
                  <a:lnTo>
                    <a:pt x="2539" y="292"/>
                  </a:lnTo>
                  <a:lnTo>
                    <a:pt x="2539" y="264"/>
                  </a:lnTo>
                  <a:lnTo>
                    <a:pt x="2532" y="208"/>
                  </a:lnTo>
                  <a:lnTo>
                    <a:pt x="2595" y="160"/>
                  </a:lnTo>
                  <a:lnTo>
                    <a:pt x="2595" y="132"/>
                  </a:lnTo>
                  <a:lnTo>
                    <a:pt x="2622" y="125"/>
                  </a:lnTo>
                  <a:lnTo>
                    <a:pt x="2629" y="48"/>
                  </a:lnTo>
                  <a:lnTo>
                    <a:pt x="2657" y="48"/>
                  </a:lnTo>
                  <a:lnTo>
                    <a:pt x="2762" y="14"/>
                  </a:lnTo>
                  <a:lnTo>
                    <a:pt x="2817" y="28"/>
                  </a:lnTo>
                  <a:lnTo>
                    <a:pt x="2852" y="0"/>
                  </a:lnTo>
                  <a:lnTo>
                    <a:pt x="2887" y="41"/>
                  </a:lnTo>
                  <a:lnTo>
                    <a:pt x="2859" y="90"/>
                  </a:lnTo>
                  <a:lnTo>
                    <a:pt x="2873" y="132"/>
                  </a:lnTo>
                  <a:lnTo>
                    <a:pt x="2914" y="132"/>
                  </a:lnTo>
                  <a:lnTo>
                    <a:pt x="2956" y="167"/>
                  </a:lnTo>
                  <a:lnTo>
                    <a:pt x="2963" y="180"/>
                  </a:lnTo>
                  <a:lnTo>
                    <a:pt x="3012" y="180"/>
                  </a:lnTo>
                  <a:lnTo>
                    <a:pt x="3026" y="195"/>
                  </a:lnTo>
                  <a:lnTo>
                    <a:pt x="3054" y="167"/>
                  </a:lnTo>
                  <a:lnTo>
                    <a:pt x="3130" y="195"/>
                  </a:lnTo>
                  <a:lnTo>
                    <a:pt x="3158" y="180"/>
                  </a:lnTo>
                  <a:lnTo>
                    <a:pt x="3179" y="201"/>
                  </a:lnTo>
                  <a:lnTo>
                    <a:pt x="3200" y="222"/>
                  </a:lnTo>
                  <a:lnTo>
                    <a:pt x="3214" y="264"/>
                  </a:lnTo>
                  <a:lnTo>
                    <a:pt x="3248" y="299"/>
                  </a:lnTo>
                  <a:lnTo>
                    <a:pt x="3332" y="299"/>
                  </a:lnTo>
                  <a:lnTo>
                    <a:pt x="3381" y="327"/>
                  </a:lnTo>
                  <a:lnTo>
                    <a:pt x="3450" y="361"/>
                  </a:lnTo>
                  <a:lnTo>
                    <a:pt x="3492" y="403"/>
                  </a:lnTo>
                  <a:lnTo>
                    <a:pt x="3485" y="459"/>
                  </a:lnTo>
                  <a:lnTo>
                    <a:pt x="3506" y="493"/>
                  </a:lnTo>
                  <a:lnTo>
                    <a:pt x="3471" y="556"/>
                  </a:lnTo>
                  <a:lnTo>
                    <a:pt x="3408" y="563"/>
                  </a:lnTo>
                  <a:lnTo>
                    <a:pt x="3360" y="584"/>
                  </a:lnTo>
                  <a:lnTo>
                    <a:pt x="3360" y="598"/>
                  </a:lnTo>
                  <a:lnTo>
                    <a:pt x="3332" y="605"/>
                  </a:lnTo>
                  <a:lnTo>
                    <a:pt x="3318" y="633"/>
                  </a:lnTo>
                  <a:lnTo>
                    <a:pt x="3395" y="681"/>
                  </a:lnTo>
                  <a:lnTo>
                    <a:pt x="3415" y="730"/>
                  </a:lnTo>
                  <a:lnTo>
                    <a:pt x="3388" y="765"/>
                  </a:lnTo>
                  <a:lnTo>
                    <a:pt x="3415" y="800"/>
                  </a:lnTo>
                  <a:lnTo>
                    <a:pt x="3422" y="855"/>
                  </a:lnTo>
                  <a:lnTo>
                    <a:pt x="3408" y="890"/>
                  </a:lnTo>
                  <a:lnTo>
                    <a:pt x="3408" y="897"/>
                  </a:lnTo>
                  <a:lnTo>
                    <a:pt x="3360" y="981"/>
                  </a:lnTo>
                  <a:lnTo>
                    <a:pt x="3388" y="1029"/>
                  </a:lnTo>
                  <a:lnTo>
                    <a:pt x="3381" y="1064"/>
                  </a:lnTo>
                  <a:lnTo>
                    <a:pt x="3353" y="1175"/>
                  </a:lnTo>
                  <a:lnTo>
                    <a:pt x="3297" y="1224"/>
                  </a:lnTo>
                  <a:lnTo>
                    <a:pt x="3262" y="1259"/>
                  </a:lnTo>
                  <a:lnTo>
                    <a:pt x="3262" y="1321"/>
                  </a:lnTo>
                  <a:lnTo>
                    <a:pt x="3248" y="1342"/>
                  </a:lnTo>
                  <a:lnTo>
                    <a:pt x="3221" y="1391"/>
                  </a:lnTo>
                  <a:lnTo>
                    <a:pt x="3200" y="1440"/>
                  </a:lnTo>
                  <a:lnTo>
                    <a:pt x="3262" y="1454"/>
                  </a:lnTo>
                  <a:lnTo>
                    <a:pt x="3276" y="1516"/>
                  </a:lnTo>
                  <a:lnTo>
                    <a:pt x="3276" y="1537"/>
                  </a:lnTo>
                  <a:lnTo>
                    <a:pt x="3290" y="1551"/>
                  </a:lnTo>
                  <a:lnTo>
                    <a:pt x="3297" y="1600"/>
                  </a:lnTo>
                  <a:lnTo>
                    <a:pt x="3290" y="1614"/>
                  </a:lnTo>
                  <a:lnTo>
                    <a:pt x="3276" y="1634"/>
                  </a:lnTo>
                  <a:lnTo>
                    <a:pt x="3290" y="1655"/>
                  </a:lnTo>
                  <a:lnTo>
                    <a:pt x="3290" y="1767"/>
                  </a:lnTo>
                  <a:lnTo>
                    <a:pt x="3325" y="1773"/>
                  </a:lnTo>
                  <a:lnTo>
                    <a:pt x="3360" y="1787"/>
                  </a:lnTo>
                  <a:lnTo>
                    <a:pt x="3332" y="1808"/>
                  </a:lnTo>
                  <a:lnTo>
                    <a:pt x="3353" y="1850"/>
                  </a:lnTo>
                  <a:lnTo>
                    <a:pt x="3360" y="1864"/>
                  </a:lnTo>
                  <a:lnTo>
                    <a:pt x="3422" y="1843"/>
                  </a:lnTo>
                  <a:lnTo>
                    <a:pt x="3450" y="1829"/>
                  </a:lnTo>
                  <a:lnTo>
                    <a:pt x="3513" y="1808"/>
                  </a:lnTo>
                  <a:lnTo>
                    <a:pt x="3520" y="1815"/>
                  </a:lnTo>
                  <a:lnTo>
                    <a:pt x="3548" y="1767"/>
                  </a:lnTo>
                  <a:lnTo>
                    <a:pt x="3555" y="1753"/>
                  </a:lnTo>
                  <a:lnTo>
                    <a:pt x="3603" y="1746"/>
                  </a:lnTo>
                  <a:lnTo>
                    <a:pt x="3617" y="1739"/>
                  </a:lnTo>
                  <a:lnTo>
                    <a:pt x="3645" y="1739"/>
                  </a:lnTo>
                  <a:lnTo>
                    <a:pt x="3701" y="1739"/>
                  </a:lnTo>
                  <a:lnTo>
                    <a:pt x="3708" y="1753"/>
                  </a:lnTo>
                  <a:lnTo>
                    <a:pt x="3735" y="1732"/>
                  </a:lnTo>
                  <a:lnTo>
                    <a:pt x="3777" y="1746"/>
                  </a:lnTo>
                  <a:lnTo>
                    <a:pt x="3819" y="1739"/>
                  </a:lnTo>
                  <a:lnTo>
                    <a:pt x="3854" y="1753"/>
                  </a:lnTo>
                  <a:lnTo>
                    <a:pt x="3798" y="1843"/>
                  </a:lnTo>
                  <a:lnTo>
                    <a:pt x="3721" y="1948"/>
                  </a:lnTo>
                  <a:lnTo>
                    <a:pt x="3673" y="2031"/>
                  </a:lnTo>
                  <a:lnTo>
                    <a:pt x="3603" y="2128"/>
                  </a:lnTo>
                  <a:lnTo>
                    <a:pt x="3492" y="2246"/>
                  </a:lnTo>
                  <a:lnTo>
                    <a:pt x="3506" y="2309"/>
                  </a:lnTo>
                  <a:lnTo>
                    <a:pt x="3506" y="2344"/>
                  </a:lnTo>
                  <a:lnTo>
                    <a:pt x="3513" y="2421"/>
                  </a:lnTo>
                  <a:lnTo>
                    <a:pt x="3513" y="2455"/>
                  </a:lnTo>
                  <a:lnTo>
                    <a:pt x="3520" y="2525"/>
                  </a:lnTo>
                  <a:lnTo>
                    <a:pt x="3520" y="2601"/>
                  </a:lnTo>
                  <a:lnTo>
                    <a:pt x="3485" y="2601"/>
                  </a:lnTo>
                  <a:lnTo>
                    <a:pt x="3492" y="2622"/>
                  </a:lnTo>
                  <a:lnTo>
                    <a:pt x="3541" y="2608"/>
                  </a:lnTo>
                  <a:lnTo>
                    <a:pt x="3527" y="2664"/>
                  </a:lnTo>
                  <a:lnTo>
                    <a:pt x="3548" y="2664"/>
                  </a:lnTo>
                  <a:lnTo>
                    <a:pt x="3562" y="2650"/>
                  </a:lnTo>
                  <a:lnTo>
                    <a:pt x="3638" y="2664"/>
                  </a:lnTo>
                  <a:lnTo>
                    <a:pt x="3645" y="2699"/>
                  </a:lnTo>
                  <a:lnTo>
                    <a:pt x="3652" y="2699"/>
                  </a:lnTo>
                  <a:lnTo>
                    <a:pt x="3617" y="2747"/>
                  </a:lnTo>
                  <a:lnTo>
                    <a:pt x="3638" y="2768"/>
                  </a:lnTo>
                  <a:lnTo>
                    <a:pt x="3589" y="2803"/>
                  </a:lnTo>
                  <a:lnTo>
                    <a:pt x="3589" y="2831"/>
                  </a:lnTo>
                  <a:lnTo>
                    <a:pt x="3638" y="2838"/>
                  </a:lnTo>
                  <a:lnTo>
                    <a:pt x="3624" y="2886"/>
                  </a:lnTo>
                  <a:lnTo>
                    <a:pt x="3673" y="2886"/>
                  </a:lnTo>
                  <a:lnTo>
                    <a:pt x="3659" y="2935"/>
                  </a:lnTo>
                  <a:lnTo>
                    <a:pt x="3680" y="2949"/>
                  </a:lnTo>
                  <a:lnTo>
                    <a:pt x="3701" y="2935"/>
                  </a:lnTo>
                  <a:lnTo>
                    <a:pt x="3749" y="2886"/>
                  </a:lnTo>
                  <a:lnTo>
                    <a:pt x="3840" y="2977"/>
                  </a:lnTo>
                  <a:lnTo>
                    <a:pt x="3847" y="2984"/>
                  </a:lnTo>
                  <a:lnTo>
                    <a:pt x="3854" y="3019"/>
                  </a:lnTo>
                  <a:lnTo>
                    <a:pt x="3909" y="3033"/>
                  </a:lnTo>
                  <a:lnTo>
                    <a:pt x="3930" y="3033"/>
                  </a:lnTo>
                  <a:lnTo>
                    <a:pt x="3944" y="3033"/>
                  </a:lnTo>
                  <a:lnTo>
                    <a:pt x="3951" y="3061"/>
                  </a:lnTo>
                  <a:lnTo>
                    <a:pt x="4007" y="3067"/>
                  </a:lnTo>
                  <a:lnTo>
                    <a:pt x="4007" y="3109"/>
                  </a:lnTo>
                  <a:lnTo>
                    <a:pt x="4028" y="3123"/>
                  </a:lnTo>
                  <a:lnTo>
                    <a:pt x="4076" y="3144"/>
                  </a:lnTo>
                  <a:lnTo>
                    <a:pt x="4111" y="3165"/>
                  </a:lnTo>
                  <a:lnTo>
                    <a:pt x="4104" y="3241"/>
                  </a:lnTo>
                  <a:lnTo>
                    <a:pt x="4132" y="3248"/>
                  </a:lnTo>
                  <a:lnTo>
                    <a:pt x="4167" y="3241"/>
                  </a:lnTo>
                  <a:lnTo>
                    <a:pt x="4174" y="3248"/>
                  </a:lnTo>
                  <a:lnTo>
                    <a:pt x="4195" y="3248"/>
                  </a:lnTo>
                  <a:lnTo>
                    <a:pt x="4181" y="3283"/>
                  </a:lnTo>
                  <a:lnTo>
                    <a:pt x="4167" y="3311"/>
                  </a:lnTo>
                  <a:lnTo>
                    <a:pt x="4195" y="3339"/>
                  </a:lnTo>
                  <a:lnTo>
                    <a:pt x="4236" y="3360"/>
                  </a:lnTo>
                  <a:lnTo>
                    <a:pt x="4271" y="3374"/>
                  </a:lnTo>
                  <a:lnTo>
                    <a:pt x="4278" y="3325"/>
                  </a:lnTo>
                  <a:lnTo>
                    <a:pt x="4327" y="3353"/>
                  </a:lnTo>
                  <a:lnTo>
                    <a:pt x="4341" y="3311"/>
                  </a:lnTo>
                  <a:lnTo>
                    <a:pt x="4348" y="3297"/>
                  </a:lnTo>
                  <a:lnTo>
                    <a:pt x="4438" y="3339"/>
                  </a:lnTo>
                  <a:lnTo>
                    <a:pt x="4445" y="3339"/>
                  </a:lnTo>
                  <a:lnTo>
                    <a:pt x="4403" y="3374"/>
                  </a:lnTo>
                  <a:lnTo>
                    <a:pt x="4410" y="3394"/>
                  </a:lnTo>
                  <a:lnTo>
                    <a:pt x="4396" y="3443"/>
                  </a:lnTo>
                  <a:lnTo>
                    <a:pt x="4403" y="3450"/>
                  </a:lnTo>
                  <a:lnTo>
                    <a:pt x="4445" y="3450"/>
                  </a:lnTo>
                  <a:lnTo>
                    <a:pt x="4487" y="3471"/>
                  </a:lnTo>
                  <a:lnTo>
                    <a:pt x="4494" y="3478"/>
                  </a:lnTo>
                  <a:lnTo>
                    <a:pt x="4522" y="3478"/>
                  </a:lnTo>
                  <a:lnTo>
                    <a:pt x="4556" y="3457"/>
                  </a:lnTo>
                  <a:lnTo>
                    <a:pt x="4556" y="3485"/>
                  </a:lnTo>
                  <a:lnTo>
                    <a:pt x="4542" y="3513"/>
                  </a:lnTo>
                  <a:lnTo>
                    <a:pt x="4577" y="3547"/>
                  </a:lnTo>
                  <a:lnTo>
                    <a:pt x="4605" y="3547"/>
                  </a:lnTo>
                  <a:lnTo>
                    <a:pt x="4654" y="3582"/>
                  </a:lnTo>
                </a:path>
              </a:pathLst>
            </a:custGeom>
            <a:grpFill/>
            <a:ln w="9525" cap="flat" cmpd="sng">
              <a:solidFill>
                <a:schemeClr val="bg1"/>
              </a:solidFill>
              <a:round/>
              <a:headEnd/>
              <a:tailEnd/>
            </a:ln>
            <a:effectLst/>
          </p:spPr>
          <p:txBody>
            <a:bodyPr wrap="none" anchor="ctr"/>
            <a:lstStyle/>
            <a:p>
              <a:endParaRPr lang="en-US" dirty="0">
                <a:latin typeface="Open Sans Regular" charset="0"/>
              </a:endParaRPr>
            </a:p>
          </p:txBody>
        </p:sp>
        <p:sp>
          <p:nvSpPr>
            <p:cNvPr id="114" name="Freeform 111">
              <a:extLst>
                <a:ext uri="{FF2B5EF4-FFF2-40B4-BE49-F238E27FC236}">
                  <a16:creationId xmlns:a16="http://schemas.microsoft.com/office/drawing/2014/main" id="{60E8C144-C7E6-4A63-BCA0-AEB799AA2EB4}"/>
                </a:ext>
              </a:extLst>
            </p:cNvPr>
            <p:cNvSpPr>
              <a:spLocks noChangeArrowheads="1"/>
            </p:cNvSpPr>
            <p:nvPr/>
          </p:nvSpPr>
          <p:spPr bwMode="auto">
            <a:xfrm>
              <a:off x="14855189" y="3666902"/>
              <a:ext cx="20711" cy="20712"/>
            </a:xfrm>
            <a:custGeom>
              <a:avLst/>
              <a:gdLst>
                <a:gd name="T0" fmla="*/ 21 w 43"/>
                <a:gd name="T1" fmla="*/ 0 h 42"/>
                <a:gd name="T2" fmla="*/ 42 w 43"/>
                <a:gd name="T3" fmla="*/ 0 h 42"/>
                <a:gd name="T4" fmla="*/ 28 w 43"/>
                <a:gd name="T5" fmla="*/ 41 h 42"/>
                <a:gd name="T6" fmla="*/ 0 w 43"/>
                <a:gd name="T7" fmla="*/ 41 h 42"/>
                <a:gd name="T8" fmla="*/ 21 w 43"/>
                <a:gd name="T9" fmla="*/ 0 h 42"/>
              </a:gdLst>
              <a:ahLst/>
              <a:cxnLst>
                <a:cxn ang="0">
                  <a:pos x="T0" y="T1"/>
                </a:cxn>
                <a:cxn ang="0">
                  <a:pos x="T2" y="T3"/>
                </a:cxn>
                <a:cxn ang="0">
                  <a:pos x="T4" y="T5"/>
                </a:cxn>
                <a:cxn ang="0">
                  <a:pos x="T6" y="T7"/>
                </a:cxn>
                <a:cxn ang="0">
                  <a:pos x="T8" y="T9"/>
                </a:cxn>
              </a:cxnLst>
              <a:rect l="0" t="0" r="r" b="b"/>
              <a:pathLst>
                <a:path w="43" h="42">
                  <a:moveTo>
                    <a:pt x="21" y="0"/>
                  </a:moveTo>
                  <a:lnTo>
                    <a:pt x="42" y="0"/>
                  </a:lnTo>
                  <a:lnTo>
                    <a:pt x="28" y="41"/>
                  </a:lnTo>
                  <a:lnTo>
                    <a:pt x="0" y="41"/>
                  </a:lnTo>
                  <a:lnTo>
                    <a:pt x="21" y="0"/>
                  </a:lnTo>
                </a:path>
              </a:pathLst>
            </a:custGeom>
            <a:grpFill/>
            <a:ln w="9525" cap="flat" cmpd="sng">
              <a:solidFill>
                <a:schemeClr val="bg1"/>
              </a:solid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115" name="Freeform 112">
              <a:extLst>
                <a:ext uri="{FF2B5EF4-FFF2-40B4-BE49-F238E27FC236}">
                  <a16:creationId xmlns:a16="http://schemas.microsoft.com/office/drawing/2014/main" id="{9E10C541-D53B-4379-8A34-E944480E7222}"/>
                </a:ext>
              </a:extLst>
            </p:cNvPr>
            <p:cNvSpPr>
              <a:spLocks noChangeArrowheads="1"/>
            </p:cNvSpPr>
            <p:nvPr/>
          </p:nvSpPr>
          <p:spPr bwMode="auto">
            <a:xfrm>
              <a:off x="14741277" y="4652814"/>
              <a:ext cx="6213" cy="4142"/>
            </a:xfrm>
            <a:custGeom>
              <a:avLst/>
              <a:gdLst>
                <a:gd name="T0" fmla="*/ 0 w 15"/>
                <a:gd name="T1" fmla="*/ 6 h 7"/>
                <a:gd name="T2" fmla="*/ 7 w 15"/>
                <a:gd name="T3" fmla="*/ 0 h 7"/>
                <a:gd name="T4" fmla="*/ 14 w 15"/>
                <a:gd name="T5" fmla="*/ 6 h 7"/>
                <a:gd name="T6" fmla="*/ 0 w 15"/>
                <a:gd name="T7" fmla="*/ 6 h 7"/>
              </a:gdLst>
              <a:ahLst/>
              <a:cxnLst>
                <a:cxn ang="0">
                  <a:pos x="T0" y="T1"/>
                </a:cxn>
                <a:cxn ang="0">
                  <a:pos x="T2" y="T3"/>
                </a:cxn>
                <a:cxn ang="0">
                  <a:pos x="T4" y="T5"/>
                </a:cxn>
                <a:cxn ang="0">
                  <a:pos x="T6" y="T7"/>
                </a:cxn>
              </a:cxnLst>
              <a:rect l="0" t="0" r="r" b="b"/>
              <a:pathLst>
                <a:path w="15" h="7">
                  <a:moveTo>
                    <a:pt x="0" y="6"/>
                  </a:moveTo>
                  <a:lnTo>
                    <a:pt x="7" y="0"/>
                  </a:lnTo>
                  <a:lnTo>
                    <a:pt x="14" y="6"/>
                  </a:lnTo>
                  <a:lnTo>
                    <a:pt x="0" y="6"/>
                  </a:lnTo>
                </a:path>
              </a:pathLst>
            </a:custGeom>
            <a:grpFill/>
            <a:ln w="9525" cap="flat" cmpd="sng">
              <a:solidFill>
                <a:schemeClr val="bg1"/>
              </a:solid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116" name="Freeform 113">
              <a:extLst>
                <a:ext uri="{FF2B5EF4-FFF2-40B4-BE49-F238E27FC236}">
                  <a16:creationId xmlns:a16="http://schemas.microsoft.com/office/drawing/2014/main" id="{9DF3715D-F09B-47F3-855E-597B1CA1AC1B}"/>
                </a:ext>
              </a:extLst>
            </p:cNvPr>
            <p:cNvSpPr>
              <a:spLocks noChangeArrowheads="1"/>
            </p:cNvSpPr>
            <p:nvPr/>
          </p:nvSpPr>
          <p:spPr bwMode="auto">
            <a:xfrm>
              <a:off x="14658434" y="4652814"/>
              <a:ext cx="4142" cy="12427"/>
            </a:xfrm>
            <a:custGeom>
              <a:avLst/>
              <a:gdLst>
                <a:gd name="T0" fmla="*/ 7 w 8"/>
                <a:gd name="T1" fmla="*/ 0 h 28"/>
                <a:gd name="T2" fmla="*/ 0 w 8"/>
                <a:gd name="T3" fmla="*/ 27 h 28"/>
                <a:gd name="T4" fmla="*/ 0 w 8"/>
                <a:gd name="T5" fmla="*/ 20 h 28"/>
                <a:gd name="T6" fmla="*/ 7 w 8"/>
                <a:gd name="T7" fmla="*/ 0 h 28"/>
              </a:gdLst>
              <a:ahLst/>
              <a:cxnLst>
                <a:cxn ang="0">
                  <a:pos x="T0" y="T1"/>
                </a:cxn>
                <a:cxn ang="0">
                  <a:pos x="T2" y="T3"/>
                </a:cxn>
                <a:cxn ang="0">
                  <a:pos x="T4" y="T5"/>
                </a:cxn>
                <a:cxn ang="0">
                  <a:pos x="T6" y="T7"/>
                </a:cxn>
              </a:cxnLst>
              <a:rect l="0" t="0" r="r" b="b"/>
              <a:pathLst>
                <a:path w="8" h="28">
                  <a:moveTo>
                    <a:pt x="7" y="0"/>
                  </a:moveTo>
                  <a:lnTo>
                    <a:pt x="0" y="27"/>
                  </a:lnTo>
                  <a:lnTo>
                    <a:pt x="0" y="20"/>
                  </a:lnTo>
                  <a:lnTo>
                    <a:pt x="7" y="0"/>
                  </a:lnTo>
                </a:path>
              </a:pathLst>
            </a:custGeom>
            <a:grpFill/>
            <a:ln w="9525" cap="flat" cmpd="sng">
              <a:solidFill>
                <a:schemeClr val="bg1"/>
              </a:solid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117" name="Freeform 114">
              <a:extLst>
                <a:ext uri="{FF2B5EF4-FFF2-40B4-BE49-F238E27FC236}">
                  <a16:creationId xmlns:a16="http://schemas.microsoft.com/office/drawing/2014/main" id="{E36F62FA-7675-47D5-828A-9E5875A88D71}"/>
                </a:ext>
              </a:extLst>
            </p:cNvPr>
            <p:cNvSpPr>
              <a:spLocks noChangeArrowheads="1"/>
            </p:cNvSpPr>
            <p:nvPr/>
          </p:nvSpPr>
          <p:spPr bwMode="auto">
            <a:xfrm>
              <a:off x="14741277" y="4652814"/>
              <a:ext cx="6213" cy="4142"/>
            </a:xfrm>
            <a:custGeom>
              <a:avLst/>
              <a:gdLst>
                <a:gd name="T0" fmla="*/ 7 w 15"/>
                <a:gd name="T1" fmla="*/ 0 h 7"/>
                <a:gd name="T2" fmla="*/ 14 w 15"/>
                <a:gd name="T3" fmla="*/ 6 h 7"/>
                <a:gd name="T4" fmla="*/ 0 w 15"/>
                <a:gd name="T5" fmla="*/ 6 h 7"/>
                <a:gd name="T6" fmla="*/ 7 w 15"/>
                <a:gd name="T7" fmla="*/ 0 h 7"/>
              </a:gdLst>
              <a:ahLst/>
              <a:cxnLst>
                <a:cxn ang="0">
                  <a:pos x="T0" y="T1"/>
                </a:cxn>
                <a:cxn ang="0">
                  <a:pos x="T2" y="T3"/>
                </a:cxn>
                <a:cxn ang="0">
                  <a:pos x="T4" y="T5"/>
                </a:cxn>
                <a:cxn ang="0">
                  <a:pos x="T6" y="T7"/>
                </a:cxn>
              </a:cxnLst>
              <a:rect l="0" t="0" r="r" b="b"/>
              <a:pathLst>
                <a:path w="15" h="7">
                  <a:moveTo>
                    <a:pt x="7" y="0"/>
                  </a:moveTo>
                  <a:lnTo>
                    <a:pt x="14" y="6"/>
                  </a:lnTo>
                  <a:lnTo>
                    <a:pt x="0" y="6"/>
                  </a:lnTo>
                  <a:lnTo>
                    <a:pt x="7" y="0"/>
                  </a:lnTo>
                </a:path>
              </a:pathLst>
            </a:custGeom>
            <a:grpFill/>
            <a:ln w="9525" cap="flat" cmpd="sng">
              <a:solidFill>
                <a:schemeClr val="bg1"/>
              </a:solid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118" name="Freeform 115">
              <a:extLst>
                <a:ext uri="{FF2B5EF4-FFF2-40B4-BE49-F238E27FC236}">
                  <a16:creationId xmlns:a16="http://schemas.microsoft.com/office/drawing/2014/main" id="{2C580E1B-AF3D-473F-9665-62B1B2C8DB13}"/>
                </a:ext>
              </a:extLst>
            </p:cNvPr>
            <p:cNvSpPr>
              <a:spLocks noChangeArrowheads="1"/>
            </p:cNvSpPr>
            <p:nvPr/>
          </p:nvSpPr>
          <p:spPr bwMode="auto">
            <a:xfrm>
              <a:off x="14658434" y="4652814"/>
              <a:ext cx="4142" cy="12427"/>
            </a:xfrm>
            <a:custGeom>
              <a:avLst/>
              <a:gdLst>
                <a:gd name="T0" fmla="*/ 0 w 8"/>
                <a:gd name="T1" fmla="*/ 27 h 28"/>
                <a:gd name="T2" fmla="*/ 0 w 8"/>
                <a:gd name="T3" fmla="*/ 20 h 28"/>
                <a:gd name="T4" fmla="*/ 7 w 8"/>
                <a:gd name="T5" fmla="*/ 0 h 28"/>
                <a:gd name="T6" fmla="*/ 0 w 8"/>
                <a:gd name="T7" fmla="*/ 27 h 28"/>
              </a:gdLst>
              <a:ahLst/>
              <a:cxnLst>
                <a:cxn ang="0">
                  <a:pos x="T0" y="T1"/>
                </a:cxn>
                <a:cxn ang="0">
                  <a:pos x="T2" y="T3"/>
                </a:cxn>
                <a:cxn ang="0">
                  <a:pos x="T4" y="T5"/>
                </a:cxn>
                <a:cxn ang="0">
                  <a:pos x="T6" y="T7"/>
                </a:cxn>
              </a:cxnLst>
              <a:rect l="0" t="0" r="r" b="b"/>
              <a:pathLst>
                <a:path w="8" h="28">
                  <a:moveTo>
                    <a:pt x="0" y="27"/>
                  </a:moveTo>
                  <a:lnTo>
                    <a:pt x="0" y="20"/>
                  </a:lnTo>
                  <a:lnTo>
                    <a:pt x="7" y="0"/>
                  </a:lnTo>
                  <a:lnTo>
                    <a:pt x="0" y="27"/>
                  </a:lnTo>
                </a:path>
              </a:pathLst>
            </a:custGeom>
            <a:grpFill/>
            <a:ln w="9525" cap="flat" cmpd="sng">
              <a:solidFill>
                <a:schemeClr val="bg1"/>
              </a:solid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sp>
          <p:nvSpPr>
            <p:cNvPr id="119" name="Freeform 116">
              <a:extLst>
                <a:ext uri="{FF2B5EF4-FFF2-40B4-BE49-F238E27FC236}">
                  <a16:creationId xmlns:a16="http://schemas.microsoft.com/office/drawing/2014/main" id="{9337BCC8-14EE-4560-8FB0-8638C2A3CF9F}"/>
                </a:ext>
              </a:extLst>
            </p:cNvPr>
            <p:cNvSpPr>
              <a:spLocks noChangeArrowheads="1"/>
            </p:cNvSpPr>
            <p:nvPr/>
          </p:nvSpPr>
          <p:spPr bwMode="auto">
            <a:xfrm>
              <a:off x="13051253" y="3173944"/>
              <a:ext cx="2002762" cy="2473066"/>
            </a:xfrm>
            <a:custGeom>
              <a:avLst/>
              <a:gdLst>
                <a:gd name="T0" fmla="*/ 2880 w 4266"/>
                <a:gd name="T1" fmla="*/ 4362 h 5267"/>
                <a:gd name="T2" fmla="*/ 3165 w 4266"/>
                <a:gd name="T3" fmla="*/ 4286 h 5267"/>
                <a:gd name="T4" fmla="*/ 3284 w 4266"/>
                <a:gd name="T5" fmla="*/ 4125 h 5267"/>
                <a:gd name="T6" fmla="*/ 3499 w 4266"/>
                <a:gd name="T7" fmla="*/ 4251 h 5267"/>
                <a:gd name="T8" fmla="*/ 3729 w 4266"/>
                <a:gd name="T9" fmla="*/ 4195 h 5267"/>
                <a:gd name="T10" fmla="*/ 3792 w 4266"/>
                <a:gd name="T11" fmla="*/ 3924 h 5267"/>
                <a:gd name="T12" fmla="*/ 4084 w 4266"/>
                <a:gd name="T13" fmla="*/ 4063 h 5267"/>
                <a:gd name="T14" fmla="*/ 4251 w 4266"/>
                <a:gd name="T15" fmla="*/ 3833 h 5267"/>
                <a:gd name="T16" fmla="*/ 4028 w 4266"/>
                <a:gd name="T17" fmla="*/ 3611 h 5267"/>
                <a:gd name="T18" fmla="*/ 3896 w 4266"/>
                <a:gd name="T19" fmla="*/ 3367 h 5267"/>
                <a:gd name="T20" fmla="*/ 3750 w 4266"/>
                <a:gd name="T21" fmla="*/ 3124 h 5267"/>
                <a:gd name="T22" fmla="*/ 3625 w 4266"/>
                <a:gd name="T23" fmla="*/ 3117 h 5267"/>
                <a:gd name="T24" fmla="*/ 3527 w 4266"/>
                <a:gd name="T25" fmla="*/ 3186 h 5267"/>
                <a:gd name="T26" fmla="*/ 3325 w 4266"/>
                <a:gd name="T27" fmla="*/ 3075 h 5267"/>
                <a:gd name="T28" fmla="*/ 3235 w 4266"/>
                <a:gd name="T29" fmla="*/ 2887 h 5267"/>
                <a:gd name="T30" fmla="*/ 3131 w 4266"/>
                <a:gd name="T31" fmla="*/ 2776 h 5267"/>
                <a:gd name="T32" fmla="*/ 3144 w 4266"/>
                <a:gd name="T33" fmla="*/ 2665 h 5267"/>
                <a:gd name="T34" fmla="*/ 3179 w 4266"/>
                <a:gd name="T35" fmla="*/ 2421 h 5267"/>
                <a:gd name="T36" fmla="*/ 3360 w 4266"/>
                <a:gd name="T37" fmla="*/ 2560 h 5267"/>
                <a:gd name="T38" fmla="*/ 3458 w 4266"/>
                <a:gd name="T39" fmla="*/ 2386 h 5267"/>
                <a:gd name="T40" fmla="*/ 3625 w 4266"/>
                <a:gd name="T41" fmla="*/ 2289 h 5267"/>
                <a:gd name="T42" fmla="*/ 3541 w 4266"/>
                <a:gd name="T43" fmla="*/ 2150 h 5267"/>
                <a:gd name="T44" fmla="*/ 3430 w 4266"/>
                <a:gd name="T45" fmla="*/ 1906 h 5267"/>
                <a:gd name="T46" fmla="*/ 3339 w 4266"/>
                <a:gd name="T47" fmla="*/ 1732 h 5267"/>
                <a:gd name="T48" fmla="*/ 3214 w 4266"/>
                <a:gd name="T49" fmla="*/ 1419 h 5267"/>
                <a:gd name="T50" fmla="*/ 3409 w 4266"/>
                <a:gd name="T51" fmla="*/ 1023 h 5267"/>
                <a:gd name="T52" fmla="*/ 3332 w 4266"/>
                <a:gd name="T53" fmla="*/ 752 h 5267"/>
                <a:gd name="T54" fmla="*/ 2998 w 4266"/>
                <a:gd name="T55" fmla="*/ 466 h 5267"/>
                <a:gd name="T56" fmla="*/ 3033 w 4266"/>
                <a:gd name="T57" fmla="*/ 56 h 5267"/>
                <a:gd name="T58" fmla="*/ 2706 w 4266"/>
                <a:gd name="T59" fmla="*/ 251 h 5267"/>
                <a:gd name="T60" fmla="*/ 2518 w 4266"/>
                <a:gd name="T61" fmla="*/ 647 h 5267"/>
                <a:gd name="T62" fmla="*/ 2282 w 4266"/>
                <a:gd name="T63" fmla="*/ 988 h 5267"/>
                <a:gd name="T64" fmla="*/ 2052 w 4266"/>
                <a:gd name="T65" fmla="*/ 1399 h 5267"/>
                <a:gd name="T66" fmla="*/ 2115 w 4266"/>
                <a:gd name="T67" fmla="*/ 1691 h 5267"/>
                <a:gd name="T68" fmla="*/ 2094 w 4266"/>
                <a:gd name="T69" fmla="*/ 1906 h 5267"/>
                <a:gd name="T70" fmla="*/ 1732 w 4266"/>
                <a:gd name="T71" fmla="*/ 1997 h 5267"/>
                <a:gd name="T72" fmla="*/ 1301 w 4266"/>
                <a:gd name="T73" fmla="*/ 2032 h 5267"/>
                <a:gd name="T74" fmla="*/ 842 w 4266"/>
                <a:gd name="T75" fmla="*/ 2087 h 5267"/>
                <a:gd name="T76" fmla="*/ 842 w 4266"/>
                <a:gd name="T77" fmla="*/ 2484 h 5267"/>
                <a:gd name="T78" fmla="*/ 661 w 4266"/>
                <a:gd name="T79" fmla="*/ 2727 h 5267"/>
                <a:gd name="T80" fmla="*/ 452 w 4266"/>
                <a:gd name="T81" fmla="*/ 2894 h 5267"/>
                <a:gd name="T82" fmla="*/ 0 w 4266"/>
                <a:gd name="T83" fmla="*/ 2978 h 5267"/>
                <a:gd name="T84" fmla="*/ 188 w 4266"/>
                <a:gd name="T85" fmla="*/ 3221 h 5267"/>
                <a:gd name="T86" fmla="*/ 480 w 4266"/>
                <a:gd name="T87" fmla="*/ 3541 h 5267"/>
                <a:gd name="T88" fmla="*/ 744 w 4266"/>
                <a:gd name="T89" fmla="*/ 3903 h 5267"/>
                <a:gd name="T90" fmla="*/ 487 w 4266"/>
                <a:gd name="T91" fmla="*/ 4153 h 5267"/>
                <a:gd name="T92" fmla="*/ 445 w 4266"/>
                <a:gd name="T93" fmla="*/ 4487 h 5267"/>
                <a:gd name="T94" fmla="*/ 626 w 4266"/>
                <a:gd name="T95" fmla="*/ 4884 h 5267"/>
                <a:gd name="T96" fmla="*/ 1016 w 4266"/>
                <a:gd name="T97" fmla="*/ 5023 h 5267"/>
                <a:gd name="T98" fmla="*/ 1447 w 4266"/>
                <a:gd name="T99" fmla="*/ 5086 h 5267"/>
                <a:gd name="T100" fmla="*/ 1718 w 4266"/>
                <a:gd name="T101" fmla="*/ 5113 h 5267"/>
                <a:gd name="T102" fmla="*/ 1892 w 4266"/>
                <a:gd name="T103" fmla="*/ 5092 h 5267"/>
                <a:gd name="T104" fmla="*/ 2282 w 4266"/>
                <a:gd name="T105" fmla="*/ 5176 h 5267"/>
                <a:gd name="T106" fmla="*/ 2407 w 4266"/>
                <a:gd name="T107" fmla="*/ 5037 h 5267"/>
                <a:gd name="T108" fmla="*/ 2365 w 4266"/>
                <a:gd name="T109" fmla="*/ 4765 h 5267"/>
                <a:gd name="T110" fmla="*/ 2511 w 4266"/>
                <a:gd name="T111" fmla="*/ 4585 h 5267"/>
                <a:gd name="T112" fmla="*/ 2588 w 4266"/>
                <a:gd name="T113" fmla="*/ 4383 h 5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266" h="5267">
                  <a:moveTo>
                    <a:pt x="2692" y="4265"/>
                  </a:moveTo>
                  <a:lnTo>
                    <a:pt x="2720" y="4292"/>
                  </a:lnTo>
                  <a:lnTo>
                    <a:pt x="2776" y="4306"/>
                  </a:lnTo>
                  <a:lnTo>
                    <a:pt x="2783" y="4306"/>
                  </a:lnTo>
                  <a:lnTo>
                    <a:pt x="2790" y="4327"/>
                  </a:lnTo>
                  <a:lnTo>
                    <a:pt x="2818" y="4334"/>
                  </a:lnTo>
                  <a:lnTo>
                    <a:pt x="2845" y="4355"/>
                  </a:lnTo>
                  <a:lnTo>
                    <a:pt x="2866" y="4369"/>
                  </a:lnTo>
                  <a:lnTo>
                    <a:pt x="2873" y="4369"/>
                  </a:lnTo>
                  <a:lnTo>
                    <a:pt x="2880" y="4362"/>
                  </a:lnTo>
                  <a:lnTo>
                    <a:pt x="2908" y="4355"/>
                  </a:lnTo>
                  <a:lnTo>
                    <a:pt x="2922" y="4327"/>
                  </a:lnTo>
                  <a:lnTo>
                    <a:pt x="2936" y="4286"/>
                  </a:lnTo>
                  <a:lnTo>
                    <a:pt x="2964" y="4286"/>
                  </a:lnTo>
                  <a:lnTo>
                    <a:pt x="2977" y="4299"/>
                  </a:lnTo>
                  <a:lnTo>
                    <a:pt x="2998" y="4299"/>
                  </a:lnTo>
                  <a:lnTo>
                    <a:pt x="3005" y="4306"/>
                  </a:lnTo>
                  <a:lnTo>
                    <a:pt x="3040" y="4258"/>
                  </a:lnTo>
                  <a:lnTo>
                    <a:pt x="3054" y="4286"/>
                  </a:lnTo>
                  <a:lnTo>
                    <a:pt x="3165" y="4286"/>
                  </a:lnTo>
                  <a:lnTo>
                    <a:pt x="3193" y="4292"/>
                  </a:lnTo>
                  <a:lnTo>
                    <a:pt x="3214" y="4292"/>
                  </a:lnTo>
                  <a:lnTo>
                    <a:pt x="3207" y="4258"/>
                  </a:lnTo>
                  <a:lnTo>
                    <a:pt x="3235" y="4237"/>
                  </a:lnTo>
                  <a:lnTo>
                    <a:pt x="3263" y="4223"/>
                  </a:lnTo>
                  <a:lnTo>
                    <a:pt x="3270" y="4195"/>
                  </a:lnTo>
                  <a:lnTo>
                    <a:pt x="3249" y="4167"/>
                  </a:lnTo>
                  <a:lnTo>
                    <a:pt x="3270" y="4153"/>
                  </a:lnTo>
                  <a:lnTo>
                    <a:pt x="3270" y="4139"/>
                  </a:lnTo>
                  <a:lnTo>
                    <a:pt x="3284" y="4125"/>
                  </a:lnTo>
                  <a:lnTo>
                    <a:pt x="3298" y="4119"/>
                  </a:lnTo>
                  <a:lnTo>
                    <a:pt x="3298" y="4125"/>
                  </a:lnTo>
                  <a:lnTo>
                    <a:pt x="3360" y="4125"/>
                  </a:lnTo>
                  <a:lnTo>
                    <a:pt x="3402" y="4132"/>
                  </a:lnTo>
                  <a:lnTo>
                    <a:pt x="3402" y="4125"/>
                  </a:lnTo>
                  <a:lnTo>
                    <a:pt x="3464" y="4139"/>
                  </a:lnTo>
                  <a:lnTo>
                    <a:pt x="3471" y="4153"/>
                  </a:lnTo>
                  <a:lnTo>
                    <a:pt x="3478" y="4195"/>
                  </a:lnTo>
                  <a:lnTo>
                    <a:pt x="3499" y="4209"/>
                  </a:lnTo>
                  <a:lnTo>
                    <a:pt x="3499" y="4251"/>
                  </a:lnTo>
                  <a:lnTo>
                    <a:pt x="3527" y="4251"/>
                  </a:lnTo>
                  <a:lnTo>
                    <a:pt x="3534" y="4306"/>
                  </a:lnTo>
                  <a:lnTo>
                    <a:pt x="3541" y="4320"/>
                  </a:lnTo>
                  <a:lnTo>
                    <a:pt x="3569" y="4306"/>
                  </a:lnTo>
                  <a:lnTo>
                    <a:pt x="3576" y="4292"/>
                  </a:lnTo>
                  <a:lnTo>
                    <a:pt x="3576" y="4237"/>
                  </a:lnTo>
                  <a:lnTo>
                    <a:pt x="3625" y="4209"/>
                  </a:lnTo>
                  <a:lnTo>
                    <a:pt x="3625" y="4167"/>
                  </a:lnTo>
                  <a:lnTo>
                    <a:pt x="3687" y="4167"/>
                  </a:lnTo>
                  <a:lnTo>
                    <a:pt x="3729" y="4195"/>
                  </a:lnTo>
                  <a:lnTo>
                    <a:pt x="3764" y="4174"/>
                  </a:lnTo>
                  <a:lnTo>
                    <a:pt x="3784" y="4160"/>
                  </a:lnTo>
                  <a:lnTo>
                    <a:pt x="3771" y="4139"/>
                  </a:lnTo>
                  <a:lnTo>
                    <a:pt x="3757" y="4056"/>
                  </a:lnTo>
                  <a:lnTo>
                    <a:pt x="3736" y="4028"/>
                  </a:lnTo>
                  <a:lnTo>
                    <a:pt x="3729" y="4028"/>
                  </a:lnTo>
                  <a:lnTo>
                    <a:pt x="3722" y="4000"/>
                  </a:lnTo>
                  <a:lnTo>
                    <a:pt x="3729" y="3993"/>
                  </a:lnTo>
                  <a:lnTo>
                    <a:pt x="3771" y="3965"/>
                  </a:lnTo>
                  <a:lnTo>
                    <a:pt x="3792" y="3924"/>
                  </a:lnTo>
                  <a:lnTo>
                    <a:pt x="3861" y="3931"/>
                  </a:lnTo>
                  <a:lnTo>
                    <a:pt x="3868" y="3945"/>
                  </a:lnTo>
                  <a:lnTo>
                    <a:pt x="3889" y="3945"/>
                  </a:lnTo>
                  <a:lnTo>
                    <a:pt x="3931" y="3938"/>
                  </a:lnTo>
                  <a:lnTo>
                    <a:pt x="3965" y="3979"/>
                  </a:lnTo>
                  <a:lnTo>
                    <a:pt x="3965" y="3993"/>
                  </a:lnTo>
                  <a:lnTo>
                    <a:pt x="3986" y="4035"/>
                  </a:lnTo>
                  <a:lnTo>
                    <a:pt x="3986" y="4056"/>
                  </a:lnTo>
                  <a:lnTo>
                    <a:pt x="4035" y="4035"/>
                  </a:lnTo>
                  <a:lnTo>
                    <a:pt x="4084" y="4063"/>
                  </a:lnTo>
                  <a:lnTo>
                    <a:pt x="4098" y="4125"/>
                  </a:lnTo>
                  <a:lnTo>
                    <a:pt x="4160" y="4139"/>
                  </a:lnTo>
                  <a:lnTo>
                    <a:pt x="4244" y="4098"/>
                  </a:lnTo>
                  <a:lnTo>
                    <a:pt x="4251" y="4098"/>
                  </a:lnTo>
                  <a:lnTo>
                    <a:pt x="4251" y="4056"/>
                  </a:lnTo>
                  <a:lnTo>
                    <a:pt x="4244" y="3973"/>
                  </a:lnTo>
                  <a:lnTo>
                    <a:pt x="4257" y="3931"/>
                  </a:lnTo>
                  <a:lnTo>
                    <a:pt x="4251" y="3896"/>
                  </a:lnTo>
                  <a:lnTo>
                    <a:pt x="4251" y="3889"/>
                  </a:lnTo>
                  <a:lnTo>
                    <a:pt x="4251" y="3833"/>
                  </a:lnTo>
                  <a:lnTo>
                    <a:pt x="4265" y="3743"/>
                  </a:lnTo>
                  <a:lnTo>
                    <a:pt x="4209" y="3715"/>
                  </a:lnTo>
                  <a:lnTo>
                    <a:pt x="4209" y="3666"/>
                  </a:lnTo>
                  <a:lnTo>
                    <a:pt x="4188" y="3646"/>
                  </a:lnTo>
                  <a:lnTo>
                    <a:pt x="4167" y="3611"/>
                  </a:lnTo>
                  <a:lnTo>
                    <a:pt x="4167" y="3618"/>
                  </a:lnTo>
                  <a:lnTo>
                    <a:pt x="4098" y="3632"/>
                  </a:lnTo>
                  <a:lnTo>
                    <a:pt x="4077" y="3604"/>
                  </a:lnTo>
                  <a:lnTo>
                    <a:pt x="4056" y="3611"/>
                  </a:lnTo>
                  <a:lnTo>
                    <a:pt x="4028" y="3611"/>
                  </a:lnTo>
                  <a:lnTo>
                    <a:pt x="4021" y="3576"/>
                  </a:lnTo>
                  <a:lnTo>
                    <a:pt x="3993" y="3541"/>
                  </a:lnTo>
                  <a:lnTo>
                    <a:pt x="4028" y="3506"/>
                  </a:lnTo>
                  <a:lnTo>
                    <a:pt x="4014" y="3471"/>
                  </a:lnTo>
                  <a:lnTo>
                    <a:pt x="3993" y="3465"/>
                  </a:lnTo>
                  <a:lnTo>
                    <a:pt x="3958" y="3451"/>
                  </a:lnTo>
                  <a:lnTo>
                    <a:pt x="3958" y="3437"/>
                  </a:lnTo>
                  <a:lnTo>
                    <a:pt x="3951" y="3430"/>
                  </a:lnTo>
                  <a:lnTo>
                    <a:pt x="3903" y="3388"/>
                  </a:lnTo>
                  <a:lnTo>
                    <a:pt x="3896" y="3367"/>
                  </a:lnTo>
                  <a:lnTo>
                    <a:pt x="3861" y="3333"/>
                  </a:lnTo>
                  <a:lnTo>
                    <a:pt x="3868" y="3312"/>
                  </a:lnTo>
                  <a:lnTo>
                    <a:pt x="3882" y="3305"/>
                  </a:lnTo>
                  <a:lnTo>
                    <a:pt x="3882" y="3277"/>
                  </a:lnTo>
                  <a:lnTo>
                    <a:pt x="3854" y="3242"/>
                  </a:lnTo>
                  <a:lnTo>
                    <a:pt x="3819" y="3242"/>
                  </a:lnTo>
                  <a:lnTo>
                    <a:pt x="3792" y="3249"/>
                  </a:lnTo>
                  <a:lnTo>
                    <a:pt x="3771" y="3235"/>
                  </a:lnTo>
                  <a:lnTo>
                    <a:pt x="3750" y="3179"/>
                  </a:lnTo>
                  <a:lnTo>
                    <a:pt x="3750" y="3124"/>
                  </a:lnTo>
                  <a:lnTo>
                    <a:pt x="3736" y="3117"/>
                  </a:lnTo>
                  <a:lnTo>
                    <a:pt x="3750" y="3110"/>
                  </a:lnTo>
                  <a:lnTo>
                    <a:pt x="3736" y="3103"/>
                  </a:lnTo>
                  <a:lnTo>
                    <a:pt x="3729" y="3103"/>
                  </a:lnTo>
                  <a:lnTo>
                    <a:pt x="3729" y="3082"/>
                  </a:lnTo>
                  <a:lnTo>
                    <a:pt x="3701" y="3089"/>
                  </a:lnTo>
                  <a:lnTo>
                    <a:pt x="3694" y="3110"/>
                  </a:lnTo>
                  <a:lnTo>
                    <a:pt x="3687" y="3089"/>
                  </a:lnTo>
                  <a:lnTo>
                    <a:pt x="3652" y="3110"/>
                  </a:lnTo>
                  <a:lnTo>
                    <a:pt x="3625" y="3117"/>
                  </a:lnTo>
                  <a:lnTo>
                    <a:pt x="3611" y="3110"/>
                  </a:lnTo>
                  <a:lnTo>
                    <a:pt x="3611" y="3124"/>
                  </a:lnTo>
                  <a:lnTo>
                    <a:pt x="3597" y="3124"/>
                  </a:lnTo>
                  <a:lnTo>
                    <a:pt x="3604" y="3145"/>
                  </a:lnTo>
                  <a:lnTo>
                    <a:pt x="3576" y="3138"/>
                  </a:lnTo>
                  <a:lnTo>
                    <a:pt x="3590" y="3145"/>
                  </a:lnTo>
                  <a:lnTo>
                    <a:pt x="3576" y="3158"/>
                  </a:lnTo>
                  <a:lnTo>
                    <a:pt x="3541" y="3158"/>
                  </a:lnTo>
                  <a:lnTo>
                    <a:pt x="3555" y="3179"/>
                  </a:lnTo>
                  <a:lnTo>
                    <a:pt x="3527" y="3186"/>
                  </a:lnTo>
                  <a:lnTo>
                    <a:pt x="3499" y="3186"/>
                  </a:lnTo>
                  <a:lnTo>
                    <a:pt x="3499" y="3158"/>
                  </a:lnTo>
                  <a:lnTo>
                    <a:pt x="3464" y="3158"/>
                  </a:lnTo>
                  <a:lnTo>
                    <a:pt x="3430" y="3124"/>
                  </a:lnTo>
                  <a:lnTo>
                    <a:pt x="3430" y="3145"/>
                  </a:lnTo>
                  <a:lnTo>
                    <a:pt x="3402" y="3158"/>
                  </a:lnTo>
                  <a:lnTo>
                    <a:pt x="3346" y="3138"/>
                  </a:lnTo>
                  <a:lnTo>
                    <a:pt x="3325" y="3110"/>
                  </a:lnTo>
                  <a:lnTo>
                    <a:pt x="3332" y="3075"/>
                  </a:lnTo>
                  <a:lnTo>
                    <a:pt x="3325" y="3075"/>
                  </a:lnTo>
                  <a:lnTo>
                    <a:pt x="3325" y="3054"/>
                  </a:lnTo>
                  <a:lnTo>
                    <a:pt x="3332" y="3047"/>
                  </a:lnTo>
                  <a:lnTo>
                    <a:pt x="3311" y="3019"/>
                  </a:lnTo>
                  <a:lnTo>
                    <a:pt x="3284" y="3012"/>
                  </a:lnTo>
                  <a:lnTo>
                    <a:pt x="3284" y="3006"/>
                  </a:lnTo>
                  <a:lnTo>
                    <a:pt x="3277" y="2985"/>
                  </a:lnTo>
                  <a:lnTo>
                    <a:pt x="3270" y="2978"/>
                  </a:lnTo>
                  <a:lnTo>
                    <a:pt x="3277" y="2943"/>
                  </a:lnTo>
                  <a:lnTo>
                    <a:pt x="3242" y="2922"/>
                  </a:lnTo>
                  <a:lnTo>
                    <a:pt x="3235" y="2887"/>
                  </a:lnTo>
                  <a:lnTo>
                    <a:pt x="3172" y="2860"/>
                  </a:lnTo>
                  <a:lnTo>
                    <a:pt x="3179" y="2852"/>
                  </a:lnTo>
                  <a:lnTo>
                    <a:pt x="3172" y="2839"/>
                  </a:lnTo>
                  <a:lnTo>
                    <a:pt x="3165" y="2811"/>
                  </a:lnTo>
                  <a:lnTo>
                    <a:pt x="3228" y="2762"/>
                  </a:lnTo>
                  <a:lnTo>
                    <a:pt x="3214" y="2755"/>
                  </a:lnTo>
                  <a:lnTo>
                    <a:pt x="3179" y="2755"/>
                  </a:lnTo>
                  <a:lnTo>
                    <a:pt x="3172" y="2776"/>
                  </a:lnTo>
                  <a:lnTo>
                    <a:pt x="3137" y="2783"/>
                  </a:lnTo>
                  <a:lnTo>
                    <a:pt x="3131" y="2776"/>
                  </a:lnTo>
                  <a:lnTo>
                    <a:pt x="3131" y="2762"/>
                  </a:lnTo>
                  <a:lnTo>
                    <a:pt x="3165" y="2755"/>
                  </a:lnTo>
                  <a:lnTo>
                    <a:pt x="3131" y="2713"/>
                  </a:lnTo>
                  <a:lnTo>
                    <a:pt x="3152" y="2699"/>
                  </a:lnTo>
                  <a:lnTo>
                    <a:pt x="3144" y="2685"/>
                  </a:lnTo>
                  <a:lnTo>
                    <a:pt x="3137" y="2685"/>
                  </a:lnTo>
                  <a:lnTo>
                    <a:pt x="3179" y="2679"/>
                  </a:lnTo>
                  <a:lnTo>
                    <a:pt x="3137" y="2665"/>
                  </a:lnTo>
                  <a:lnTo>
                    <a:pt x="3131" y="2651"/>
                  </a:lnTo>
                  <a:lnTo>
                    <a:pt x="3144" y="2665"/>
                  </a:lnTo>
                  <a:lnTo>
                    <a:pt x="3165" y="2651"/>
                  </a:lnTo>
                  <a:lnTo>
                    <a:pt x="3144" y="2630"/>
                  </a:lnTo>
                  <a:lnTo>
                    <a:pt x="3144" y="2595"/>
                  </a:lnTo>
                  <a:lnTo>
                    <a:pt x="3110" y="2609"/>
                  </a:lnTo>
                  <a:lnTo>
                    <a:pt x="3117" y="2581"/>
                  </a:lnTo>
                  <a:lnTo>
                    <a:pt x="3096" y="2560"/>
                  </a:lnTo>
                  <a:lnTo>
                    <a:pt x="3110" y="2526"/>
                  </a:lnTo>
                  <a:lnTo>
                    <a:pt x="3152" y="2518"/>
                  </a:lnTo>
                  <a:lnTo>
                    <a:pt x="3137" y="2456"/>
                  </a:lnTo>
                  <a:lnTo>
                    <a:pt x="3179" y="2421"/>
                  </a:lnTo>
                  <a:lnTo>
                    <a:pt x="3200" y="2449"/>
                  </a:lnTo>
                  <a:lnTo>
                    <a:pt x="3242" y="2449"/>
                  </a:lnTo>
                  <a:lnTo>
                    <a:pt x="3277" y="2428"/>
                  </a:lnTo>
                  <a:lnTo>
                    <a:pt x="3298" y="2428"/>
                  </a:lnTo>
                  <a:lnTo>
                    <a:pt x="3304" y="2456"/>
                  </a:lnTo>
                  <a:lnTo>
                    <a:pt x="3304" y="2463"/>
                  </a:lnTo>
                  <a:lnTo>
                    <a:pt x="3346" y="2498"/>
                  </a:lnTo>
                  <a:lnTo>
                    <a:pt x="3346" y="2518"/>
                  </a:lnTo>
                  <a:lnTo>
                    <a:pt x="3346" y="2546"/>
                  </a:lnTo>
                  <a:lnTo>
                    <a:pt x="3360" y="2560"/>
                  </a:lnTo>
                  <a:lnTo>
                    <a:pt x="3402" y="2567"/>
                  </a:lnTo>
                  <a:lnTo>
                    <a:pt x="3430" y="2546"/>
                  </a:lnTo>
                  <a:lnTo>
                    <a:pt x="3430" y="2553"/>
                  </a:lnTo>
                  <a:lnTo>
                    <a:pt x="3444" y="2553"/>
                  </a:lnTo>
                  <a:lnTo>
                    <a:pt x="3464" y="2470"/>
                  </a:lnTo>
                  <a:lnTo>
                    <a:pt x="3492" y="2484"/>
                  </a:lnTo>
                  <a:lnTo>
                    <a:pt x="3527" y="2435"/>
                  </a:lnTo>
                  <a:lnTo>
                    <a:pt x="3527" y="2428"/>
                  </a:lnTo>
                  <a:lnTo>
                    <a:pt x="3478" y="2421"/>
                  </a:lnTo>
                  <a:lnTo>
                    <a:pt x="3458" y="2386"/>
                  </a:lnTo>
                  <a:lnTo>
                    <a:pt x="3458" y="2379"/>
                  </a:lnTo>
                  <a:lnTo>
                    <a:pt x="3471" y="2386"/>
                  </a:lnTo>
                  <a:lnTo>
                    <a:pt x="3527" y="2386"/>
                  </a:lnTo>
                  <a:lnTo>
                    <a:pt x="3534" y="2359"/>
                  </a:lnTo>
                  <a:lnTo>
                    <a:pt x="3590" y="2379"/>
                  </a:lnTo>
                  <a:lnTo>
                    <a:pt x="3625" y="2352"/>
                  </a:lnTo>
                  <a:lnTo>
                    <a:pt x="3631" y="2359"/>
                  </a:lnTo>
                  <a:lnTo>
                    <a:pt x="3659" y="2352"/>
                  </a:lnTo>
                  <a:lnTo>
                    <a:pt x="3652" y="2331"/>
                  </a:lnTo>
                  <a:lnTo>
                    <a:pt x="3625" y="2289"/>
                  </a:lnTo>
                  <a:lnTo>
                    <a:pt x="3631" y="2261"/>
                  </a:lnTo>
                  <a:lnTo>
                    <a:pt x="3611" y="2261"/>
                  </a:lnTo>
                  <a:lnTo>
                    <a:pt x="3604" y="2268"/>
                  </a:lnTo>
                  <a:lnTo>
                    <a:pt x="3590" y="2205"/>
                  </a:lnTo>
                  <a:lnTo>
                    <a:pt x="3576" y="2199"/>
                  </a:lnTo>
                  <a:lnTo>
                    <a:pt x="3569" y="2199"/>
                  </a:lnTo>
                  <a:lnTo>
                    <a:pt x="3569" y="2192"/>
                  </a:lnTo>
                  <a:lnTo>
                    <a:pt x="3569" y="2150"/>
                  </a:lnTo>
                  <a:lnTo>
                    <a:pt x="3562" y="2150"/>
                  </a:lnTo>
                  <a:lnTo>
                    <a:pt x="3541" y="2150"/>
                  </a:lnTo>
                  <a:lnTo>
                    <a:pt x="3520" y="2122"/>
                  </a:lnTo>
                  <a:lnTo>
                    <a:pt x="3458" y="2101"/>
                  </a:lnTo>
                  <a:lnTo>
                    <a:pt x="3444" y="2066"/>
                  </a:lnTo>
                  <a:lnTo>
                    <a:pt x="3458" y="2053"/>
                  </a:lnTo>
                  <a:lnTo>
                    <a:pt x="3437" y="2025"/>
                  </a:lnTo>
                  <a:lnTo>
                    <a:pt x="3430" y="1997"/>
                  </a:lnTo>
                  <a:lnTo>
                    <a:pt x="3430" y="1990"/>
                  </a:lnTo>
                  <a:lnTo>
                    <a:pt x="3430" y="1976"/>
                  </a:lnTo>
                  <a:lnTo>
                    <a:pt x="3409" y="1941"/>
                  </a:lnTo>
                  <a:lnTo>
                    <a:pt x="3430" y="1906"/>
                  </a:lnTo>
                  <a:lnTo>
                    <a:pt x="3409" y="1872"/>
                  </a:lnTo>
                  <a:lnTo>
                    <a:pt x="3395" y="1858"/>
                  </a:lnTo>
                  <a:lnTo>
                    <a:pt x="3360" y="1844"/>
                  </a:lnTo>
                  <a:lnTo>
                    <a:pt x="3360" y="1823"/>
                  </a:lnTo>
                  <a:lnTo>
                    <a:pt x="3367" y="1802"/>
                  </a:lnTo>
                  <a:lnTo>
                    <a:pt x="3395" y="1823"/>
                  </a:lnTo>
                  <a:lnTo>
                    <a:pt x="3402" y="1809"/>
                  </a:lnTo>
                  <a:lnTo>
                    <a:pt x="3374" y="1767"/>
                  </a:lnTo>
                  <a:lnTo>
                    <a:pt x="3381" y="1732"/>
                  </a:lnTo>
                  <a:lnTo>
                    <a:pt x="3339" y="1732"/>
                  </a:lnTo>
                  <a:lnTo>
                    <a:pt x="3325" y="1712"/>
                  </a:lnTo>
                  <a:lnTo>
                    <a:pt x="3325" y="1698"/>
                  </a:lnTo>
                  <a:lnTo>
                    <a:pt x="3339" y="1642"/>
                  </a:lnTo>
                  <a:lnTo>
                    <a:pt x="3325" y="1628"/>
                  </a:lnTo>
                  <a:lnTo>
                    <a:pt x="3242" y="1607"/>
                  </a:lnTo>
                  <a:lnTo>
                    <a:pt x="3228" y="1566"/>
                  </a:lnTo>
                  <a:lnTo>
                    <a:pt x="3179" y="1510"/>
                  </a:lnTo>
                  <a:lnTo>
                    <a:pt x="3172" y="1475"/>
                  </a:lnTo>
                  <a:lnTo>
                    <a:pt x="3179" y="1461"/>
                  </a:lnTo>
                  <a:lnTo>
                    <a:pt x="3214" y="1419"/>
                  </a:lnTo>
                  <a:lnTo>
                    <a:pt x="3242" y="1378"/>
                  </a:lnTo>
                  <a:lnTo>
                    <a:pt x="3242" y="1371"/>
                  </a:lnTo>
                  <a:lnTo>
                    <a:pt x="3242" y="1364"/>
                  </a:lnTo>
                  <a:lnTo>
                    <a:pt x="3242" y="1336"/>
                  </a:lnTo>
                  <a:lnTo>
                    <a:pt x="3235" y="1322"/>
                  </a:lnTo>
                  <a:lnTo>
                    <a:pt x="3200" y="1246"/>
                  </a:lnTo>
                  <a:lnTo>
                    <a:pt x="3263" y="1169"/>
                  </a:lnTo>
                  <a:lnTo>
                    <a:pt x="3346" y="1086"/>
                  </a:lnTo>
                  <a:lnTo>
                    <a:pt x="3381" y="1051"/>
                  </a:lnTo>
                  <a:lnTo>
                    <a:pt x="3409" y="1023"/>
                  </a:lnTo>
                  <a:lnTo>
                    <a:pt x="3423" y="1016"/>
                  </a:lnTo>
                  <a:lnTo>
                    <a:pt x="3437" y="1002"/>
                  </a:lnTo>
                  <a:lnTo>
                    <a:pt x="3464" y="953"/>
                  </a:lnTo>
                  <a:lnTo>
                    <a:pt x="3464" y="946"/>
                  </a:lnTo>
                  <a:lnTo>
                    <a:pt x="3464" y="940"/>
                  </a:lnTo>
                  <a:lnTo>
                    <a:pt x="3458" y="940"/>
                  </a:lnTo>
                  <a:lnTo>
                    <a:pt x="3437" y="863"/>
                  </a:lnTo>
                  <a:lnTo>
                    <a:pt x="3437" y="814"/>
                  </a:lnTo>
                  <a:lnTo>
                    <a:pt x="3367" y="779"/>
                  </a:lnTo>
                  <a:lnTo>
                    <a:pt x="3332" y="752"/>
                  </a:lnTo>
                  <a:lnTo>
                    <a:pt x="3304" y="752"/>
                  </a:lnTo>
                  <a:lnTo>
                    <a:pt x="3277" y="752"/>
                  </a:lnTo>
                  <a:lnTo>
                    <a:pt x="3249" y="710"/>
                  </a:lnTo>
                  <a:lnTo>
                    <a:pt x="3249" y="682"/>
                  </a:lnTo>
                  <a:lnTo>
                    <a:pt x="3207" y="647"/>
                  </a:lnTo>
                  <a:lnTo>
                    <a:pt x="3165" y="585"/>
                  </a:lnTo>
                  <a:lnTo>
                    <a:pt x="3144" y="550"/>
                  </a:lnTo>
                  <a:lnTo>
                    <a:pt x="3033" y="501"/>
                  </a:lnTo>
                  <a:lnTo>
                    <a:pt x="3033" y="494"/>
                  </a:lnTo>
                  <a:lnTo>
                    <a:pt x="2998" y="466"/>
                  </a:lnTo>
                  <a:lnTo>
                    <a:pt x="3012" y="446"/>
                  </a:lnTo>
                  <a:lnTo>
                    <a:pt x="2971" y="362"/>
                  </a:lnTo>
                  <a:lnTo>
                    <a:pt x="2998" y="320"/>
                  </a:lnTo>
                  <a:lnTo>
                    <a:pt x="3019" y="300"/>
                  </a:lnTo>
                  <a:lnTo>
                    <a:pt x="3033" y="230"/>
                  </a:lnTo>
                  <a:lnTo>
                    <a:pt x="3033" y="167"/>
                  </a:lnTo>
                  <a:lnTo>
                    <a:pt x="3040" y="153"/>
                  </a:lnTo>
                  <a:lnTo>
                    <a:pt x="3040" y="119"/>
                  </a:lnTo>
                  <a:lnTo>
                    <a:pt x="3019" y="98"/>
                  </a:lnTo>
                  <a:lnTo>
                    <a:pt x="3033" y="56"/>
                  </a:lnTo>
                  <a:lnTo>
                    <a:pt x="3005" y="0"/>
                  </a:lnTo>
                  <a:lnTo>
                    <a:pt x="2880" y="28"/>
                  </a:lnTo>
                  <a:lnTo>
                    <a:pt x="2824" y="63"/>
                  </a:lnTo>
                  <a:lnTo>
                    <a:pt x="2776" y="91"/>
                  </a:lnTo>
                  <a:lnTo>
                    <a:pt x="2748" y="119"/>
                  </a:lnTo>
                  <a:lnTo>
                    <a:pt x="2776" y="133"/>
                  </a:lnTo>
                  <a:lnTo>
                    <a:pt x="2790" y="167"/>
                  </a:lnTo>
                  <a:lnTo>
                    <a:pt x="2748" y="202"/>
                  </a:lnTo>
                  <a:lnTo>
                    <a:pt x="2706" y="223"/>
                  </a:lnTo>
                  <a:lnTo>
                    <a:pt x="2706" y="251"/>
                  </a:lnTo>
                  <a:lnTo>
                    <a:pt x="2658" y="272"/>
                  </a:lnTo>
                  <a:lnTo>
                    <a:pt x="2588" y="355"/>
                  </a:lnTo>
                  <a:lnTo>
                    <a:pt x="2518" y="362"/>
                  </a:lnTo>
                  <a:lnTo>
                    <a:pt x="2484" y="362"/>
                  </a:lnTo>
                  <a:lnTo>
                    <a:pt x="2393" y="452"/>
                  </a:lnTo>
                  <a:lnTo>
                    <a:pt x="2449" y="480"/>
                  </a:lnTo>
                  <a:lnTo>
                    <a:pt x="2477" y="515"/>
                  </a:lnTo>
                  <a:lnTo>
                    <a:pt x="2491" y="522"/>
                  </a:lnTo>
                  <a:lnTo>
                    <a:pt x="2539" y="626"/>
                  </a:lnTo>
                  <a:lnTo>
                    <a:pt x="2518" y="647"/>
                  </a:lnTo>
                  <a:lnTo>
                    <a:pt x="2518" y="682"/>
                  </a:lnTo>
                  <a:lnTo>
                    <a:pt x="2504" y="717"/>
                  </a:lnTo>
                  <a:lnTo>
                    <a:pt x="2477" y="717"/>
                  </a:lnTo>
                  <a:lnTo>
                    <a:pt x="2442" y="773"/>
                  </a:lnTo>
                  <a:lnTo>
                    <a:pt x="2324" y="793"/>
                  </a:lnTo>
                  <a:lnTo>
                    <a:pt x="2310" y="849"/>
                  </a:lnTo>
                  <a:lnTo>
                    <a:pt x="2317" y="912"/>
                  </a:lnTo>
                  <a:lnTo>
                    <a:pt x="2296" y="940"/>
                  </a:lnTo>
                  <a:lnTo>
                    <a:pt x="2289" y="988"/>
                  </a:lnTo>
                  <a:lnTo>
                    <a:pt x="2282" y="988"/>
                  </a:lnTo>
                  <a:lnTo>
                    <a:pt x="2247" y="1023"/>
                  </a:lnTo>
                  <a:lnTo>
                    <a:pt x="2115" y="1037"/>
                  </a:lnTo>
                  <a:lnTo>
                    <a:pt x="2066" y="1072"/>
                  </a:lnTo>
                  <a:lnTo>
                    <a:pt x="2052" y="1134"/>
                  </a:lnTo>
                  <a:lnTo>
                    <a:pt x="2059" y="1176"/>
                  </a:lnTo>
                  <a:lnTo>
                    <a:pt x="2038" y="1204"/>
                  </a:lnTo>
                  <a:lnTo>
                    <a:pt x="2052" y="1308"/>
                  </a:lnTo>
                  <a:lnTo>
                    <a:pt x="2052" y="1343"/>
                  </a:lnTo>
                  <a:lnTo>
                    <a:pt x="2038" y="1371"/>
                  </a:lnTo>
                  <a:lnTo>
                    <a:pt x="2052" y="1399"/>
                  </a:lnTo>
                  <a:lnTo>
                    <a:pt x="2031" y="1413"/>
                  </a:lnTo>
                  <a:lnTo>
                    <a:pt x="2052" y="1496"/>
                  </a:lnTo>
                  <a:lnTo>
                    <a:pt x="2094" y="1566"/>
                  </a:lnTo>
                  <a:lnTo>
                    <a:pt x="2150" y="1580"/>
                  </a:lnTo>
                  <a:lnTo>
                    <a:pt x="2150" y="1600"/>
                  </a:lnTo>
                  <a:lnTo>
                    <a:pt x="2157" y="1614"/>
                  </a:lnTo>
                  <a:lnTo>
                    <a:pt x="2150" y="1642"/>
                  </a:lnTo>
                  <a:lnTo>
                    <a:pt x="2150" y="1649"/>
                  </a:lnTo>
                  <a:lnTo>
                    <a:pt x="2136" y="1670"/>
                  </a:lnTo>
                  <a:lnTo>
                    <a:pt x="2115" y="1691"/>
                  </a:lnTo>
                  <a:lnTo>
                    <a:pt x="2115" y="1712"/>
                  </a:lnTo>
                  <a:lnTo>
                    <a:pt x="2122" y="1739"/>
                  </a:lnTo>
                  <a:lnTo>
                    <a:pt x="2136" y="1746"/>
                  </a:lnTo>
                  <a:lnTo>
                    <a:pt x="2129" y="1767"/>
                  </a:lnTo>
                  <a:lnTo>
                    <a:pt x="2164" y="1802"/>
                  </a:lnTo>
                  <a:lnTo>
                    <a:pt x="2157" y="1823"/>
                  </a:lnTo>
                  <a:lnTo>
                    <a:pt x="2136" y="1823"/>
                  </a:lnTo>
                  <a:lnTo>
                    <a:pt x="2094" y="1872"/>
                  </a:lnTo>
                  <a:lnTo>
                    <a:pt x="2094" y="1878"/>
                  </a:lnTo>
                  <a:lnTo>
                    <a:pt x="2094" y="1906"/>
                  </a:lnTo>
                  <a:lnTo>
                    <a:pt x="2087" y="1899"/>
                  </a:lnTo>
                  <a:lnTo>
                    <a:pt x="2038" y="1899"/>
                  </a:lnTo>
                  <a:lnTo>
                    <a:pt x="2018" y="1893"/>
                  </a:lnTo>
                  <a:lnTo>
                    <a:pt x="1927" y="1934"/>
                  </a:lnTo>
                  <a:lnTo>
                    <a:pt x="1830" y="1997"/>
                  </a:lnTo>
                  <a:lnTo>
                    <a:pt x="1823" y="2004"/>
                  </a:lnTo>
                  <a:lnTo>
                    <a:pt x="1809" y="1997"/>
                  </a:lnTo>
                  <a:lnTo>
                    <a:pt x="1767" y="1990"/>
                  </a:lnTo>
                  <a:lnTo>
                    <a:pt x="1753" y="1990"/>
                  </a:lnTo>
                  <a:lnTo>
                    <a:pt x="1732" y="1997"/>
                  </a:lnTo>
                  <a:lnTo>
                    <a:pt x="1663" y="1962"/>
                  </a:lnTo>
                  <a:lnTo>
                    <a:pt x="1621" y="1976"/>
                  </a:lnTo>
                  <a:lnTo>
                    <a:pt x="1621" y="1962"/>
                  </a:lnTo>
                  <a:lnTo>
                    <a:pt x="1544" y="1906"/>
                  </a:lnTo>
                  <a:lnTo>
                    <a:pt x="1496" y="1941"/>
                  </a:lnTo>
                  <a:lnTo>
                    <a:pt x="1447" y="1934"/>
                  </a:lnTo>
                  <a:lnTo>
                    <a:pt x="1391" y="1941"/>
                  </a:lnTo>
                  <a:lnTo>
                    <a:pt x="1350" y="1997"/>
                  </a:lnTo>
                  <a:lnTo>
                    <a:pt x="1315" y="2011"/>
                  </a:lnTo>
                  <a:lnTo>
                    <a:pt x="1301" y="2032"/>
                  </a:lnTo>
                  <a:lnTo>
                    <a:pt x="1238" y="2087"/>
                  </a:lnTo>
                  <a:lnTo>
                    <a:pt x="1217" y="2059"/>
                  </a:lnTo>
                  <a:lnTo>
                    <a:pt x="1148" y="2087"/>
                  </a:lnTo>
                  <a:lnTo>
                    <a:pt x="1065" y="2087"/>
                  </a:lnTo>
                  <a:lnTo>
                    <a:pt x="1051" y="2108"/>
                  </a:lnTo>
                  <a:lnTo>
                    <a:pt x="981" y="2171"/>
                  </a:lnTo>
                  <a:lnTo>
                    <a:pt x="946" y="2157"/>
                  </a:lnTo>
                  <a:lnTo>
                    <a:pt x="884" y="2150"/>
                  </a:lnTo>
                  <a:lnTo>
                    <a:pt x="856" y="2164"/>
                  </a:lnTo>
                  <a:lnTo>
                    <a:pt x="842" y="2087"/>
                  </a:lnTo>
                  <a:lnTo>
                    <a:pt x="821" y="2094"/>
                  </a:lnTo>
                  <a:lnTo>
                    <a:pt x="807" y="2171"/>
                  </a:lnTo>
                  <a:lnTo>
                    <a:pt x="786" y="2185"/>
                  </a:lnTo>
                  <a:lnTo>
                    <a:pt x="807" y="2261"/>
                  </a:lnTo>
                  <a:lnTo>
                    <a:pt x="849" y="2282"/>
                  </a:lnTo>
                  <a:lnTo>
                    <a:pt x="918" y="2324"/>
                  </a:lnTo>
                  <a:lnTo>
                    <a:pt x="890" y="2366"/>
                  </a:lnTo>
                  <a:lnTo>
                    <a:pt x="884" y="2414"/>
                  </a:lnTo>
                  <a:lnTo>
                    <a:pt x="842" y="2435"/>
                  </a:lnTo>
                  <a:lnTo>
                    <a:pt x="842" y="2484"/>
                  </a:lnTo>
                  <a:lnTo>
                    <a:pt x="814" y="2484"/>
                  </a:lnTo>
                  <a:lnTo>
                    <a:pt x="793" y="2512"/>
                  </a:lnTo>
                  <a:lnTo>
                    <a:pt x="842" y="2595"/>
                  </a:lnTo>
                  <a:lnTo>
                    <a:pt x="842" y="2644"/>
                  </a:lnTo>
                  <a:lnTo>
                    <a:pt x="835" y="2665"/>
                  </a:lnTo>
                  <a:lnTo>
                    <a:pt x="807" y="2665"/>
                  </a:lnTo>
                  <a:lnTo>
                    <a:pt x="758" y="2727"/>
                  </a:lnTo>
                  <a:lnTo>
                    <a:pt x="723" y="2748"/>
                  </a:lnTo>
                  <a:lnTo>
                    <a:pt x="703" y="2713"/>
                  </a:lnTo>
                  <a:lnTo>
                    <a:pt x="661" y="2727"/>
                  </a:lnTo>
                  <a:lnTo>
                    <a:pt x="626" y="2727"/>
                  </a:lnTo>
                  <a:lnTo>
                    <a:pt x="619" y="2741"/>
                  </a:lnTo>
                  <a:lnTo>
                    <a:pt x="557" y="2762"/>
                  </a:lnTo>
                  <a:lnTo>
                    <a:pt x="564" y="2776"/>
                  </a:lnTo>
                  <a:lnTo>
                    <a:pt x="550" y="2797"/>
                  </a:lnTo>
                  <a:lnTo>
                    <a:pt x="522" y="2825"/>
                  </a:lnTo>
                  <a:lnTo>
                    <a:pt x="529" y="2839"/>
                  </a:lnTo>
                  <a:lnTo>
                    <a:pt x="452" y="2845"/>
                  </a:lnTo>
                  <a:lnTo>
                    <a:pt x="431" y="2860"/>
                  </a:lnTo>
                  <a:lnTo>
                    <a:pt x="452" y="2894"/>
                  </a:lnTo>
                  <a:lnTo>
                    <a:pt x="383" y="2929"/>
                  </a:lnTo>
                  <a:lnTo>
                    <a:pt x="376" y="2915"/>
                  </a:lnTo>
                  <a:lnTo>
                    <a:pt x="334" y="2894"/>
                  </a:lnTo>
                  <a:lnTo>
                    <a:pt x="237" y="2860"/>
                  </a:lnTo>
                  <a:lnTo>
                    <a:pt x="195" y="2908"/>
                  </a:lnTo>
                  <a:lnTo>
                    <a:pt x="146" y="2887"/>
                  </a:lnTo>
                  <a:lnTo>
                    <a:pt x="91" y="2894"/>
                  </a:lnTo>
                  <a:lnTo>
                    <a:pt x="83" y="2929"/>
                  </a:lnTo>
                  <a:lnTo>
                    <a:pt x="28" y="2950"/>
                  </a:lnTo>
                  <a:lnTo>
                    <a:pt x="0" y="2978"/>
                  </a:lnTo>
                  <a:lnTo>
                    <a:pt x="35" y="3026"/>
                  </a:lnTo>
                  <a:lnTo>
                    <a:pt x="56" y="3047"/>
                  </a:lnTo>
                  <a:lnTo>
                    <a:pt x="63" y="3075"/>
                  </a:lnTo>
                  <a:lnTo>
                    <a:pt x="70" y="3117"/>
                  </a:lnTo>
                  <a:lnTo>
                    <a:pt x="70" y="3152"/>
                  </a:lnTo>
                  <a:lnTo>
                    <a:pt x="132" y="3158"/>
                  </a:lnTo>
                  <a:lnTo>
                    <a:pt x="195" y="3172"/>
                  </a:lnTo>
                  <a:lnTo>
                    <a:pt x="202" y="3186"/>
                  </a:lnTo>
                  <a:lnTo>
                    <a:pt x="216" y="3214"/>
                  </a:lnTo>
                  <a:lnTo>
                    <a:pt x="188" y="3221"/>
                  </a:lnTo>
                  <a:lnTo>
                    <a:pt x="230" y="3270"/>
                  </a:lnTo>
                  <a:lnTo>
                    <a:pt x="223" y="3319"/>
                  </a:lnTo>
                  <a:lnTo>
                    <a:pt x="195" y="3353"/>
                  </a:lnTo>
                  <a:lnTo>
                    <a:pt x="202" y="3402"/>
                  </a:lnTo>
                  <a:lnTo>
                    <a:pt x="230" y="3430"/>
                  </a:lnTo>
                  <a:lnTo>
                    <a:pt x="264" y="3444"/>
                  </a:lnTo>
                  <a:lnTo>
                    <a:pt x="292" y="3451"/>
                  </a:lnTo>
                  <a:lnTo>
                    <a:pt x="313" y="3479"/>
                  </a:lnTo>
                  <a:lnTo>
                    <a:pt x="417" y="3534"/>
                  </a:lnTo>
                  <a:lnTo>
                    <a:pt x="480" y="3541"/>
                  </a:lnTo>
                  <a:lnTo>
                    <a:pt x="508" y="3506"/>
                  </a:lnTo>
                  <a:lnTo>
                    <a:pt x="612" y="3562"/>
                  </a:lnTo>
                  <a:lnTo>
                    <a:pt x="619" y="3562"/>
                  </a:lnTo>
                  <a:lnTo>
                    <a:pt x="640" y="3597"/>
                  </a:lnTo>
                  <a:lnTo>
                    <a:pt x="654" y="3597"/>
                  </a:lnTo>
                  <a:lnTo>
                    <a:pt x="619" y="3666"/>
                  </a:lnTo>
                  <a:lnTo>
                    <a:pt x="647" y="3694"/>
                  </a:lnTo>
                  <a:lnTo>
                    <a:pt x="661" y="3798"/>
                  </a:lnTo>
                  <a:lnTo>
                    <a:pt x="723" y="3833"/>
                  </a:lnTo>
                  <a:lnTo>
                    <a:pt x="744" y="3903"/>
                  </a:lnTo>
                  <a:lnTo>
                    <a:pt x="744" y="3910"/>
                  </a:lnTo>
                  <a:lnTo>
                    <a:pt x="682" y="3889"/>
                  </a:lnTo>
                  <a:lnTo>
                    <a:pt x="619" y="3889"/>
                  </a:lnTo>
                  <a:lnTo>
                    <a:pt x="557" y="3910"/>
                  </a:lnTo>
                  <a:lnTo>
                    <a:pt x="543" y="3965"/>
                  </a:lnTo>
                  <a:lnTo>
                    <a:pt x="564" y="4042"/>
                  </a:lnTo>
                  <a:lnTo>
                    <a:pt x="550" y="4035"/>
                  </a:lnTo>
                  <a:lnTo>
                    <a:pt x="522" y="4070"/>
                  </a:lnTo>
                  <a:lnTo>
                    <a:pt x="515" y="4139"/>
                  </a:lnTo>
                  <a:lnTo>
                    <a:pt x="487" y="4153"/>
                  </a:lnTo>
                  <a:lnTo>
                    <a:pt x="480" y="4174"/>
                  </a:lnTo>
                  <a:lnTo>
                    <a:pt x="425" y="4188"/>
                  </a:lnTo>
                  <a:lnTo>
                    <a:pt x="390" y="4230"/>
                  </a:lnTo>
                  <a:lnTo>
                    <a:pt x="390" y="4271"/>
                  </a:lnTo>
                  <a:lnTo>
                    <a:pt x="417" y="4334"/>
                  </a:lnTo>
                  <a:lnTo>
                    <a:pt x="445" y="4362"/>
                  </a:lnTo>
                  <a:lnTo>
                    <a:pt x="466" y="4390"/>
                  </a:lnTo>
                  <a:lnTo>
                    <a:pt x="529" y="4459"/>
                  </a:lnTo>
                  <a:lnTo>
                    <a:pt x="487" y="4466"/>
                  </a:lnTo>
                  <a:lnTo>
                    <a:pt x="445" y="4487"/>
                  </a:lnTo>
                  <a:lnTo>
                    <a:pt x="445" y="4592"/>
                  </a:lnTo>
                  <a:lnTo>
                    <a:pt x="445" y="4613"/>
                  </a:lnTo>
                  <a:lnTo>
                    <a:pt x="487" y="4633"/>
                  </a:lnTo>
                  <a:lnTo>
                    <a:pt x="515" y="4689"/>
                  </a:lnTo>
                  <a:lnTo>
                    <a:pt x="543" y="4696"/>
                  </a:lnTo>
                  <a:lnTo>
                    <a:pt x="550" y="4731"/>
                  </a:lnTo>
                  <a:lnTo>
                    <a:pt x="557" y="4759"/>
                  </a:lnTo>
                  <a:lnTo>
                    <a:pt x="577" y="4779"/>
                  </a:lnTo>
                  <a:lnTo>
                    <a:pt x="612" y="4786"/>
                  </a:lnTo>
                  <a:lnTo>
                    <a:pt x="626" y="4884"/>
                  </a:lnTo>
                  <a:lnTo>
                    <a:pt x="689" y="4898"/>
                  </a:lnTo>
                  <a:lnTo>
                    <a:pt x="751" y="4891"/>
                  </a:lnTo>
                  <a:lnTo>
                    <a:pt x="779" y="4919"/>
                  </a:lnTo>
                  <a:lnTo>
                    <a:pt x="842" y="4953"/>
                  </a:lnTo>
                  <a:lnTo>
                    <a:pt x="877" y="4953"/>
                  </a:lnTo>
                  <a:lnTo>
                    <a:pt x="890" y="4953"/>
                  </a:lnTo>
                  <a:lnTo>
                    <a:pt x="918" y="4960"/>
                  </a:lnTo>
                  <a:lnTo>
                    <a:pt x="932" y="4960"/>
                  </a:lnTo>
                  <a:lnTo>
                    <a:pt x="988" y="5037"/>
                  </a:lnTo>
                  <a:lnTo>
                    <a:pt x="1016" y="5023"/>
                  </a:lnTo>
                  <a:lnTo>
                    <a:pt x="1051" y="5078"/>
                  </a:lnTo>
                  <a:lnTo>
                    <a:pt x="1085" y="5086"/>
                  </a:lnTo>
                  <a:lnTo>
                    <a:pt x="1134" y="5078"/>
                  </a:lnTo>
                  <a:lnTo>
                    <a:pt x="1183" y="5086"/>
                  </a:lnTo>
                  <a:lnTo>
                    <a:pt x="1211" y="5148"/>
                  </a:lnTo>
                  <a:lnTo>
                    <a:pt x="1273" y="5127"/>
                  </a:lnTo>
                  <a:lnTo>
                    <a:pt x="1315" y="5148"/>
                  </a:lnTo>
                  <a:lnTo>
                    <a:pt x="1329" y="5113"/>
                  </a:lnTo>
                  <a:lnTo>
                    <a:pt x="1378" y="5120"/>
                  </a:lnTo>
                  <a:lnTo>
                    <a:pt x="1447" y="5086"/>
                  </a:lnTo>
                  <a:lnTo>
                    <a:pt x="1489" y="5092"/>
                  </a:lnTo>
                  <a:lnTo>
                    <a:pt x="1503" y="5078"/>
                  </a:lnTo>
                  <a:lnTo>
                    <a:pt x="1565" y="5058"/>
                  </a:lnTo>
                  <a:lnTo>
                    <a:pt x="1635" y="5072"/>
                  </a:lnTo>
                  <a:lnTo>
                    <a:pt x="1663" y="5016"/>
                  </a:lnTo>
                  <a:lnTo>
                    <a:pt x="1725" y="5016"/>
                  </a:lnTo>
                  <a:lnTo>
                    <a:pt x="1753" y="5016"/>
                  </a:lnTo>
                  <a:lnTo>
                    <a:pt x="1725" y="5051"/>
                  </a:lnTo>
                  <a:lnTo>
                    <a:pt x="1732" y="5078"/>
                  </a:lnTo>
                  <a:lnTo>
                    <a:pt x="1718" y="5113"/>
                  </a:lnTo>
                  <a:lnTo>
                    <a:pt x="1795" y="5211"/>
                  </a:lnTo>
                  <a:lnTo>
                    <a:pt x="1795" y="5266"/>
                  </a:lnTo>
                  <a:lnTo>
                    <a:pt x="1823" y="5253"/>
                  </a:lnTo>
                  <a:lnTo>
                    <a:pt x="1851" y="5225"/>
                  </a:lnTo>
                  <a:lnTo>
                    <a:pt x="1864" y="5211"/>
                  </a:lnTo>
                  <a:lnTo>
                    <a:pt x="1830" y="5218"/>
                  </a:lnTo>
                  <a:lnTo>
                    <a:pt x="1795" y="5169"/>
                  </a:lnTo>
                  <a:lnTo>
                    <a:pt x="1809" y="5127"/>
                  </a:lnTo>
                  <a:lnTo>
                    <a:pt x="1851" y="5106"/>
                  </a:lnTo>
                  <a:lnTo>
                    <a:pt x="1892" y="5092"/>
                  </a:lnTo>
                  <a:lnTo>
                    <a:pt x="1997" y="5141"/>
                  </a:lnTo>
                  <a:lnTo>
                    <a:pt x="2003" y="5141"/>
                  </a:lnTo>
                  <a:lnTo>
                    <a:pt x="2066" y="5155"/>
                  </a:lnTo>
                  <a:lnTo>
                    <a:pt x="2080" y="5176"/>
                  </a:lnTo>
                  <a:lnTo>
                    <a:pt x="2136" y="5155"/>
                  </a:lnTo>
                  <a:lnTo>
                    <a:pt x="2157" y="5176"/>
                  </a:lnTo>
                  <a:lnTo>
                    <a:pt x="2164" y="5176"/>
                  </a:lnTo>
                  <a:lnTo>
                    <a:pt x="2212" y="5155"/>
                  </a:lnTo>
                  <a:lnTo>
                    <a:pt x="2219" y="5155"/>
                  </a:lnTo>
                  <a:lnTo>
                    <a:pt x="2282" y="5176"/>
                  </a:lnTo>
                  <a:lnTo>
                    <a:pt x="2289" y="5155"/>
                  </a:lnTo>
                  <a:lnTo>
                    <a:pt x="2289" y="5141"/>
                  </a:lnTo>
                  <a:lnTo>
                    <a:pt x="2254" y="5120"/>
                  </a:lnTo>
                  <a:lnTo>
                    <a:pt x="2254" y="5113"/>
                  </a:lnTo>
                  <a:lnTo>
                    <a:pt x="2233" y="5106"/>
                  </a:lnTo>
                  <a:lnTo>
                    <a:pt x="2261" y="5072"/>
                  </a:lnTo>
                  <a:lnTo>
                    <a:pt x="2310" y="5058"/>
                  </a:lnTo>
                  <a:lnTo>
                    <a:pt x="2345" y="5086"/>
                  </a:lnTo>
                  <a:lnTo>
                    <a:pt x="2386" y="5072"/>
                  </a:lnTo>
                  <a:lnTo>
                    <a:pt x="2407" y="5037"/>
                  </a:lnTo>
                  <a:lnTo>
                    <a:pt x="2421" y="5023"/>
                  </a:lnTo>
                  <a:lnTo>
                    <a:pt x="2421" y="4981"/>
                  </a:lnTo>
                  <a:lnTo>
                    <a:pt x="2414" y="4953"/>
                  </a:lnTo>
                  <a:lnTo>
                    <a:pt x="2386" y="4939"/>
                  </a:lnTo>
                  <a:lnTo>
                    <a:pt x="2379" y="4911"/>
                  </a:lnTo>
                  <a:lnTo>
                    <a:pt x="2379" y="4898"/>
                  </a:lnTo>
                  <a:lnTo>
                    <a:pt x="2393" y="4884"/>
                  </a:lnTo>
                  <a:lnTo>
                    <a:pt x="2365" y="4849"/>
                  </a:lnTo>
                  <a:lnTo>
                    <a:pt x="2414" y="4793"/>
                  </a:lnTo>
                  <a:lnTo>
                    <a:pt x="2365" y="4765"/>
                  </a:lnTo>
                  <a:lnTo>
                    <a:pt x="2365" y="4731"/>
                  </a:lnTo>
                  <a:lnTo>
                    <a:pt x="2407" y="4717"/>
                  </a:lnTo>
                  <a:lnTo>
                    <a:pt x="2442" y="4745"/>
                  </a:lnTo>
                  <a:lnTo>
                    <a:pt x="2442" y="4689"/>
                  </a:lnTo>
                  <a:lnTo>
                    <a:pt x="2456" y="4668"/>
                  </a:lnTo>
                  <a:lnTo>
                    <a:pt x="2463" y="4668"/>
                  </a:lnTo>
                  <a:lnTo>
                    <a:pt x="2491" y="4668"/>
                  </a:lnTo>
                  <a:lnTo>
                    <a:pt x="2511" y="4619"/>
                  </a:lnTo>
                  <a:lnTo>
                    <a:pt x="2504" y="4592"/>
                  </a:lnTo>
                  <a:lnTo>
                    <a:pt x="2511" y="4585"/>
                  </a:lnTo>
                  <a:lnTo>
                    <a:pt x="2511" y="4564"/>
                  </a:lnTo>
                  <a:lnTo>
                    <a:pt x="2511" y="4557"/>
                  </a:lnTo>
                  <a:lnTo>
                    <a:pt x="2518" y="4557"/>
                  </a:lnTo>
                  <a:lnTo>
                    <a:pt x="2546" y="4536"/>
                  </a:lnTo>
                  <a:lnTo>
                    <a:pt x="2574" y="4529"/>
                  </a:lnTo>
                  <a:lnTo>
                    <a:pt x="2609" y="4501"/>
                  </a:lnTo>
                  <a:lnTo>
                    <a:pt x="2623" y="4466"/>
                  </a:lnTo>
                  <a:lnTo>
                    <a:pt x="2609" y="4418"/>
                  </a:lnTo>
                  <a:lnTo>
                    <a:pt x="2609" y="4404"/>
                  </a:lnTo>
                  <a:lnTo>
                    <a:pt x="2588" y="4383"/>
                  </a:lnTo>
                  <a:lnTo>
                    <a:pt x="2595" y="4355"/>
                  </a:lnTo>
                  <a:lnTo>
                    <a:pt x="2637" y="4334"/>
                  </a:lnTo>
                  <a:lnTo>
                    <a:pt x="2644" y="4320"/>
                  </a:lnTo>
                  <a:lnTo>
                    <a:pt x="2623" y="4320"/>
                  </a:lnTo>
                  <a:lnTo>
                    <a:pt x="2651" y="4265"/>
                  </a:lnTo>
                  <a:lnTo>
                    <a:pt x="2685" y="4237"/>
                  </a:lnTo>
                  <a:lnTo>
                    <a:pt x="2692" y="4265"/>
                  </a:lnTo>
                </a:path>
              </a:pathLst>
            </a:custGeom>
            <a:grpFill/>
            <a:ln w="9525" cap="flat" cmpd="sng">
              <a:solidFill>
                <a:schemeClr val="bg1"/>
              </a:solidFill>
              <a:bevel/>
              <a:headEnd/>
              <a:tailEnd/>
            </a:ln>
            <a:effectLst/>
          </p:spPr>
          <p:txBody>
            <a:bodyPr wrap="none" anchor="ctr"/>
            <a:lstStyle/>
            <a:p>
              <a:endParaRPr lang="en-US" dirty="0">
                <a:latin typeface="Open Sans Regular" charset="0"/>
              </a:endParaRPr>
            </a:p>
          </p:txBody>
        </p:sp>
        <p:sp>
          <p:nvSpPr>
            <p:cNvPr id="120" name="Freeform 117">
              <a:extLst>
                <a:ext uri="{FF2B5EF4-FFF2-40B4-BE49-F238E27FC236}">
                  <a16:creationId xmlns:a16="http://schemas.microsoft.com/office/drawing/2014/main" id="{3F8BCAE2-E1E0-48CA-9F91-E88D71DE0788}"/>
                </a:ext>
              </a:extLst>
            </p:cNvPr>
            <p:cNvSpPr>
              <a:spLocks noChangeArrowheads="1"/>
            </p:cNvSpPr>
            <p:nvPr/>
          </p:nvSpPr>
          <p:spPr bwMode="auto">
            <a:xfrm>
              <a:off x="13192088" y="3666900"/>
              <a:ext cx="876078" cy="532310"/>
            </a:xfrm>
            <a:custGeom>
              <a:avLst/>
              <a:gdLst>
                <a:gd name="T0" fmla="*/ 1273 w 1866"/>
                <a:gd name="T1" fmla="*/ 0 h 1135"/>
                <a:gd name="T2" fmla="*/ 1148 w 1866"/>
                <a:gd name="T3" fmla="*/ 55 h 1135"/>
                <a:gd name="T4" fmla="*/ 1079 w 1866"/>
                <a:gd name="T5" fmla="*/ 104 h 1135"/>
                <a:gd name="T6" fmla="*/ 967 w 1866"/>
                <a:gd name="T7" fmla="*/ 187 h 1135"/>
                <a:gd name="T8" fmla="*/ 870 w 1866"/>
                <a:gd name="T9" fmla="*/ 160 h 1135"/>
                <a:gd name="T10" fmla="*/ 724 w 1866"/>
                <a:gd name="T11" fmla="*/ 202 h 1135"/>
                <a:gd name="T12" fmla="*/ 612 w 1866"/>
                <a:gd name="T13" fmla="*/ 264 h 1135"/>
                <a:gd name="T14" fmla="*/ 487 w 1866"/>
                <a:gd name="T15" fmla="*/ 271 h 1135"/>
                <a:gd name="T16" fmla="*/ 355 w 1866"/>
                <a:gd name="T17" fmla="*/ 153 h 1135"/>
                <a:gd name="T18" fmla="*/ 244 w 1866"/>
                <a:gd name="T19" fmla="*/ 271 h 1135"/>
                <a:gd name="T20" fmla="*/ 118 w 1866"/>
                <a:gd name="T21" fmla="*/ 299 h 1135"/>
                <a:gd name="T22" fmla="*/ 21 w 1866"/>
                <a:gd name="T23" fmla="*/ 334 h 1135"/>
                <a:gd name="T24" fmla="*/ 0 w 1866"/>
                <a:gd name="T25" fmla="*/ 487 h 1135"/>
                <a:gd name="T26" fmla="*/ 14 w 1866"/>
                <a:gd name="T27" fmla="*/ 577 h 1135"/>
                <a:gd name="T28" fmla="*/ 146 w 1866"/>
                <a:gd name="T29" fmla="*/ 681 h 1135"/>
                <a:gd name="T30" fmla="*/ 181 w 1866"/>
                <a:gd name="T31" fmla="*/ 716 h 1135"/>
                <a:gd name="T32" fmla="*/ 265 w 1866"/>
                <a:gd name="T33" fmla="*/ 723 h 1135"/>
                <a:gd name="T34" fmla="*/ 292 w 1866"/>
                <a:gd name="T35" fmla="*/ 793 h 1135"/>
                <a:gd name="T36" fmla="*/ 306 w 1866"/>
                <a:gd name="T37" fmla="*/ 1002 h 1135"/>
                <a:gd name="T38" fmla="*/ 390 w 1866"/>
                <a:gd name="T39" fmla="*/ 1071 h 1135"/>
                <a:gd name="T40" fmla="*/ 487 w 1866"/>
                <a:gd name="T41" fmla="*/ 1134 h 1135"/>
                <a:gd name="T42" fmla="*/ 543 w 1866"/>
                <a:gd name="T43" fmla="*/ 1036 h 1135"/>
                <a:gd name="T44" fmla="*/ 647 w 1866"/>
                <a:gd name="T45" fmla="*/ 1106 h 1135"/>
                <a:gd name="T46" fmla="*/ 766 w 1866"/>
                <a:gd name="T47" fmla="*/ 1036 h 1135"/>
                <a:gd name="T48" fmla="*/ 939 w 1866"/>
                <a:gd name="T49" fmla="*/ 1036 h 1135"/>
                <a:gd name="T50" fmla="*/ 1051 w 1866"/>
                <a:gd name="T51" fmla="*/ 946 h 1135"/>
                <a:gd name="T52" fmla="*/ 1197 w 1866"/>
                <a:gd name="T53" fmla="*/ 890 h 1135"/>
                <a:gd name="T54" fmla="*/ 1322 w 1866"/>
                <a:gd name="T55" fmla="*/ 925 h 1135"/>
                <a:gd name="T56" fmla="*/ 1454 w 1866"/>
                <a:gd name="T57" fmla="*/ 939 h 1135"/>
                <a:gd name="T58" fmla="*/ 1524 w 1866"/>
                <a:gd name="T59" fmla="*/ 953 h 1135"/>
                <a:gd name="T60" fmla="*/ 1719 w 1866"/>
                <a:gd name="T61" fmla="*/ 842 h 1135"/>
                <a:gd name="T62" fmla="*/ 1795 w 1866"/>
                <a:gd name="T63" fmla="*/ 855 h 1135"/>
                <a:gd name="T64" fmla="*/ 1837 w 1866"/>
                <a:gd name="T65" fmla="*/ 772 h 1135"/>
                <a:gd name="T66" fmla="*/ 1830 w 1866"/>
                <a:gd name="T67" fmla="*/ 716 h 1135"/>
                <a:gd name="T68" fmla="*/ 1816 w 1866"/>
                <a:gd name="T69" fmla="*/ 661 h 1135"/>
                <a:gd name="T70" fmla="*/ 1851 w 1866"/>
                <a:gd name="T71" fmla="*/ 598 h 1135"/>
                <a:gd name="T72" fmla="*/ 1851 w 1866"/>
                <a:gd name="T73" fmla="*/ 549 h 1135"/>
                <a:gd name="T74" fmla="*/ 1753 w 1866"/>
                <a:gd name="T75" fmla="*/ 445 h 1135"/>
                <a:gd name="T76" fmla="*/ 1739 w 1866"/>
                <a:gd name="T77" fmla="*/ 320 h 1135"/>
                <a:gd name="T78" fmla="*/ 1739 w 1866"/>
                <a:gd name="T79" fmla="*/ 153 h 1135"/>
                <a:gd name="T80" fmla="*/ 1558 w 1866"/>
                <a:gd name="T81" fmla="*/ 97 h 1135"/>
                <a:gd name="T82" fmla="*/ 1489 w 1866"/>
                <a:gd name="T83" fmla="*/ 83 h 1135"/>
                <a:gd name="T84" fmla="*/ 1322 w 1866"/>
                <a:gd name="T85" fmla="*/ 35 h 1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66" h="1135">
                  <a:moveTo>
                    <a:pt x="1322" y="35"/>
                  </a:moveTo>
                  <a:lnTo>
                    <a:pt x="1294" y="28"/>
                  </a:lnTo>
                  <a:lnTo>
                    <a:pt x="1273" y="0"/>
                  </a:lnTo>
                  <a:lnTo>
                    <a:pt x="1225" y="0"/>
                  </a:lnTo>
                  <a:lnTo>
                    <a:pt x="1211" y="62"/>
                  </a:lnTo>
                  <a:lnTo>
                    <a:pt x="1148" y="55"/>
                  </a:lnTo>
                  <a:lnTo>
                    <a:pt x="1099" y="83"/>
                  </a:lnTo>
                  <a:lnTo>
                    <a:pt x="1106" y="104"/>
                  </a:lnTo>
                  <a:lnTo>
                    <a:pt x="1079" y="104"/>
                  </a:lnTo>
                  <a:lnTo>
                    <a:pt x="1016" y="153"/>
                  </a:lnTo>
                  <a:lnTo>
                    <a:pt x="981" y="160"/>
                  </a:lnTo>
                  <a:lnTo>
                    <a:pt x="967" y="187"/>
                  </a:lnTo>
                  <a:lnTo>
                    <a:pt x="939" y="187"/>
                  </a:lnTo>
                  <a:lnTo>
                    <a:pt x="905" y="167"/>
                  </a:lnTo>
                  <a:lnTo>
                    <a:pt x="870" y="160"/>
                  </a:lnTo>
                  <a:lnTo>
                    <a:pt x="807" y="139"/>
                  </a:lnTo>
                  <a:lnTo>
                    <a:pt x="752" y="202"/>
                  </a:lnTo>
                  <a:lnTo>
                    <a:pt x="724" y="202"/>
                  </a:lnTo>
                  <a:lnTo>
                    <a:pt x="682" y="215"/>
                  </a:lnTo>
                  <a:lnTo>
                    <a:pt x="640" y="271"/>
                  </a:lnTo>
                  <a:lnTo>
                    <a:pt x="612" y="264"/>
                  </a:lnTo>
                  <a:lnTo>
                    <a:pt x="585" y="229"/>
                  </a:lnTo>
                  <a:lnTo>
                    <a:pt x="536" y="264"/>
                  </a:lnTo>
                  <a:lnTo>
                    <a:pt x="487" y="271"/>
                  </a:lnTo>
                  <a:lnTo>
                    <a:pt x="439" y="187"/>
                  </a:lnTo>
                  <a:lnTo>
                    <a:pt x="404" y="139"/>
                  </a:lnTo>
                  <a:lnTo>
                    <a:pt x="355" y="153"/>
                  </a:lnTo>
                  <a:lnTo>
                    <a:pt x="320" y="202"/>
                  </a:lnTo>
                  <a:lnTo>
                    <a:pt x="313" y="250"/>
                  </a:lnTo>
                  <a:lnTo>
                    <a:pt x="244" y="271"/>
                  </a:lnTo>
                  <a:lnTo>
                    <a:pt x="209" y="299"/>
                  </a:lnTo>
                  <a:lnTo>
                    <a:pt x="146" y="320"/>
                  </a:lnTo>
                  <a:lnTo>
                    <a:pt x="118" y="299"/>
                  </a:lnTo>
                  <a:lnTo>
                    <a:pt x="91" y="334"/>
                  </a:lnTo>
                  <a:lnTo>
                    <a:pt x="63" y="320"/>
                  </a:lnTo>
                  <a:lnTo>
                    <a:pt x="21" y="334"/>
                  </a:lnTo>
                  <a:lnTo>
                    <a:pt x="0" y="382"/>
                  </a:lnTo>
                  <a:lnTo>
                    <a:pt x="0" y="424"/>
                  </a:lnTo>
                  <a:lnTo>
                    <a:pt x="0" y="487"/>
                  </a:lnTo>
                  <a:lnTo>
                    <a:pt x="0" y="529"/>
                  </a:lnTo>
                  <a:lnTo>
                    <a:pt x="21" y="542"/>
                  </a:lnTo>
                  <a:lnTo>
                    <a:pt x="14" y="577"/>
                  </a:lnTo>
                  <a:lnTo>
                    <a:pt x="35" y="619"/>
                  </a:lnTo>
                  <a:lnTo>
                    <a:pt x="118" y="675"/>
                  </a:lnTo>
                  <a:lnTo>
                    <a:pt x="146" y="681"/>
                  </a:lnTo>
                  <a:lnTo>
                    <a:pt x="160" y="675"/>
                  </a:lnTo>
                  <a:lnTo>
                    <a:pt x="167" y="709"/>
                  </a:lnTo>
                  <a:lnTo>
                    <a:pt x="181" y="716"/>
                  </a:lnTo>
                  <a:lnTo>
                    <a:pt x="188" y="730"/>
                  </a:lnTo>
                  <a:lnTo>
                    <a:pt x="223" y="730"/>
                  </a:lnTo>
                  <a:lnTo>
                    <a:pt x="265" y="723"/>
                  </a:lnTo>
                  <a:lnTo>
                    <a:pt x="313" y="751"/>
                  </a:lnTo>
                  <a:lnTo>
                    <a:pt x="313" y="779"/>
                  </a:lnTo>
                  <a:lnTo>
                    <a:pt x="292" y="793"/>
                  </a:lnTo>
                  <a:lnTo>
                    <a:pt x="285" y="883"/>
                  </a:lnTo>
                  <a:lnTo>
                    <a:pt x="313" y="918"/>
                  </a:lnTo>
                  <a:lnTo>
                    <a:pt x="306" y="1002"/>
                  </a:lnTo>
                  <a:lnTo>
                    <a:pt x="320" y="1036"/>
                  </a:lnTo>
                  <a:lnTo>
                    <a:pt x="327" y="1057"/>
                  </a:lnTo>
                  <a:lnTo>
                    <a:pt x="390" y="1071"/>
                  </a:lnTo>
                  <a:lnTo>
                    <a:pt x="411" y="1085"/>
                  </a:lnTo>
                  <a:lnTo>
                    <a:pt x="404" y="1120"/>
                  </a:lnTo>
                  <a:lnTo>
                    <a:pt x="487" y="1134"/>
                  </a:lnTo>
                  <a:lnTo>
                    <a:pt x="508" y="1120"/>
                  </a:lnTo>
                  <a:lnTo>
                    <a:pt x="522" y="1043"/>
                  </a:lnTo>
                  <a:lnTo>
                    <a:pt x="543" y="1036"/>
                  </a:lnTo>
                  <a:lnTo>
                    <a:pt x="557" y="1113"/>
                  </a:lnTo>
                  <a:lnTo>
                    <a:pt x="585" y="1099"/>
                  </a:lnTo>
                  <a:lnTo>
                    <a:pt x="647" y="1106"/>
                  </a:lnTo>
                  <a:lnTo>
                    <a:pt x="682" y="1120"/>
                  </a:lnTo>
                  <a:lnTo>
                    <a:pt x="752" y="1057"/>
                  </a:lnTo>
                  <a:lnTo>
                    <a:pt x="766" y="1036"/>
                  </a:lnTo>
                  <a:lnTo>
                    <a:pt x="849" y="1036"/>
                  </a:lnTo>
                  <a:lnTo>
                    <a:pt x="918" y="1008"/>
                  </a:lnTo>
                  <a:lnTo>
                    <a:pt x="939" y="1036"/>
                  </a:lnTo>
                  <a:lnTo>
                    <a:pt x="1002" y="981"/>
                  </a:lnTo>
                  <a:lnTo>
                    <a:pt x="1016" y="960"/>
                  </a:lnTo>
                  <a:lnTo>
                    <a:pt x="1051" y="946"/>
                  </a:lnTo>
                  <a:lnTo>
                    <a:pt x="1092" y="890"/>
                  </a:lnTo>
                  <a:lnTo>
                    <a:pt x="1148" y="883"/>
                  </a:lnTo>
                  <a:lnTo>
                    <a:pt x="1197" y="890"/>
                  </a:lnTo>
                  <a:lnTo>
                    <a:pt x="1245" y="855"/>
                  </a:lnTo>
                  <a:lnTo>
                    <a:pt x="1322" y="911"/>
                  </a:lnTo>
                  <a:lnTo>
                    <a:pt x="1322" y="925"/>
                  </a:lnTo>
                  <a:lnTo>
                    <a:pt x="1364" y="911"/>
                  </a:lnTo>
                  <a:lnTo>
                    <a:pt x="1433" y="946"/>
                  </a:lnTo>
                  <a:lnTo>
                    <a:pt x="1454" y="939"/>
                  </a:lnTo>
                  <a:lnTo>
                    <a:pt x="1468" y="939"/>
                  </a:lnTo>
                  <a:lnTo>
                    <a:pt x="1510" y="946"/>
                  </a:lnTo>
                  <a:lnTo>
                    <a:pt x="1524" y="953"/>
                  </a:lnTo>
                  <a:lnTo>
                    <a:pt x="1531" y="946"/>
                  </a:lnTo>
                  <a:lnTo>
                    <a:pt x="1628" y="883"/>
                  </a:lnTo>
                  <a:lnTo>
                    <a:pt x="1719" y="842"/>
                  </a:lnTo>
                  <a:lnTo>
                    <a:pt x="1739" y="848"/>
                  </a:lnTo>
                  <a:lnTo>
                    <a:pt x="1788" y="848"/>
                  </a:lnTo>
                  <a:lnTo>
                    <a:pt x="1795" y="855"/>
                  </a:lnTo>
                  <a:lnTo>
                    <a:pt x="1795" y="827"/>
                  </a:lnTo>
                  <a:lnTo>
                    <a:pt x="1795" y="821"/>
                  </a:lnTo>
                  <a:lnTo>
                    <a:pt x="1837" y="772"/>
                  </a:lnTo>
                  <a:lnTo>
                    <a:pt x="1858" y="772"/>
                  </a:lnTo>
                  <a:lnTo>
                    <a:pt x="1865" y="751"/>
                  </a:lnTo>
                  <a:lnTo>
                    <a:pt x="1830" y="716"/>
                  </a:lnTo>
                  <a:lnTo>
                    <a:pt x="1837" y="695"/>
                  </a:lnTo>
                  <a:lnTo>
                    <a:pt x="1823" y="688"/>
                  </a:lnTo>
                  <a:lnTo>
                    <a:pt x="1816" y="661"/>
                  </a:lnTo>
                  <a:lnTo>
                    <a:pt x="1816" y="640"/>
                  </a:lnTo>
                  <a:lnTo>
                    <a:pt x="1837" y="619"/>
                  </a:lnTo>
                  <a:lnTo>
                    <a:pt x="1851" y="598"/>
                  </a:lnTo>
                  <a:lnTo>
                    <a:pt x="1851" y="591"/>
                  </a:lnTo>
                  <a:lnTo>
                    <a:pt x="1858" y="563"/>
                  </a:lnTo>
                  <a:lnTo>
                    <a:pt x="1851" y="549"/>
                  </a:lnTo>
                  <a:lnTo>
                    <a:pt x="1851" y="529"/>
                  </a:lnTo>
                  <a:lnTo>
                    <a:pt x="1795" y="515"/>
                  </a:lnTo>
                  <a:lnTo>
                    <a:pt x="1753" y="445"/>
                  </a:lnTo>
                  <a:lnTo>
                    <a:pt x="1732" y="362"/>
                  </a:lnTo>
                  <a:lnTo>
                    <a:pt x="1753" y="348"/>
                  </a:lnTo>
                  <a:lnTo>
                    <a:pt x="1739" y="320"/>
                  </a:lnTo>
                  <a:lnTo>
                    <a:pt x="1753" y="292"/>
                  </a:lnTo>
                  <a:lnTo>
                    <a:pt x="1753" y="257"/>
                  </a:lnTo>
                  <a:lnTo>
                    <a:pt x="1739" y="153"/>
                  </a:lnTo>
                  <a:lnTo>
                    <a:pt x="1691" y="132"/>
                  </a:lnTo>
                  <a:lnTo>
                    <a:pt x="1635" y="153"/>
                  </a:lnTo>
                  <a:lnTo>
                    <a:pt x="1558" y="97"/>
                  </a:lnTo>
                  <a:lnTo>
                    <a:pt x="1531" y="132"/>
                  </a:lnTo>
                  <a:lnTo>
                    <a:pt x="1489" y="125"/>
                  </a:lnTo>
                  <a:lnTo>
                    <a:pt x="1489" y="83"/>
                  </a:lnTo>
                  <a:lnTo>
                    <a:pt x="1454" y="62"/>
                  </a:lnTo>
                  <a:lnTo>
                    <a:pt x="1406" y="21"/>
                  </a:lnTo>
                  <a:lnTo>
                    <a:pt x="1322" y="35"/>
                  </a:lnTo>
                </a:path>
              </a:pathLst>
            </a:custGeom>
            <a:grpFill/>
            <a:ln w="9525" cap="flat" cmpd="sng">
              <a:solidFill>
                <a:schemeClr val="bg1"/>
              </a:solidFill>
              <a:bevel/>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Open Sans Regular" charset="0"/>
              </a:endParaRPr>
            </a:p>
          </p:txBody>
        </p:sp>
      </p:grpSp>
      <p:pic>
        <p:nvPicPr>
          <p:cNvPr id="121" name="Immagine 120">
            <a:extLst>
              <a:ext uri="{FF2B5EF4-FFF2-40B4-BE49-F238E27FC236}">
                <a16:creationId xmlns:a16="http://schemas.microsoft.com/office/drawing/2014/main" id="{41EB0317-7A27-7334-F435-616377227215}"/>
              </a:ext>
            </a:extLst>
          </p:cNvPr>
          <p:cNvPicPr>
            <a:picLocks noChangeAspect="1"/>
          </p:cNvPicPr>
          <p:nvPr/>
        </p:nvPicPr>
        <p:blipFill>
          <a:blip r:embed="rId2"/>
          <a:stretch>
            <a:fillRect/>
          </a:stretch>
        </p:blipFill>
        <p:spPr>
          <a:xfrm>
            <a:off x="327484" y="5784507"/>
            <a:ext cx="9567758" cy="1086724"/>
          </a:xfrm>
          <a:prstGeom prst="rect">
            <a:avLst/>
          </a:prstGeom>
        </p:spPr>
      </p:pic>
      <p:pic>
        <p:nvPicPr>
          <p:cNvPr id="123" name="Immagine 122">
            <a:extLst>
              <a:ext uri="{FF2B5EF4-FFF2-40B4-BE49-F238E27FC236}">
                <a16:creationId xmlns:a16="http://schemas.microsoft.com/office/drawing/2014/main" id="{3401464A-4038-40C5-9EF6-2BC2200B8B57}"/>
              </a:ext>
            </a:extLst>
          </p:cNvPr>
          <p:cNvPicPr>
            <a:picLocks noChangeAspect="1"/>
          </p:cNvPicPr>
          <p:nvPr/>
        </p:nvPicPr>
        <p:blipFill>
          <a:blip r:embed="rId3"/>
          <a:stretch>
            <a:fillRect/>
          </a:stretch>
        </p:blipFill>
        <p:spPr>
          <a:xfrm>
            <a:off x="9898769" y="6182710"/>
            <a:ext cx="1378634" cy="340953"/>
          </a:xfrm>
          <a:prstGeom prst="rect">
            <a:avLst/>
          </a:prstGeom>
        </p:spPr>
      </p:pic>
    </p:spTree>
    <p:extLst>
      <p:ext uri="{BB962C8B-B14F-4D97-AF65-F5344CB8AC3E}">
        <p14:creationId xmlns:p14="http://schemas.microsoft.com/office/powerpoint/2010/main" val="153055133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54" y="197691"/>
            <a:ext cx="10917349" cy="659155"/>
          </a:xfrm>
          <a:prstGeom prst="rect">
            <a:avLst/>
          </a:prstGeom>
        </p:spPr>
        <p:txBody>
          <a:bodyPr vert="horz" wrap="square" lIns="0" tIns="12700" rIns="0" bIns="0" rtlCol="0">
            <a:spAutoFit/>
          </a:bodyPr>
          <a:lstStyle/>
          <a:p>
            <a:pPr marL="12700">
              <a:lnSpc>
                <a:spcPct val="100000"/>
              </a:lnSpc>
              <a:spcBef>
                <a:spcPts val="100"/>
              </a:spcBef>
            </a:pPr>
            <a:r>
              <a:rPr lang="it-IT" sz="2800" spc="-15" dirty="0">
                <a:solidFill>
                  <a:schemeClr val="accent1"/>
                </a:solidFill>
                <a:latin typeface="+mn-lt"/>
              </a:rPr>
              <a:t>9. CORSO ORGANIZZAZIONE EVENTI</a:t>
            </a:r>
            <a:br>
              <a:rPr lang="it-IT" sz="2800" spc="-15" dirty="0">
                <a:solidFill>
                  <a:schemeClr val="accent1"/>
                </a:solidFill>
                <a:latin typeface="+mn-lt"/>
              </a:rPr>
            </a:br>
            <a:r>
              <a:rPr lang="it-IT" sz="1400" spc="-15" dirty="0">
                <a:solidFill>
                  <a:schemeClr val="accent1"/>
                </a:solidFill>
                <a:latin typeface="+mn-lt"/>
              </a:rPr>
              <a:t>(OPAL Formazione </a:t>
            </a:r>
            <a:r>
              <a:rPr lang="it-IT" sz="1400" spc="-15" dirty="0" err="1">
                <a:solidFill>
                  <a:schemeClr val="accent1"/>
                </a:solidFill>
                <a:latin typeface="+mn-lt"/>
              </a:rPr>
              <a:t>Upskilling</a:t>
            </a:r>
            <a:r>
              <a:rPr lang="it-IT" sz="1400" spc="-15" dirty="0">
                <a:solidFill>
                  <a:schemeClr val="accent1"/>
                </a:solidFill>
                <a:latin typeface="+mn-lt"/>
              </a:rPr>
              <a:t> (RRSP) mirata al profilo TECNICO SPECIALIZZATO IN CAMPAGNE COMUNICATIVO PROMOZIONALI)</a:t>
            </a:r>
          </a:p>
        </p:txBody>
      </p:sp>
      <p:sp>
        <p:nvSpPr>
          <p:cNvPr id="5" name="object 5"/>
          <p:cNvSpPr/>
          <p:nvPr/>
        </p:nvSpPr>
        <p:spPr>
          <a:xfrm>
            <a:off x="327484" y="1510848"/>
            <a:ext cx="8600058" cy="1476750"/>
          </a:xfrm>
          <a:custGeom>
            <a:avLst/>
            <a:gdLst/>
            <a:ahLst/>
            <a:cxnLst/>
            <a:rect l="l" t="t" r="r" b="b"/>
            <a:pathLst>
              <a:path w="7729220" h="954405">
                <a:moveTo>
                  <a:pt x="7644907" y="954299"/>
                </a:moveTo>
                <a:lnTo>
                  <a:pt x="83692" y="954299"/>
                </a:lnTo>
                <a:lnTo>
                  <a:pt x="51115" y="947723"/>
                </a:lnTo>
                <a:lnTo>
                  <a:pt x="24512" y="929787"/>
                </a:lnTo>
                <a:lnTo>
                  <a:pt x="6576" y="903184"/>
                </a:lnTo>
                <a:lnTo>
                  <a:pt x="0" y="870607"/>
                </a:lnTo>
                <a:lnTo>
                  <a:pt x="0" y="83692"/>
                </a:lnTo>
                <a:lnTo>
                  <a:pt x="6576" y="51115"/>
                </a:lnTo>
                <a:lnTo>
                  <a:pt x="24512" y="24512"/>
                </a:lnTo>
                <a:lnTo>
                  <a:pt x="51115" y="6576"/>
                </a:lnTo>
                <a:lnTo>
                  <a:pt x="83692" y="0"/>
                </a:lnTo>
                <a:lnTo>
                  <a:pt x="7644907" y="0"/>
                </a:lnTo>
                <a:lnTo>
                  <a:pt x="7691340" y="14061"/>
                </a:lnTo>
                <a:lnTo>
                  <a:pt x="7722229" y="51664"/>
                </a:lnTo>
                <a:lnTo>
                  <a:pt x="7728599" y="83692"/>
                </a:lnTo>
                <a:lnTo>
                  <a:pt x="7728599" y="870607"/>
                </a:lnTo>
                <a:lnTo>
                  <a:pt x="7722023" y="903184"/>
                </a:lnTo>
                <a:lnTo>
                  <a:pt x="7704087" y="929787"/>
                </a:lnTo>
                <a:lnTo>
                  <a:pt x="7677484" y="947723"/>
                </a:lnTo>
                <a:lnTo>
                  <a:pt x="7644907" y="954299"/>
                </a:lnTo>
                <a:close/>
              </a:path>
            </a:pathLst>
          </a:custGeom>
          <a:solidFill>
            <a:schemeClr val="bg2">
              <a:lumMod val="90000"/>
            </a:schemeClr>
          </a:solidFill>
        </p:spPr>
        <p:txBody>
          <a:bodyPr wrap="square" lIns="0" tIns="0" rIns="0" bIns="0" rtlCol="0"/>
          <a:lstStyle/>
          <a:p>
            <a:endParaRPr>
              <a:solidFill>
                <a:srgbClr val="00B050"/>
              </a:solidFill>
            </a:endParaRPr>
          </a:p>
        </p:txBody>
      </p:sp>
      <p:sp>
        <p:nvSpPr>
          <p:cNvPr id="11" name="object 11"/>
          <p:cNvSpPr txBox="1"/>
          <p:nvPr/>
        </p:nvSpPr>
        <p:spPr>
          <a:xfrm>
            <a:off x="11596613" y="1101113"/>
            <a:ext cx="302895" cy="604520"/>
          </a:xfrm>
          <a:prstGeom prst="rect">
            <a:avLst/>
          </a:prstGeom>
        </p:spPr>
        <p:txBody>
          <a:bodyPr vert="horz" wrap="square" lIns="0" tIns="12700" rIns="0" bIns="0" rtlCol="0">
            <a:spAutoFit/>
          </a:bodyPr>
          <a:lstStyle/>
          <a:p>
            <a:pPr marL="12700">
              <a:lnSpc>
                <a:spcPct val="100000"/>
              </a:lnSpc>
              <a:spcBef>
                <a:spcPts val="100"/>
              </a:spcBef>
            </a:pPr>
            <a:r>
              <a:rPr sz="3800" b="1" dirty="0">
                <a:solidFill>
                  <a:srgbClr val="FFFFFF"/>
                </a:solidFill>
                <a:cs typeface="Roboto"/>
              </a:rPr>
              <a:t>1</a:t>
            </a:r>
            <a:endParaRPr sz="3800">
              <a:cs typeface="Roboto"/>
            </a:endParaRPr>
          </a:p>
        </p:txBody>
      </p:sp>
      <p:sp>
        <p:nvSpPr>
          <p:cNvPr id="12" name="object 12"/>
          <p:cNvSpPr/>
          <p:nvPr/>
        </p:nvSpPr>
        <p:spPr>
          <a:xfrm>
            <a:off x="345531" y="3187402"/>
            <a:ext cx="4165645" cy="537585"/>
          </a:xfrm>
          <a:custGeom>
            <a:avLst/>
            <a:gdLst/>
            <a:ahLst/>
            <a:cxnLst/>
            <a:rect l="l" t="t" r="r" b="b"/>
            <a:pathLst>
              <a:path w="1596389" h="472439">
                <a:moveTo>
                  <a:pt x="1554614" y="471899"/>
                </a:moveTo>
                <a:lnTo>
                  <a:pt x="41385" y="471899"/>
                </a:lnTo>
                <a:lnTo>
                  <a:pt x="25276" y="468647"/>
                </a:lnTo>
                <a:lnTo>
                  <a:pt x="12121" y="459778"/>
                </a:lnTo>
                <a:lnTo>
                  <a:pt x="3252" y="446623"/>
                </a:lnTo>
                <a:lnTo>
                  <a:pt x="0" y="430514"/>
                </a:lnTo>
                <a:lnTo>
                  <a:pt x="0" y="41385"/>
                </a:lnTo>
                <a:lnTo>
                  <a:pt x="3252" y="25276"/>
                </a:lnTo>
                <a:lnTo>
                  <a:pt x="12121" y="12121"/>
                </a:lnTo>
                <a:lnTo>
                  <a:pt x="25276" y="3252"/>
                </a:lnTo>
                <a:lnTo>
                  <a:pt x="41385" y="0"/>
                </a:lnTo>
                <a:lnTo>
                  <a:pt x="1554614" y="0"/>
                </a:lnTo>
                <a:lnTo>
                  <a:pt x="1589046" y="18424"/>
                </a:lnTo>
                <a:lnTo>
                  <a:pt x="1595999" y="41385"/>
                </a:lnTo>
                <a:lnTo>
                  <a:pt x="1595999" y="430514"/>
                </a:lnTo>
                <a:lnTo>
                  <a:pt x="1592747" y="446623"/>
                </a:lnTo>
                <a:lnTo>
                  <a:pt x="1583878" y="459778"/>
                </a:lnTo>
                <a:lnTo>
                  <a:pt x="1570723" y="468647"/>
                </a:lnTo>
                <a:lnTo>
                  <a:pt x="1554614" y="471899"/>
                </a:lnTo>
                <a:close/>
              </a:path>
            </a:pathLst>
          </a:custGeom>
          <a:solidFill>
            <a:schemeClr val="accent1"/>
          </a:solidFill>
        </p:spPr>
        <p:txBody>
          <a:bodyPr wrap="square" lIns="0" tIns="0" rIns="0" bIns="0" rtlCol="0"/>
          <a:lstStyle/>
          <a:p>
            <a:endParaRPr/>
          </a:p>
        </p:txBody>
      </p:sp>
      <p:sp>
        <p:nvSpPr>
          <p:cNvPr id="13" name="object 13"/>
          <p:cNvSpPr txBox="1"/>
          <p:nvPr/>
        </p:nvSpPr>
        <p:spPr>
          <a:xfrm>
            <a:off x="438893" y="3300470"/>
            <a:ext cx="8889221" cy="320601"/>
          </a:xfrm>
          <a:prstGeom prst="rect">
            <a:avLst/>
          </a:prstGeom>
        </p:spPr>
        <p:txBody>
          <a:bodyPr vert="horz" wrap="square" lIns="0" tIns="12700" rIns="0" bIns="0" rtlCol="0">
            <a:spAutoFit/>
          </a:bodyPr>
          <a:lstStyle/>
          <a:p>
            <a:pPr marL="12700">
              <a:lnSpc>
                <a:spcPct val="100000"/>
              </a:lnSpc>
              <a:spcBef>
                <a:spcPts val="100"/>
              </a:spcBef>
            </a:pPr>
            <a:r>
              <a:rPr lang="it-IT" sz="2000" b="1" spc="-25" dirty="0">
                <a:solidFill>
                  <a:srgbClr val="FFFFFF"/>
                </a:solidFill>
                <a:cs typeface="Roboto"/>
              </a:rPr>
              <a:t>I partecipanti saranno in grado di:</a:t>
            </a:r>
            <a:endParaRPr sz="2000" dirty="0">
              <a:cs typeface="Roboto"/>
            </a:endParaRPr>
          </a:p>
        </p:txBody>
      </p:sp>
      <p:sp>
        <p:nvSpPr>
          <p:cNvPr id="14" name="object 14"/>
          <p:cNvSpPr/>
          <p:nvPr/>
        </p:nvSpPr>
        <p:spPr>
          <a:xfrm>
            <a:off x="10303118" y="1484662"/>
            <a:ext cx="1596390" cy="1625373"/>
          </a:xfrm>
          <a:custGeom>
            <a:avLst/>
            <a:gdLst/>
            <a:ahLst/>
            <a:cxnLst/>
            <a:rect l="l" t="t" r="r" b="b"/>
            <a:pathLst>
              <a:path w="1596390" h="954405">
                <a:moveTo>
                  <a:pt x="1512307" y="954299"/>
                </a:moveTo>
                <a:lnTo>
                  <a:pt x="83692" y="954299"/>
                </a:lnTo>
                <a:lnTo>
                  <a:pt x="51115" y="947723"/>
                </a:lnTo>
                <a:lnTo>
                  <a:pt x="24512" y="929787"/>
                </a:lnTo>
                <a:lnTo>
                  <a:pt x="6576" y="903184"/>
                </a:lnTo>
                <a:lnTo>
                  <a:pt x="0" y="870607"/>
                </a:lnTo>
                <a:lnTo>
                  <a:pt x="0" y="83692"/>
                </a:lnTo>
                <a:lnTo>
                  <a:pt x="6576" y="51115"/>
                </a:lnTo>
                <a:lnTo>
                  <a:pt x="24512" y="24512"/>
                </a:lnTo>
                <a:lnTo>
                  <a:pt x="51115" y="6576"/>
                </a:lnTo>
                <a:lnTo>
                  <a:pt x="83692" y="0"/>
                </a:lnTo>
                <a:lnTo>
                  <a:pt x="1512307" y="0"/>
                </a:lnTo>
                <a:lnTo>
                  <a:pt x="1558740" y="14061"/>
                </a:lnTo>
                <a:lnTo>
                  <a:pt x="1589629" y="51664"/>
                </a:lnTo>
                <a:lnTo>
                  <a:pt x="1595999" y="83692"/>
                </a:lnTo>
                <a:lnTo>
                  <a:pt x="1595999" y="870607"/>
                </a:lnTo>
                <a:lnTo>
                  <a:pt x="1589423" y="903184"/>
                </a:lnTo>
                <a:lnTo>
                  <a:pt x="1571487" y="929787"/>
                </a:lnTo>
                <a:lnTo>
                  <a:pt x="1544884" y="947723"/>
                </a:lnTo>
                <a:lnTo>
                  <a:pt x="1512307" y="954299"/>
                </a:lnTo>
                <a:close/>
              </a:path>
            </a:pathLst>
          </a:custGeom>
          <a:solidFill>
            <a:schemeClr val="accent1"/>
          </a:solidFill>
        </p:spPr>
        <p:txBody>
          <a:bodyPr wrap="square" lIns="0" tIns="0" rIns="0" bIns="0" rtlCol="0"/>
          <a:lstStyle/>
          <a:p>
            <a:endParaRPr lang="it-IT">
              <a:solidFill>
                <a:schemeClr val="accent1"/>
              </a:solidFill>
            </a:endParaRPr>
          </a:p>
        </p:txBody>
      </p:sp>
      <p:sp>
        <p:nvSpPr>
          <p:cNvPr id="15" name="object 15"/>
          <p:cNvSpPr txBox="1"/>
          <p:nvPr/>
        </p:nvSpPr>
        <p:spPr>
          <a:xfrm>
            <a:off x="10547193" y="1904257"/>
            <a:ext cx="1097728" cy="689932"/>
          </a:xfrm>
          <a:prstGeom prst="rect">
            <a:avLst/>
          </a:prstGeom>
        </p:spPr>
        <p:txBody>
          <a:bodyPr vert="horz" wrap="square" lIns="0" tIns="12700" rIns="0" bIns="0" rtlCol="0">
            <a:spAutoFit/>
          </a:bodyPr>
          <a:lstStyle/>
          <a:p>
            <a:pPr marL="12700">
              <a:lnSpc>
                <a:spcPct val="100000"/>
              </a:lnSpc>
              <a:spcBef>
                <a:spcPts val="100"/>
              </a:spcBef>
            </a:pPr>
            <a:r>
              <a:rPr lang="it-IT" sz="2200" b="1" spc="-5" dirty="0">
                <a:solidFill>
                  <a:srgbClr val="FFFFFF"/>
                </a:solidFill>
                <a:cs typeface="Roboto"/>
              </a:rPr>
              <a:t>Durata:40</a:t>
            </a:r>
            <a:r>
              <a:rPr sz="2200" b="1" spc="-80" dirty="0">
                <a:solidFill>
                  <a:srgbClr val="FFFFFF"/>
                </a:solidFill>
                <a:cs typeface="Roboto"/>
              </a:rPr>
              <a:t> </a:t>
            </a:r>
            <a:r>
              <a:rPr sz="2200" b="1" dirty="0">
                <a:solidFill>
                  <a:srgbClr val="FFFFFF"/>
                </a:solidFill>
                <a:cs typeface="Roboto"/>
              </a:rPr>
              <a:t>ORE</a:t>
            </a:r>
            <a:endParaRPr lang="it-IT" sz="2200" b="1" dirty="0">
              <a:solidFill>
                <a:srgbClr val="FFFFFF"/>
              </a:solidFill>
              <a:cs typeface="Roboto"/>
            </a:endParaRPr>
          </a:p>
        </p:txBody>
      </p:sp>
      <p:sp>
        <p:nvSpPr>
          <p:cNvPr id="19" name="CasellaDiTesto 18">
            <a:extLst>
              <a:ext uri="{FF2B5EF4-FFF2-40B4-BE49-F238E27FC236}">
                <a16:creationId xmlns:a16="http://schemas.microsoft.com/office/drawing/2014/main" id="{AE419993-E428-4926-B9BE-D3A35F84AC1A}"/>
              </a:ext>
            </a:extLst>
          </p:cNvPr>
          <p:cNvSpPr txBox="1"/>
          <p:nvPr/>
        </p:nvSpPr>
        <p:spPr>
          <a:xfrm>
            <a:off x="327484" y="1110738"/>
            <a:ext cx="4171748" cy="400110"/>
          </a:xfrm>
          <a:prstGeom prst="rect">
            <a:avLst/>
          </a:prstGeom>
          <a:noFill/>
        </p:spPr>
        <p:txBody>
          <a:bodyPr wrap="square">
            <a:spAutoFit/>
          </a:bodyPr>
          <a:lstStyle/>
          <a:p>
            <a:pPr marL="59690">
              <a:lnSpc>
                <a:spcPct val="100000"/>
              </a:lnSpc>
              <a:spcBef>
                <a:spcPts val="1370"/>
              </a:spcBef>
            </a:pPr>
            <a:r>
              <a:rPr lang="it-IT" sz="2000" b="1" i="1" spc="20" dirty="0">
                <a:solidFill>
                  <a:schemeClr val="tx1">
                    <a:lumMod val="65000"/>
                    <a:lumOff val="35000"/>
                  </a:schemeClr>
                </a:solidFill>
                <a:cs typeface="Roboto"/>
              </a:rPr>
              <a:t>Upskilling</a:t>
            </a:r>
            <a:r>
              <a:rPr lang="it-IT" sz="2000" b="1" spc="20" dirty="0">
                <a:solidFill>
                  <a:schemeClr val="tx1">
                    <a:lumMod val="65000"/>
                    <a:lumOff val="35000"/>
                  </a:schemeClr>
                </a:solidFill>
                <a:cs typeface="Roboto"/>
              </a:rPr>
              <a:t> mirato al profilo di </a:t>
            </a:r>
          </a:p>
        </p:txBody>
      </p:sp>
      <p:sp>
        <p:nvSpPr>
          <p:cNvPr id="23" name="object 13">
            <a:extLst>
              <a:ext uri="{FF2B5EF4-FFF2-40B4-BE49-F238E27FC236}">
                <a16:creationId xmlns:a16="http://schemas.microsoft.com/office/drawing/2014/main" id="{26655215-3172-4130-B17A-FB0B2AA9CF00}"/>
              </a:ext>
            </a:extLst>
          </p:cNvPr>
          <p:cNvSpPr txBox="1"/>
          <p:nvPr/>
        </p:nvSpPr>
        <p:spPr>
          <a:xfrm>
            <a:off x="-69716" y="3935431"/>
            <a:ext cx="9566344" cy="2356414"/>
          </a:xfrm>
          <a:prstGeom prst="rect">
            <a:avLst/>
          </a:prstGeom>
        </p:spPr>
        <p:txBody>
          <a:bodyPr vert="horz" wrap="square" lIns="0" tIns="12700" rIns="0" bIns="0" rtlCol="0">
            <a:spAutoFit/>
          </a:bodyPr>
          <a:lstStyle/>
          <a:p>
            <a:pPr marL="742950" lvl="1" indent="-285750" fontAlgn="ctr">
              <a:lnSpc>
                <a:spcPct val="107000"/>
              </a:lnSpc>
              <a:spcBef>
                <a:spcPts val="10"/>
              </a:spcBef>
              <a:spcAft>
                <a:spcPts val="800"/>
              </a:spcAft>
              <a:buFont typeface="Wingdings" panose="05000000000000000000" pitchFamily="2" charset="2"/>
              <a:buChar char="v"/>
            </a:pPr>
            <a:r>
              <a:rPr lang="it-IT" spc="-15" dirty="0">
                <a:solidFill>
                  <a:srgbClr val="333333"/>
                </a:solidFill>
              </a:rPr>
              <a:t>Progettare la strategia comunicativo/promozionale</a:t>
            </a:r>
          </a:p>
          <a:p>
            <a:pPr marL="742950" lvl="1" indent="-285750" fontAlgn="ctr">
              <a:lnSpc>
                <a:spcPct val="107000"/>
              </a:lnSpc>
              <a:spcBef>
                <a:spcPts val="10"/>
              </a:spcBef>
              <a:spcAft>
                <a:spcPts val="800"/>
              </a:spcAft>
              <a:buFont typeface="Wingdings" panose="05000000000000000000" pitchFamily="2" charset="2"/>
              <a:buChar char="v"/>
            </a:pPr>
            <a:r>
              <a:rPr lang="it-IT" spc="-15" dirty="0">
                <a:solidFill>
                  <a:srgbClr val="333333"/>
                </a:solidFill>
              </a:rPr>
              <a:t>Elaborare un piano di comunicazione definendo obiettivi, strumenti, destinatari, tempi, costi e funzioni delle risorse da coinvolgere</a:t>
            </a:r>
          </a:p>
          <a:p>
            <a:pPr marL="742950" lvl="1" indent="-285750" fontAlgn="ctr">
              <a:lnSpc>
                <a:spcPct val="107000"/>
              </a:lnSpc>
              <a:spcBef>
                <a:spcPts val="10"/>
              </a:spcBef>
              <a:spcAft>
                <a:spcPts val="800"/>
              </a:spcAft>
              <a:buFont typeface="Wingdings" panose="05000000000000000000" pitchFamily="2" charset="2"/>
              <a:buChar char="v"/>
            </a:pPr>
            <a:r>
              <a:rPr lang="it-IT" spc="-15" dirty="0">
                <a:solidFill>
                  <a:srgbClr val="333333"/>
                </a:solidFill>
              </a:rPr>
              <a:t>Curare la gestione operativa dell’evento (in tutte le sue fasi), coordinando l’erogazione di tutti i servizi e le attività post-evento</a:t>
            </a:r>
          </a:p>
          <a:p>
            <a:pPr lvl="1">
              <a:spcBef>
                <a:spcPts val="10"/>
              </a:spcBef>
            </a:pPr>
            <a:endParaRPr lang="it-IT" spc="-15" dirty="0">
              <a:solidFill>
                <a:srgbClr val="333333"/>
              </a:solidFill>
              <a:latin typeface="Myriad Pro Light" panose="020B0403030403020204" pitchFamily="34" charset="0"/>
            </a:endParaRPr>
          </a:p>
          <a:p>
            <a:pPr lvl="1">
              <a:spcBef>
                <a:spcPts val="10"/>
              </a:spcBef>
            </a:pPr>
            <a:endParaRPr lang="it-IT" spc="-15" dirty="0">
              <a:solidFill>
                <a:srgbClr val="333333"/>
              </a:solidFill>
              <a:latin typeface="Myriad Pro Light" panose="020B0403030403020204" pitchFamily="34" charset="0"/>
            </a:endParaRPr>
          </a:p>
        </p:txBody>
      </p:sp>
      <p:sp>
        <p:nvSpPr>
          <p:cNvPr id="18" name="object 7">
            <a:extLst>
              <a:ext uri="{FF2B5EF4-FFF2-40B4-BE49-F238E27FC236}">
                <a16:creationId xmlns:a16="http://schemas.microsoft.com/office/drawing/2014/main" id="{BCA79126-CD8E-4B74-897D-BAC10847B75A}"/>
              </a:ext>
            </a:extLst>
          </p:cNvPr>
          <p:cNvSpPr txBox="1"/>
          <p:nvPr/>
        </p:nvSpPr>
        <p:spPr>
          <a:xfrm>
            <a:off x="464447" y="1592737"/>
            <a:ext cx="8316693" cy="1291829"/>
          </a:xfrm>
          <a:prstGeom prst="rect">
            <a:avLst/>
          </a:prstGeom>
        </p:spPr>
        <p:txBody>
          <a:bodyPr vert="horz" wrap="square" lIns="0" tIns="173990" rIns="0" bIns="0" rtlCol="0">
            <a:spAutoFit/>
          </a:bodyPr>
          <a:lstStyle/>
          <a:p>
            <a:pPr marL="12700" marR="5080" algn="just">
              <a:lnSpc>
                <a:spcPct val="101600"/>
              </a:lnSpc>
              <a:spcBef>
                <a:spcPts val="985"/>
              </a:spcBef>
            </a:pPr>
            <a:r>
              <a:rPr lang="it-IT" b="1" spc="-15" dirty="0">
                <a:solidFill>
                  <a:srgbClr val="333333"/>
                </a:solidFill>
              </a:rPr>
              <a:t>Tecnico specializzato nell’organizzazione di eventi: </a:t>
            </a:r>
            <a:r>
              <a:rPr lang="it-IT" spc="-15" dirty="0">
                <a:solidFill>
                  <a:srgbClr val="333333"/>
                </a:solidFill>
              </a:rPr>
              <a:t>si occupa della progettazione esecutiva e organizzazione di eventi, fiere, congressi, ecc. coordinando la rete dei servizi da erogare attraverso la gestione delle adeguate risorse logistiche, strumentali e di personale e curando le attività di comunicazione.</a:t>
            </a:r>
          </a:p>
        </p:txBody>
      </p:sp>
      <p:sp>
        <p:nvSpPr>
          <p:cNvPr id="16" name="Rettangolo con angoli arrotondati 15">
            <a:extLst>
              <a:ext uri="{FF2B5EF4-FFF2-40B4-BE49-F238E27FC236}">
                <a16:creationId xmlns:a16="http://schemas.microsoft.com/office/drawing/2014/main" id="{98589310-3685-4B04-A561-5588CDBE45D9}"/>
              </a:ext>
            </a:extLst>
          </p:cNvPr>
          <p:cNvSpPr/>
          <p:nvPr/>
        </p:nvSpPr>
        <p:spPr>
          <a:xfrm>
            <a:off x="10303118" y="3217539"/>
            <a:ext cx="1596390" cy="1014899"/>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00"/>
          </a:p>
        </p:txBody>
      </p:sp>
      <p:sp>
        <p:nvSpPr>
          <p:cNvPr id="17" name="CasellaDiTesto 16">
            <a:extLst>
              <a:ext uri="{FF2B5EF4-FFF2-40B4-BE49-F238E27FC236}">
                <a16:creationId xmlns:a16="http://schemas.microsoft.com/office/drawing/2014/main" id="{AAACF889-53A0-4F22-88CC-F887AECD43E6}"/>
              </a:ext>
            </a:extLst>
          </p:cNvPr>
          <p:cNvSpPr txBox="1"/>
          <p:nvPr/>
        </p:nvSpPr>
        <p:spPr>
          <a:xfrm>
            <a:off x="10449519" y="3365335"/>
            <a:ext cx="1303588" cy="830997"/>
          </a:xfrm>
          <a:prstGeom prst="rect">
            <a:avLst/>
          </a:prstGeom>
          <a:noFill/>
        </p:spPr>
        <p:txBody>
          <a:bodyPr wrap="square" rtlCol="0">
            <a:spAutoFit/>
          </a:bodyPr>
          <a:lstStyle/>
          <a:p>
            <a:pPr algn="ctr"/>
            <a:r>
              <a:rPr lang="it-IT" sz="1600" b="1" dirty="0">
                <a:solidFill>
                  <a:schemeClr val="accent1"/>
                </a:solidFill>
                <a:hlinkClick r:id="rId3" action="ppaction://hlinksldjump">
                  <a:extLst>
                    <a:ext uri="{A12FA001-AC4F-418D-AE19-62706E023703}">
                      <ahyp:hlinkClr xmlns:ahyp="http://schemas.microsoft.com/office/drawing/2018/hyperlinkcolor" val="tx"/>
                    </a:ext>
                  </a:extLst>
                </a:hlinkClick>
              </a:rPr>
              <a:t>Vedi dettagli programma</a:t>
            </a:r>
            <a:endParaRPr lang="it-IT" sz="1600" b="1" dirty="0">
              <a:solidFill>
                <a:schemeClr val="accent1"/>
              </a:solidFill>
            </a:endParaRPr>
          </a:p>
        </p:txBody>
      </p:sp>
      <p:sp>
        <p:nvSpPr>
          <p:cNvPr id="2" name="Rettangolo con angoli arrotondati 1">
            <a:extLst>
              <a:ext uri="{FF2B5EF4-FFF2-40B4-BE49-F238E27FC236}">
                <a16:creationId xmlns:a16="http://schemas.microsoft.com/office/drawing/2014/main" id="{60D70638-D87C-D89A-48E8-56F477190CE3}"/>
              </a:ext>
            </a:extLst>
          </p:cNvPr>
          <p:cNvSpPr/>
          <p:nvPr/>
        </p:nvSpPr>
        <p:spPr>
          <a:xfrm>
            <a:off x="10303118" y="4426426"/>
            <a:ext cx="1596390" cy="819725"/>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00"/>
          </a:p>
        </p:txBody>
      </p:sp>
      <p:sp>
        <p:nvSpPr>
          <p:cNvPr id="7" name="CasellaDiTesto 6">
            <a:extLst>
              <a:ext uri="{FF2B5EF4-FFF2-40B4-BE49-F238E27FC236}">
                <a16:creationId xmlns:a16="http://schemas.microsoft.com/office/drawing/2014/main" id="{3895EA45-A8E3-D2E0-CDE8-5AE2170932B0}"/>
              </a:ext>
            </a:extLst>
          </p:cNvPr>
          <p:cNvSpPr txBox="1"/>
          <p:nvPr/>
        </p:nvSpPr>
        <p:spPr>
          <a:xfrm>
            <a:off x="10412954" y="4543900"/>
            <a:ext cx="1366207" cy="584775"/>
          </a:xfrm>
          <a:prstGeom prst="rect">
            <a:avLst/>
          </a:prstGeom>
          <a:noFill/>
        </p:spPr>
        <p:txBody>
          <a:bodyPr wrap="square" rtlCol="0">
            <a:spAutoFit/>
          </a:bodyPr>
          <a:lstStyle/>
          <a:p>
            <a:pPr algn="ctr"/>
            <a:r>
              <a:rPr lang="it-IT" sz="1600" b="1" dirty="0">
                <a:solidFill>
                  <a:schemeClr val="accent1"/>
                </a:solidFill>
                <a:hlinkClick r:id="rId4" action="ppaction://hlinksldjump"/>
              </a:rPr>
              <a:t>Vedi indice corsi</a:t>
            </a:r>
            <a:endParaRPr lang="it-IT" sz="1600" b="1" dirty="0">
              <a:solidFill>
                <a:schemeClr val="accent1"/>
              </a:solidFill>
            </a:endParaRPr>
          </a:p>
        </p:txBody>
      </p:sp>
      <p:pic>
        <p:nvPicPr>
          <p:cNvPr id="20" name="Immagine 19">
            <a:extLst>
              <a:ext uri="{FF2B5EF4-FFF2-40B4-BE49-F238E27FC236}">
                <a16:creationId xmlns:a16="http://schemas.microsoft.com/office/drawing/2014/main" id="{D2A51AC8-2163-44BB-A17C-BA88B35EF945}"/>
              </a:ext>
            </a:extLst>
          </p:cNvPr>
          <p:cNvPicPr>
            <a:picLocks noChangeAspect="1"/>
          </p:cNvPicPr>
          <p:nvPr/>
        </p:nvPicPr>
        <p:blipFill>
          <a:blip r:embed="rId5"/>
          <a:stretch>
            <a:fillRect/>
          </a:stretch>
        </p:blipFill>
        <p:spPr>
          <a:xfrm>
            <a:off x="327484" y="5771276"/>
            <a:ext cx="9567758" cy="1086724"/>
          </a:xfrm>
          <a:prstGeom prst="rect">
            <a:avLst/>
          </a:prstGeom>
        </p:spPr>
      </p:pic>
      <p:pic>
        <p:nvPicPr>
          <p:cNvPr id="21" name="Immagine 20">
            <a:extLst>
              <a:ext uri="{FF2B5EF4-FFF2-40B4-BE49-F238E27FC236}">
                <a16:creationId xmlns:a16="http://schemas.microsoft.com/office/drawing/2014/main" id="{D13C61F3-07F3-42A6-8ED2-B16B92F3DA45}"/>
              </a:ext>
            </a:extLst>
          </p:cNvPr>
          <p:cNvPicPr>
            <a:picLocks noChangeAspect="1"/>
          </p:cNvPicPr>
          <p:nvPr/>
        </p:nvPicPr>
        <p:blipFill>
          <a:blip r:embed="rId6"/>
          <a:stretch>
            <a:fillRect/>
          </a:stretch>
        </p:blipFill>
        <p:spPr>
          <a:xfrm>
            <a:off x="9898769" y="6182710"/>
            <a:ext cx="1378634" cy="340953"/>
          </a:xfrm>
          <a:prstGeom prst="rect">
            <a:avLst/>
          </a:prstGeom>
        </p:spPr>
      </p:pic>
    </p:spTree>
    <p:extLst>
      <p:ext uri="{BB962C8B-B14F-4D97-AF65-F5344CB8AC3E}">
        <p14:creationId xmlns:p14="http://schemas.microsoft.com/office/powerpoint/2010/main" val="259916155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464447" y="219678"/>
            <a:ext cx="10917349" cy="659155"/>
          </a:xfrm>
          <a:prstGeom prst="rect">
            <a:avLst/>
          </a:prstGeom>
        </p:spPr>
        <p:txBody>
          <a:bodyPr vert="horz" wrap="square" lIns="0" tIns="12700" rIns="0" bIns="0" rtlCol="0">
            <a:spAutoFit/>
          </a:bodyPr>
          <a:lstStyle/>
          <a:p>
            <a:pPr marL="12700">
              <a:lnSpc>
                <a:spcPct val="100000"/>
              </a:lnSpc>
              <a:spcBef>
                <a:spcPts val="100"/>
              </a:spcBef>
            </a:pPr>
            <a:r>
              <a:rPr lang="it-IT" sz="2800" spc="-15" dirty="0">
                <a:solidFill>
                  <a:schemeClr val="accent1"/>
                </a:solidFill>
                <a:latin typeface="+mn-lt"/>
              </a:rPr>
              <a:t>9. CORSO ORGANIZZAZIONE EVENTI</a:t>
            </a:r>
            <a:br>
              <a:rPr lang="it-IT" sz="2800" spc="-15" dirty="0">
                <a:solidFill>
                  <a:schemeClr val="accent1"/>
                </a:solidFill>
                <a:latin typeface="+mn-lt"/>
              </a:rPr>
            </a:br>
            <a:r>
              <a:rPr lang="it-IT" sz="1400" spc="-15" dirty="0">
                <a:solidFill>
                  <a:schemeClr val="accent1"/>
                </a:solidFill>
                <a:latin typeface="+mn-lt"/>
              </a:rPr>
              <a:t>(OPAL Formazione </a:t>
            </a:r>
            <a:r>
              <a:rPr lang="it-IT" sz="1400" spc="-15" dirty="0" err="1">
                <a:solidFill>
                  <a:schemeClr val="accent1"/>
                </a:solidFill>
                <a:latin typeface="+mn-lt"/>
              </a:rPr>
              <a:t>Upskilling</a:t>
            </a:r>
            <a:r>
              <a:rPr lang="it-IT" sz="1400" spc="-15" dirty="0">
                <a:solidFill>
                  <a:schemeClr val="accent1"/>
                </a:solidFill>
                <a:latin typeface="+mn-lt"/>
              </a:rPr>
              <a:t> (RRSP) mirata al profilo TECNICO SPECIALIZZATO IN CAMPAGNE COMUNICATIVO PROMOZIONALI)</a:t>
            </a:r>
          </a:p>
        </p:txBody>
      </p:sp>
      <p:sp>
        <p:nvSpPr>
          <p:cNvPr id="11" name="object 11"/>
          <p:cNvSpPr txBox="1"/>
          <p:nvPr/>
        </p:nvSpPr>
        <p:spPr>
          <a:xfrm>
            <a:off x="11596613" y="154633"/>
            <a:ext cx="302895" cy="604520"/>
          </a:xfrm>
          <a:prstGeom prst="rect">
            <a:avLst/>
          </a:prstGeom>
        </p:spPr>
        <p:txBody>
          <a:bodyPr vert="horz" wrap="square" lIns="0" tIns="12700" rIns="0" bIns="0" rtlCol="0">
            <a:spAutoFit/>
          </a:bodyPr>
          <a:lstStyle/>
          <a:p>
            <a:pPr marL="12700">
              <a:lnSpc>
                <a:spcPct val="100000"/>
              </a:lnSpc>
              <a:spcBef>
                <a:spcPts val="100"/>
              </a:spcBef>
            </a:pPr>
            <a:r>
              <a:rPr sz="3800" b="1" dirty="0">
                <a:solidFill>
                  <a:srgbClr val="FFFFFF"/>
                </a:solidFill>
                <a:cs typeface="Roboto"/>
              </a:rPr>
              <a:t>1</a:t>
            </a:r>
            <a:endParaRPr sz="3800">
              <a:cs typeface="Roboto"/>
            </a:endParaRPr>
          </a:p>
        </p:txBody>
      </p:sp>
      <p:sp>
        <p:nvSpPr>
          <p:cNvPr id="13" name="object 13"/>
          <p:cNvSpPr txBox="1"/>
          <p:nvPr/>
        </p:nvSpPr>
        <p:spPr>
          <a:xfrm>
            <a:off x="830494" y="3434471"/>
            <a:ext cx="8889221" cy="320601"/>
          </a:xfrm>
          <a:prstGeom prst="rect">
            <a:avLst/>
          </a:prstGeom>
        </p:spPr>
        <p:txBody>
          <a:bodyPr vert="horz" wrap="square" lIns="0" tIns="12700" rIns="0" bIns="0" rtlCol="0">
            <a:spAutoFit/>
          </a:bodyPr>
          <a:lstStyle/>
          <a:p>
            <a:pPr marL="12700">
              <a:lnSpc>
                <a:spcPct val="100000"/>
              </a:lnSpc>
              <a:spcBef>
                <a:spcPts val="100"/>
              </a:spcBef>
            </a:pPr>
            <a:r>
              <a:rPr lang="it-IT" sz="2000" b="1" spc="-25" dirty="0">
                <a:solidFill>
                  <a:srgbClr val="FFFFFF"/>
                </a:solidFill>
                <a:cs typeface="Roboto"/>
              </a:rPr>
              <a:t>I partecipanti saranno in grado di:</a:t>
            </a:r>
            <a:endParaRPr lang="it-IT" sz="2000" dirty="0">
              <a:cs typeface="Roboto"/>
            </a:endParaRPr>
          </a:p>
        </p:txBody>
      </p:sp>
      <p:sp>
        <p:nvSpPr>
          <p:cNvPr id="15" name="object 15"/>
          <p:cNvSpPr txBox="1"/>
          <p:nvPr/>
        </p:nvSpPr>
        <p:spPr>
          <a:xfrm>
            <a:off x="10227205" y="1985879"/>
            <a:ext cx="942975" cy="689932"/>
          </a:xfrm>
          <a:prstGeom prst="rect">
            <a:avLst/>
          </a:prstGeom>
        </p:spPr>
        <p:txBody>
          <a:bodyPr vert="horz" wrap="square" lIns="0" tIns="12700" rIns="0" bIns="0" rtlCol="0">
            <a:spAutoFit/>
          </a:bodyPr>
          <a:lstStyle/>
          <a:p>
            <a:pPr marL="12700">
              <a:lnSpc>
                <a:spcPct val="100000"/>
              </a:lnSpc>
              <a:spcBef>
                <a:spcPts val="100"/>
              </a:spcBef>
            </a:pPr>
            <a:r>
              <a:rPr lang="it-IT" sz="2200" b="1" spc="-5" dirty="0">
                <a:solidFill>
                  <a:srgbClr val="FFFFFF"/>
                </a:solidFill>
                <a:cs typeface="Roboto"/>
              </a:rPr>
              <a:t>Durata:40</a:t>
            </a:r>
            <a:r>
              <a:rPr lang="it-IT" sz="2200" b="1" spc="-80" dirty="0">
                <a:solidFill>
                  <a:srgbClr val="FFFFFF"/>
                </a:solidFill>
                <a:cs typeface="Roboto"/>
              </a:rPr>
              <a:t> </a:t>
            </a:r>
            <a:r>
              <a:rPr lang="it-IT" sz="2200" b="1" dirty="0">
                <a:solidFill>
                  <a:srgbClr val="FFFFFF"/>
                </a:solidFill>
                <a:cs typeface="Roboto"/>
              </a:rPr>
              <a:t>ORE</a:t>
            </a:r>
          </a:p>
        </p:txBody>
      </p:sp>
      <p:sp>
        <p:nvSpPr>
          <p:cNvPr id="18" name="object 7">
            <a:extLst>
              <a:ext uri="{FF2B5EF4-FFF2-40B4-BE49-F238E27FC236}">
                <a16:creationId xmlns:a16="http://schemas.microsoft.com/office/drawing/2014/main" id="{BCA79126-CD8E-4B74-897D-BAC10847B75A}"/>
              </a:ext>
            </a:extLst>
          </p:cNvPr>
          <p:cNvSpPr txBox="1"/>
          <p:nvPr/>
        </p:nvSpPr>
        <p:spPr>
          <a:xfrm>
            <a:off x="406576" y="1633956"/>
            <a:ext cx="8316693" cy="3602012"/>
          </a:xfrm>
          <a:prstGeom prst="rect">
            <a:avLst/>
          </a:prstGeom>
        </p:spPr>
        <p:txBody>
          <a:bodyPr vert="horz" wrap="square" lIns="0" tIns="173990" rIns="0" bIns="0" rtlCol="0">
            <a:spAutoFit/>
          </a:bodyPr>
          <a:lstStyle/>
          <a:p>
            <a:pPr marL="285750" marR="5080" indent="-285750">
              <a:lnSpc>
                <a:spcPct val="101600"/>
              </a:lnSpc>
              <a:spcBef>
                <a:spcPts val="985"/>
              </a:spcBef>
              <a:buFont typeface="Arial" panose="020B0604020202020204" pitchFamily="34" charset="0"/>
              <a:buChar char="•"/>
            </a:pPr>
            <a:r>
              <a:rPr lang="it-IT" b="0" i="0" dirty="0">
                <a:solidFill>
                  <a:srgbClr val="212121"/>
                </a:solidFill>
                <a:effectLst/>
              </a:rPr>
              <a:t> </a:t>
            </a:r>
            <a:r>
              <a:rPr lang="it-IT" dirty="0">
                <a:solidFill>
                  <a:srgbClr val="212121"/>
                </a:solidFill>
              </a:rPr>
              <a:t>Elementi di sociologia della comunicazione</a:t>
            </a:r>
          </a:p>
          <a:p>
            <a:pPr marL="342900" marR="5080" indent="-342900">
              <a:lnSpc>
                <a:spcPct val="101600"/>
              </a:lnSpc>
              <a:spcBef>
                <a:spcPts val="985"/>
              </a:spcBef>
              <a:buFont typeface="Arial" panose="020B0604020202020204" pitchFamily="34" charset="0"/>
              <a:buChar char="•"/>
            </a:pPr>
            <a:r>
              <a:rPr lang="it-IT" dirty="0">
                <a:solidFill>
                  <a:srgbClr val="212121"/>
                </a:solidFill>
              </a:rPr>
              <a:t>Tipologia e caratteristiche di strategie e tecniche comunicative e promozionali</a:t>
            </a:r>
          </a:p>
          <a:p>
            <a:pPr marL="342900" marR="5080" indent="-342900">
              <a:lnSpc>
                <a:spcPct val="101600"/>
              </a:lnSpc>
              <a:spcBef>
                <a:spcPts val="985"/>
              </a:spcBef>
              <a:buFont typeface="Arial" panose="020B0604020202020204" pitchFamily="34" charset="0"/>
              <a:buChar char="•"/>
            </a:pPr>
            <a:r>
              <a:rPr lang="it-IT" dirty="0">
                <a:solidFill>
                  <a:srgbClr val="212121"/>
                </a:solidFill>
              </a:rPr>
              <a:t> Caratteristiche dei diversi linguaggi della comunicazione pubblicitaria e promozionale</a:t>
            </a:r>
          </a:p>
          <a:p>
            <a:pPr marL="342900" marR="5080" indent="-342900">
              <a:lnSpc>
                <a:spcPct val="101600"/>
              </a:lnSpc>
              <a:spcBef>
                <a:spcPts val="985"/>
              </a:spcBef>
              <a:buFont typeface="Arial" panose="020B0604020202020204" pitchFamily="34" charset="0"/>
              <a:buChar char="•"/>
            </a:pPr>
            <a:r>
              <a:rPr lang="it-IT" dirty="0">
                <a:solidFill>
                  <a:srgbClr val="212121"/>
                </a:solidFill>
              </a:rPr>
              <a:t>Elementi di psicologia dei consumi</a:t>
            </a:r>
          </a:p>
          <a:p>
            <a:pPr marL="342900" marR="5080" indent="-342900">
              <a:lnSpc>
                <a:spcPct val="101600"/>
              </a:lnSpc>
              <a:spcBef>
                <a:spcPts val="985"/>
              </a:spcBef>
              <a:buFont typeface="Arial" panose="020B0604020202020204" pitchFamily="34" charset="0"/>
              <a:buChar char="•"/>
            </a:pPr>
            <a:r>
              <a:rPr lang="it-IT" dirty="0">
                <a:solidFill>
                  <a:srgbClr val="212121"/>
                </a:solidFill>
              </a:rPr>
              <a:t>Elementi di comunicazione grafico visiva</a:t>
            </a:r>
          </a:p>
          <a:p>
            <a:pPr marL="342900" marR="5080" indent="-342900">
              <a:lnSpc>
                <a:spcPct val="101600"/>
              </a:lnSpc>
              <a:spcBef>
                <a:spcPts val="985"/>
              </a:spcBef>
              <a:buFont typeface="Arial" panose="020B0604020202020204" pitchFamily="34" charset="0"/>
              <a:buChar char="•"/>
            </a:pPr>
            <a:r>
              <a:rPr lang="it-IT" dirty="0">
                <a:solidFill>
                  <a:srgbClr val="212121"/>
                </a:solidFill>
              </a:rPr>
              <a:t>Modelli e tecniche di budgeting</a:t>
            </a:r>
          </a:p>
          <a:p>
            <a:pPr marL="342900" marR="5080" indent="-342900">
              <a:lnSpc>
                <a:spcPct val="101600"/>
              </a:lnSpc>
              <a:spcBef>
                <a:spcPts val="985"/>
              </a:spcBef>
              <a:buFont typeface="Arial" panose="020B0604020202020204" pitchFamily="34" charset="0"/>
              <a:buChar char="•"/>
            </a:pPr>
            <a:r>
              <a:rPr lang="it-IT" dirty="0">
                <a:solidFill>
                  <a:srgbClr val="212121"/>
                </a:solidFill>
              </a:rPr>
              <a:t>Modelli, tecniche e strumenti di marketing strategico</a:t>
            </a:r>
          </a:p>
          <a:p>
            <a:pPr marL="342900" marR="5080" indent="-342900">
              <a:lnSpc>
                <a:spcPct val="101600"/>
              </a:lnSpc>
              <a:spcBef>
                <a:spcPts val="985"/>
              </a:spcBef>
              <a:buFont typeface="Arial" panose="020B0604020202020204" pitchFamily="34" charset="0"/>
              <a:buChar char="•"/>
            </a:pPr>
            <a:r>
              <a:rPr lang="it-IT" dirty="0">
                <a:solidFill>
                  <a:srgbClr val="212121"/>
                </a:solidFill>
              </a:rPr>
              <a:t>Modelli e tecniche di fidelizzazione del cliente</a:t>
            </a:r>
          </a:p>
        </p:txBody>
      </p:sp>
      <p:sp>
        <p:nvSpPr>
          <p:cNvPr id="5" name="object 12">
            <a:extLst>
              <a:ext uri="{FF2B5EF4-FFF2-40B4-BE49-F238E27FC236}">
                <a16:creationId xmlns:a16="http://schemas.microsoft.com/office/drawing/2014/main" id="{E9A7D97B-9B38-865B-5A65-8FA8694014C0}"/>
              </a:ext>
            </a:extLst>
          </p:cNvPr>
          <p:cNvSpPr/>
          <p:nvPr/>
        </p:nvSpPr>
        <p:spPr>
          <a:xfrm>
            <a:off x="458206" y="1111086"/>
            <a:ext cx="2593435" cy="537585"/>
          </a:xfrm>
          <a:custGeom>
            <a:avLst/>
            <a:gdLst/>
            <a:ahLst/>
            <a:cxnLst/>
            <a:rect l="l" t="t" r="r" b="b"/>
            <a:pathLst>
              <a:path w="1596389" h="472439">
                <a:moveTo>
                  <a:pt x="1554614" y="471899"/>
                </a:moveTo>
                <a:lnTo>
                  <a:pt x="41385" y="471899"/>
                </a:lnTo>
                <a:lnTo>
                  <a:pt x="25276" y="468647"/>
                </a:lnTo>
                <a:lnTo>
                  <a:pt x="12121" y="459778"/>
                </a:lnTo>
                <a:lnTo>
                  <a:pt x="3252" y="446623"/>
                </a:lnTo>
                <a:lnTo>
                  <a:pt x="0" y="430514"/>
                </a:lnTo>
                <a:lnTo>
                  <a:pt x="0" y="41385"/>
                </a:lnTo>
                <a:lnTo>
                  <a:pt x="3252" y="25276"/>
                </a:lnTo>
                <a:lnTo>
                  <a:pt x="12121" y="12121"/>
                </a:lnTo>
                <a:lnTo>
                  <a:pt x="25276" y="3252"/>
                </a:lnTo>
                <a:lnTo>
                  <a:pt x="41385" y="0"/>
                </a:lnTo>
                <a:lnTo>
                  <a:pt x="1554614" y="0"/>
                </a:lnTo>
                <a:lnTo>
                  <a:pt x="1589046" y="18424"/>
                </a:lnTo>
                <a:lnTo>
                  <a:pt x="1595999" y="41385"/>
                </a:lnTo>
                <a:lnTo>
                  <a:pt x="1595999" y="430514"/>
                </a:lnTo>
                <a:lnTo>
                  <a:pt x="1592747" y="446623"/>
                </a:lnTo>
                <a:lnTo>
                  <a:pt x="1583878" y="459778"/>
                </a:lnTo>
                <a:lnTo>
                  <a:pt x="1570723" y="468647"/>
                </a:lnTo>
                <a:lnTo>
                  <a:pt x="1554614" y="471899"/>
                </a:lnTo>
                <a:close/>
              </a:path>
            </a:pathLst>
          </a:custGeom>
          <a:solidFill>
            <a:schemeClr val="accent1"/>
          </a:solidFill>
        </p:spPr>
        <p:txBody>
          <a:bodyPr wrap="square" lIns="0" tIns="0" rIns="0" bIns="0" rtlCol="0"/>
          <a:lstStyle/>
          <a:p>
            <a:endParaRPr/>
          </a:p>
        </p:txBody>
      </p:sp>
      <p:sp>
        <p:nvSpPr>
          <p:cNvPr id="6" name="CasellaDiTesto 5">
            <a:extLst>
              <a:ext uri="{FF2B5EF4-FFF2-40B4-BE49-F238E27FC236}">
                <a16:creationId xmlns:a16="http://schemas.microsoft.com/office/drawing/2014/main" id="{A0C98A8E-9F4A-AA68-D3FF-B277FC2B7534}"/>
              </a:ext>
            </a:extLst>
          </p:cNvPr>
          <p:cNvSpPr txBox="1"/>
          <p:nvPr/>
        </p:nvSpPr>
        <p:spPr>
          <a:xfrm>
            <a:off x="486566" y="1168845"/>
            <a:ext cx="4171748" cy="400110"/>
          </a:xfrm>
          <a:prstGeom prst="rect">
            <a:avLst/>
          </a:prstGeom>
          <a:noFill/>
        </p:spPr>
        <p:txBody>
          <a:bodyPr wrap="square">
            <a:spAutoFit/>
          </a:bodyPr>
          <a:lstStyle/>
          <a:p>
            <a:pPr marL="59690">
              <a:lnSpc>
                <a:spcPct val="100000"/>
              </a:lnSpc>
              <a:spcBef>
                <a:spcPts val="1370"/>
              </a:spcBef>
            </a:pPr>
            <a:r>
              <a:rPr lang="it-IT" sz="2000" b="1" i="1" spc="20" dirty="0">
                <a:solidFill>
                  <a:schemeClr val="bg1"/>
                </a:solidFill>
                <a:cs typeface="Roboto"/>
              </a:rPr>
              <a:t>Programma corso:</a:t>
            </a:r>
            <a:endParaRPr lang="it-IT" sz="2000" b="1" spc="20" dirty="0">
              <a:solidFill>
                <a:schemeClr val="bg1"/>
              </a:solidFill>
              <a:cs typeface="Roboto"/>
            </a:endParaRPr>
          </a:p>
        </p:txBody>
      </p:sp>
      <p:sp>
        <p:nvSpPr>
          <p:cNvPr id="7" name="Rettangolo con angoli arrotondati 6">
            <a:extLst>
              <a:ext uri="{FF2B5EF4-FFF2-40B4-BE49-F238E27FC236}">
                <a16:creationId xmlns:a16="http://schemas.microsoft.com/office/drawing/2014/main" id="{89932636-CAC8-1822-2483-16F3C607714A}"/>
              </a:ext>
            </a:extLst>
          </p:cNvPr>
          <p:cNvSpPr/>
          <p:nvPr/>
        </p:nvSpPr>
        <p:spPr>
          <a:xfrm>
            <a:off x="9785406" y="4365602"/>
            <a:ext cx="1596390" cy="819725"/>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00"/>
          </a:p>
        </p:txBody>
      </p:sp>
      <p:sp>
        <p:nvSpPr>
          <p:cNvPr id="8" name="CasellaDiTesto 7">
            <a:extLst>
              <a:ext uri="{FF2B5EF4-FFF2-40B4-BE49-F238E27FC236}">
                <a16:creationId xmlns:a16="http://schemas.microsoft.com/office/drawing/2014/main" id="{AE11D14C-0574-6F85-DCC5-9B38ABB2113D}"/>
              </a:ext>
            </a:extLst>
          </p:cNvPr>
          <p:cNvSpPr txBox="1"/>
          <p:nvPr/>
        </p:nvSpPr>
        <p:spPr>
          <a:xfrm>
            <a:off x="9895242" y="4483076"/>
            <a:ext cx="1366207" cy="584775"/>
          </a:xfrm>
          <a:prstGeom prst="rect">
            <a:avLst/>
          </a:prstGeom>
          <a:noFill/>
        </p:spPr>
        <p:txBody>
          <a:bodyPr wrap="square" rtlCol="0">
            <a:spAutoFit/>
          </a:bodyPr>
          <a:lstStyle/>
          <a:p>
            <a:pPr algn="ctr"/>
            <a:r>
              <a:rPr lang="it-IT" sz="1600" b="1" dirty="0">
                <a:solidFill>
                  <a:schemeClr val="accent1"/>
                </a:solidFill>
                <a:hlinkClick r:id="rId3" action="ppaction://hlinksldjump"/>
              </a:rPr>
              <a:t>Vedi indice corsi</a:t>
            </a:r>
            <a:endParaRPr lang="it-IT" sz="1600" b="1" dirty="0">
              <a:solidFill>
                <a:schemeClr val="accent1"/>
              </a:solidFill>
            </a:endParaRPr>
          </a:p>
        </p:txBody>
      </p:sp>
      <p:pic>
        <p:nvPicPr>
          <p:cNvPr id="14" name="Immagine 13">
            <a:extLst>
              <a:ext uri="{FF2B5EF4-FFF2-40B4-BE49-F238E27FC236}">
                <a16:creationId xmlns:a16="http://schemas.microsoft.com/office/drawing/2014/main" id="{5334CE7D-9C44-444B-8C27-F99435ED4747}"/>
              </a:ext>
            </a:extLst>
          </p:cNvPr>
          <p:cNvPicPr>
            <a:picLocks noChangeAspect="1"/>
          </p:cNvPicPr>
          <p:nvPr/>
        </p:nvPicPr>
        <p:blipFill>
          <a:blip r:embed="rId4"/>
          <a:stretch>
            <a:fillRect/>
          </a:stretch>
        </p:blipFill>
        <p:spPr>
          <a:xfrm>
            <a:off x="327484" y="5784507"/>
            <a:ext cx="9567758" cy="1086724"/>
          </a:xfrm>
          <a:prstGeom prst="rect">
            <a:avLst/>
          </a:prstGeom>
        </p:spPr>
      </p:pic>
      <p:pic>
        <p:nvPicPr>
          <p:cNvPr id="16" name="Immagine 15">
            <a:extLst>
              <a:ext uri="{FF2B5EF4-FFF2-40B4-BE49-F238E27FC236}">
                <a16:creationId xmlns:a16="http://schemas.microsoft.com/office/drawing/2014/main" id="{D265F934-38D4-4169-8EFF-1E2EB0857615}"/>
              </a:ext>
            </a:extLst>
          </p:cNvPr>
          <p:cNvPicPr>
            <a:picLocks noChangeAspect="1"/>
          </p:cNvPicPr>
          <p:nvPr/>
        </p:nvPicPr>
        <p:blipFill>
          <a:blip r:embed="rId5"/>
          <a:stretch>
            <a:fillRect/>
          </a:stretch>
        </p:blipFill>
        <p:spPr>
          <a:xfrm>
            <a:off x="9898769" y="6182710"/>
            <a:ext cx="1378634" cy="340953"/>
          </a:xfrm>
          <a:prstGeom prst="rect">
            <a:avLst/>
          </a:prstGeom>
        </p:spPr>
      </p:pic>
    </p:spTree>
    <p:extLst>
      <p:ext uri="{BB962C8B-B14F-4D97-AF65-F5344CB8AC3E}">
        <p14:creationId xmlns:p14="http://schemas.microsoft.com/office/powerpoint/2010/main" val="219918540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52983" y="152457"/>
            <a:ext cx="10917349" cy="659155"/>
          </a:xfrm>
          <a:prstGeom prst="rect">
            <a:avLst/>
          </a:prstGeom>
        </p:spPr>
        <p:txBody>
          <a:bodyPr vert="horz" wrap="square" lIns="0" tIns="12700" rIns="0" bIns="0" rtlCol="0">
            <a:spAutoFit/>
          </a:bodyPr>
          <a:lstStyle/>
          <a:p>
            <a:pPr marL="12700">
              <a:lnSpc>
                <a:spcPct val="100000"/>
              </a:lnSpc>
              <a:spcBef>
                <a:spcPts val="100"/>
              </a:spcBef>
            </a:pPr>
            <a:r>
              <a:rPr lang="it-IT" sz="2800" spc="-15" dirty="0">
                <a:solidFill>
                  <a:schemeClr val="accent1"/>
                </a:solidFill>
                <a:latin typeface="+mn-lt"/>
              </a:rPr>
              <a:t>10. CORSO E-COMMERCE</a:t>
            </a:r>
            <a:br>
              <a:rPr lang="it-IT" sz="2800" spc="-15" dirty="0">
                <a:solidFill>
                  <a:schemeClr val="accent1"/>
                </a:solidFill>
                <a:latin typeface="+mn-lt"/>
              </a:rPr>
            </a:br>
            <a:r>
              <a:rPr lang="it-IT" sz="1400" spc="-15" dirty="0">
                <a:solidFill>
                  <a:schemeClr val="accent1"/>
                </a:solidFill>
                <a:latin typeface="+mn-lt"/>
              </a:rPr>
              <a:t>(OPAL Formazione </a:t>
            </a:r>
            <a:r>
              <a:rPr lang="it-IT" sz="1400" spc="-15" dirty="0" err="1">
                <a:solidFill>
                  <a:schemeClr val="accent1"/>
                </a:solidFill>
                <a:latin typeface="+mn-lt"/>
              </a:rPr>
              <a:t>Upskilling</a:t>
            </a:r>
            <a:r>
              <a:rPr lang="it-IT" sz="1400" spc="-15" dirty="0">
                <a:solidFill>
                  <a:schemeClr val="accent1"/>
                </a:solidFill>
                <a:latin typeface="+mn-lt"/>
              </a:rPr>
              <a:t> (RRSP) mirata al profilo TECNICO SPECIALIZZATO IN E-COMMERCE)</a:t>
            </a:r>
          </a:p>
        </p:txBody>
      </p:sp>
      <p:sp>
        <p:nvSpPr>
          <p:cNvPr id="5" name="object 5"/>
          <p:cNvSpPr/>
          <p:nvPr/>
        </p:nvSpPr>
        <p:spPr>
          <a:xfrm>
            <a:off x="289368" y="1236948"/>
            <a:ext cx="8889221" cy="1592756"/>
          </a:xfrm>
          <a:custGeom>
            <a:avLst/>
            <a:gdLst/>
            <a:ahLst/>
            <a:cxnLst/>
            <a:rect l="l" t="t" r="r" b="b"/>
            <a:pathLst>
              <a:path w="7729220" h="954405">
                <a:moveTo>
                  <a:pt x="7644907" y="954299"/>
                </a:moveTo>
                <a:lnTo>
                  <a:pt x="83692" y="954299"/>
                </a:lnTo>
                <a:lnTo>
                  <a:pt x="51115" y="947723"/>
                </a:lnTo>
                <a:lnTo>
                  <a:pt x="24512" y="929787"/>
                </a:lnTo>
                <a:lnTo>
                  <a:pt x="6576" y="903184"/>
                </a:lnTo>
                <a:lnTo>
                  <a:pt x="0" y="870607"/>
                </a:lnTo>
                <a:lnTo>
                  <a:pt x="0" y="83692"/>
                </a:lnTo>
                <a:lnTo>
                  <a:pt x="6576" y="51115"/>
                </a:lnTo>
                <a:lnTo>
                  <a:pt x="24512" y="24512"/>
                </a:lnTo>
                <a:lnTo>
                  <a:pt x="51115" y="6576"/>
                </a:lnTo>
                <a:lnTo>
                  <a:pt x="83692" y="0"/>
                </a:lnTo>
                <a:lnTo>
                  <a:pt x="7644907" y="0"/>
                </a:lnTo>
                <a:lnTo>
                  <a:pt x="7691340" y="14061"/>
                </a:lnTo>
                <a:lnTo>
                  <a:pt x="7722229" y="51664"/>
                </a:lnTo>
                <a:lnTo>
                  <a:pt x="7728599" y="83692"/>
                </a:lnTo>
                <a:lnTo>
                  <a:pt x="7728599" y="870607"/>
                </a:lnTo>
                <a:lnTo>
                  <a:pt x="7722023" y="903184"/>
                </a:lnTo>
                <a:lnTo>
                  <a:pt x="7704087" y="929787"/>
                </a:lnTo>
                <a:lnTo>
                  <a:pt x="7677484" y="947723"/>
                </a:lnTo>
                <a:lnTo>
                  <a:pt x="7644907" y="954299"/>
                </a:lnTo>
                <a:close/>
              </a:path>
            </a:pathLst>
          </a:custGeom>
          <a:solidFill>
            <a:schemeClr val="bg2">
              <a:lumMod val="90000"/>
            </a:schemeClr>
          </a:solidFill>
        </p:spPr>
        <p:txBody>
          <a:bodyPr wrap="square" lIns="0" tIns="0" rIns="0" bIns="0" rtlCol="0"/>
          <a:lstStyle/>
          <a:p>
            <a:endParaRPr>
              <a:solidFill>
                <a:srgbClr val="00B050"/>
              </a:solidFill>
            </a:endParaRPr>
          </a:p>
        </p:txBody>
      </p:sp>
      <p:sp>
        <p:nvSpPr>
          <p:cNvPr id="11" name="object 11"/>
          <p:cNvSpPr txBox="1"/>
          <p:nvPr/>
        </p:nvSpPr>
        <p:spPr>
          <a:xfrm>
            <a:off x="11596613" y="154633"/>
            <a:ext cx="302895" cy="604520"/>
          </a:xfrm>
          <a:prstGeom prst="rect">
            <a:avLst/>
          </a:prstGeom>
        </p:spPr>
        <p:txBody>
          <a:bodyPr vert="horz" wrap="square" lIns="0" tIns="12700" rIns="0" bIns="0" rtlCol="0">
            <a:spAutoFit/>
          </a:bodyPr>
          <a:lstStyle/>
          <a:p>
            <a:pPr marL="12700">
              <a:lnSpc>
                <a:spcPct val="100000"/>
              </a:lnSpc>
              <a:spcBef>
                <a:spcPts val="100"/>
              </a:spcBef>
            </a:pPr>
            <a:r>
              <a:rPr lang="it-IT" sz="3800" b="1" dirty="0">
                <a:solidFill>
                  <a:srgbClr val="FFFFFF"/>
                </a:solidFill>
                <a:cs typeface="Roboto"/>
              </a:rPr>
              <a:t>1</a:t>
            </a:r>
            <a:endParaRPr lang="it-IT" sz="3800">
              <a:cs typeface="Roboto"/>
            </a:endParaRPr>
          </a:p>
        </p:txBody>
      </p:sp>
      <p:sp>
        <p:nvSpPr>
          <p:cNvPr id="12" name="object 12"/>
          <p:cNvSpPr/>
          <p:nvPr/>
        </p:nvSpPr>
        <p:spPr>
          <a:xfrm>
            <a:off x="352983" y="2932948"/>
            <a:ext cx="4235059" cy="537585"/>
          </a:xfrm>
          <a:custGeom>
            <a:avLst/>
            <a:gdLst/>
            <a:ahLst/>
            <a:cxnLst/>
            <a:rect l="l" t="t" r="r" b="b"/>
            <a:pathLst>
              <a:path w="1596389" h="472439">
                <a:moveTo>
                  <a:pt x="1554614" y="471899"/>
                </a:moveTo>
                <a:lnTo>
                  <a:pt x="41385" y="471899"/>
                </a:lnTo>
                <a:lnTo>
                  <a:pt x="25276" y="468647"/>
                </a:lnTo>
                <a:lnTo>
                  <a:pt x="12121" y="459778"/>
                </a:lnTo>
                <a:lnTo>
                  <a:pt x="3252" y="446623"/>
                </a:lnTo>
                <a:lnTo>
                  <a:pt x="0" y="430514"/>
                </a:lnTo>
                <a:lnTo>
                  <a:pt x="0" y="41385"/>
                </a:lnTo>
                <a:lnTo>
                  <a:pt x="3252" y="25276"/>
                </a:lnTo>
                <a:lnTo>
                  <a:pt x="12121" y="12121"/>
                </a:lnTo>
                <a:lnTo>
                  <a:pt x="25276" y="3252"/>
                </a:lnTo>
                <a:lnTo>
                  <a:pt x="41385" y="0"/>
                </a:lnTo>
                <a:lnTo>
                  <a:pt x="1554614" y="0"/>
                </a:lnTo>
                <a:lnTo>
                  <a:pt x="1589046" y="18424"/>
                </a:lnTo>
                <a:lnTo>
                  <a:pt x="1595999" y="41385"/>
                </a:lnTo>
                <a:lnTo>
                  <a:pt x="1595999" y="430514"/>
                </a:lnTo>
                <a:lnTo>
                  <a:pt x="1592747" y="446623"/>
                </a:lnTo>
                <a:lnTo>
                  <a:pt x="1583878" y="459778"/>
                </a:lnTo>
                <a:lnTo>
                  <a:pt x="1570723" y="468647"/>
                </a:lnTo>
                <a:lnTo>
                  <a:pt x="1554614" y="471899"/>
                </a:lnTo>
                <a:close/>
              </a:path>
            </a:pathLst>
          </a:custGeom>
          <a:solidFill>
            <a:schemeClr val="accent1"/>
          </a:solidFill>
        </p:spPr>
        <p:txBody>
          <a:bodyPr wrap="square" lIns="0" tIns="0" rIns="0" bIns="0" rtlCol="0"/>
          <a:lstStyle/>
          <a:p>
            <a:endParaRPr/>
          </a:p>
        </p:txBody>
      </p:sp>
      <p:sp>
        <p:nvSpPr>
          <p:cNvPr id="13" name="object 13"/>
          <p:cNvSpPr txBox="1"/>
          <p:nvPr/>
        </p:nvSpPr>
        <p:spPr>
          <a:xfrm>
            <a:off x="451137" y="3049341"/>
            <a:ext cx="4283306" cy="320601"/>
          </a:xfrm>
          <a:prstGeom prst="rect">
            <a:avLst/>
          </a:prstGeom>
        </p:spPr>
        <p:txBody>
          <a:bodyPr vert="horz" wrap="square" lIns="0" tIns="12700" rIns="0" bIns="0" rtlCol="0">
            <a:spAutoFit/>
          </a:bodyPr>
          <a:lstStyle/>
          <a:p>
            <a:pPr marL="12700">
              <a:lnSpc>
                <a:spcPct val="100000"/>
              </a:lnSpc>
              <a:spcBef>
                <a:spcPts val="100"/>
              </a:spcBef>
            </a:pPr>
            <a:r>
              <a:rPr lang="it-IT" sz="2000" b="1" spc="-25" dirty="0">
                <a:solidFill>
                  <a:srgbClr val="FFFFFF"/>
                </a:solidFill>
                <a:cs typeface="Roboto"/>
              </a:rPr>
              <a:t>I partecipanti saranno in grado di:</a:t>
            </a:r>
            <a:endParaRPr lang="it-IT" sz="2000" dirty="0">
              <a:cs typeface="Roboto"/>
            </a:endParaRPr>
          </a:p>
        </p:txBody>
      </p:sp>
      <p:sp>
        <p:nvSpPr>
          <p:cNvPr id="14" name="object 14"/>
          <p:cNvSpPr/>
          <p:nvPr/>
        </p:nvSpPr>
        <p:spPr>
          <a:xfrm>
            <a:off x="10278645" y="1212662"/>
            <a:ext cx="1596390" cy="1531803"/>
          </a:xfrm>
          <a:custGeom>
            <a:avLst/>
            <a:gdLst/>
            <a:ahLst/>
            <a:cxnLst/>
            <a:rect l="l" t="t" r="r" b="b"/>
            <a:pathLst>
              <a:path w="1596390" h="954405">
                <a:moveTo>
                  <a:pt x="1512307" y="954299"/>
                </a:moveTo>
                <a:lnTo>
                  <a:pt x="83692" y="954299"/>
                </a:lnTo>
                <a:lnTo>
                  <a:pt x="51115" y="947723"/>
                </a:lnTo>
                <a:lnTo>
                  <a:pt x="24512" y="929787"/>
                </a:lnTo>
                <a:lnTo>
                  <a:pt x="6576" y="903184"/>
                </a:lnTo>
                <a:lnTo>
                  <a:pt x="0" y="870607"/>
                </a:lnTo>
                <a:lnTo>
                  <a:pt x="0" y="83692"/>
                </a:lnTo>
                <a:lnTo>
                  <a:pt x="6576" y="51115"/>
                </a:lnTo>
                <a:lnTo>
                  <a:pt x="24512" y="24512"/>
                </a:lnTo>
                <a:lnTo>
                  <a:pt x="51115" y="6576"/>
                </a:lnTo>
                <a:lnTo>
                  <a:pt x="83692" y="0"/>
                </a:lnTo>
                <a:lnTo>
                  <a:pt x="1512307" y="0"/>
                </a:lnTo>
                <a:lnTo>
                  <a:pt x="1558740" y="14061"/>
                </a:lnTo>
                <a:lnTo>
                  <a:pt x="1589629" y="51664"/>
                </a:lnTo>
                <a:lnTo>
                  <a:pt x="1595999" y="83692"/>
                </a:lnTo>
                <a:lnTo>
                  <a:pt x="1595999" y="870607"/>
                </a:lnTo>
                <a:lnTo>
                  <a:pt x="1589423" y="903184"/>
                </a:lnTo>
                <a:lnTo>
                  <a:pt x="1571487" y="929787"/>
                </a:lnTo>
                <a:lnTo>
                  <a:pt x="1544884" y="947723"/>
                </a:lnTo>
                <a:lnTo>
                  <a:pt x="1512307" y="954299"/>
                </a:lnTo>
                <a:close/>
              </a:path>
            </a:pathLst>
          </a:custGeom>
          <a:solidFill>
            <a:schemeClr val="accent1"/>
          </a:solidFill>
        </p:spPr>
        <p:txBody>
          <a:bodyPr wrap="square" lIns="0" tIns="0" rIns="0" bIns="0" rtlCol="0"/>
          <a:lstStyle/>
          <a:p>
            <a:endParaRPr lang="it-IT">
              <a:solidFill>
                <a:schemeClr val="accent1"/>
              </a:solidFill>
            </a:endParaRPr>
          </a:p>
        </p:txBody>
      </p:sp>
      <p:sp>
        <p:nvSpPr>
          <p:cNvPr id="15" name="object 15"/>
          <p:cNvSpPr txBox="1"/>
          <p:nvPr/>
        </p:nvSpPr>
        <p:spPr>
          <a:xfrm>
            <a:off x="10605352" y="1580986"/>
            <a:ext cx="1135511" cy="689932"/>
          </a:xfrm>
          <a:prstGeom prst="rect">
            <a:avLst/>
          </a:prstGeom>
        </p:spPr>
        <p:txBody>
          <a:bodyPr vert="horz" wrap="square" lIns="0" tIns="12700" rIns="0" bIns="0" rtlCol="0">
            <a:spAutoFit/>
          </a:bodyPr>
          <a:lstStyle/>
          <a:p>
            <a:pPr marL="12700">
              <a:lnSpc>
                <a:spcPct val="100000"/>
              </a:lnSpc>
              <a:spcBef>
                <a:spcPts val="100"/>
              </a:spcBef>
            </a:pPr>
            <a:r>
              <a:rPr lang="it-IT" sz="2200" b="1" spc="-5" dirty="0">
                <a:solidFill>
                  <a:srgbClr val="FFFFFF"/>
                </a:solidFill>
                <a:cs typeface="Roboto"/>
              </a:rPr>
              <a:t>Durata:40</a:t>
            </a:r>
            <a:r>
              <a:rPr lang="it-IT" sz="2200" b="1" spc="-80" dirty="0">
                <a:solidFill>
                  <a:srgbClr val="FFFFFF"/>
                </a:solidFill>
                <a:cs typeface="Roboto"/>
              </a:rPr>
              <a:t> </a:t>
            </a:r>
            <a:r>
              <a:rPr lang="it-IT" sz="2200" b="1" dirty="0">
                <a:solidFill>
                  <a:srgbClr val="FFFFFF"/>
                </a:solidFill>
                <a:cs typeface="Roboto"/>
              </a:rPr>
              <a:t>ORE</a:t>
            </a:r>
          </a:p>
        </p:txBody>
      </p:sp>
      <p:sp>
        <p:nvSpPr>
          <p:cNvPr id="19" name="CasellaDiTesto 18">
            <a:extLst>
              <a:ext uri="{FF2B5EF4-FFF2-40B4-BE49-F238E27FC236}">
                <a16:creationId xmlns:a16="http://schemas.microsoft.com/office/drawing/2014/main" id="{AE419993-E428-4926-B9BE-D3A35F84AC1A}"/>
              </a:ext>
            </a:extLst>
          </p:cNvPr>
          <p:cNvSpPr txBox="1"/>
          <p:nvPr/>
        </p:nvSpPr>
        <p:spPr>
          <a:xfrm>
            <a:off x="241242" y="824225"/>
            <a:ext cx="4171748" cy="400110"/>
          </a:xfrm>
          <a:prstGeom prst="rect">
            <a:avLst/>
          </a:prstGeom>
          <a:noFill/>
        </p:spPr>
        <p:txBody>
          <a:bodyPr wrap="square">
            <a:spAutoFit/>
          </a:bodyPr>
          <a:lstStyle/>
          <a:p>
            <a:pPr marL="59690">
              <a:lnSpc>
                <a:spcPct val="100000"/>
              </a:lnSpc>
              <a:spcBef>
                <a:spcPts val="1370"/>
              </a:spcBef>
            </a:pPr>
            <a:r>
              <a:rPr lang="it-IT" sz="2000" b="1" i="1" spc="20" dirty="0">
                <a:solidFill>
                  <a:schemeClr val="tx1">
                    <a:lumMod val="65000"/>
                    <a:lumOff val="35000"/>
                  </a:schemeClr>
                </a:solidFill>
                <a:cs typeface="Roboto"/>
              </a:rPr>
              <a:t>Upskilling</a:t>
            </a:r>
            <a:r>
              <a:rPr lang="it-IT" sz="2000" b="1" spc="20" dirty="0">
                <a:solidFill>
                  <a:schemeClr val="tx1">
                    <a:lumMod val="65000"/>
                    <a:lumOff val="35000"/>
                  </a:schemeClr>
                </a:solidFill>
                <a:cs typeface="Roboto"/>
              </a:rPr>
              <a:t> mirato al profilo di: </a:t>
            </a:r>
          </a:p>
        </p:txBody>
      </p:sp>
      <p:sp>
        <p:nvSpPr>
          <p:cNvPr id="23" name="object 13">
            <a:extLst>
              <a:ext uri="{FF2B5EF4-FFF2-40B4-BE49-F238E27FC236}">
                <a16:creationId xmlns:a16="http://schemas.microsoft.com/office/drawing/2014/main" id="{26655215-3172-4130-B17A-FB0B2AA9CF00}"/>
              </a:ext>
            </a:extLst>
          </p:cNvPr>
          <p:cNvSpPr txBox="1"/>
          <p:nvPr/>
        </p:nvSpPr>
        <p:spPr>
          <a:xfrm>
            <a:off x="367655" y="3511113"/>
            <a:ext cx="9855562" cy="2292551"/>
          </a:xfrm>
          <a:prstGeom prst="rect">
            <a:avLst/>
          </a:prstGeom>
        </p:spPr>
        <p:txBody>
          <a:bodyPr vert="horz" wrap="square" lIns="0" tIns="12700" rIns="0" bIns="0" rtlCol="0">
            <a:spAutoFit/>
          </a:bodyPr>
          <a:lstStyle/>
          <a:p>
            <a:pPr marL="285750" indent="-285750" algn="l" rtl="0" eaLnBrk="1" fontAlgn="ctr" latinLnBrk="0" hangingPunct="1">
              <a:lnSpc>
                <a:spcPct val="107000"/>
              </a:lnSpc>
              <a:spcBef>
                <a:spcPts val="0"/>
              </a:spcBef>
              <a:spcAft>
                <a:spcPts val="800"/>
              </a:spcAft>
              <a:buFont typeface="Wingdings" panose="05000000000000000000" pitchFamily="2" charset="2"/>
              <a:buChar char="v"/>
            </a:pPr>
            <a:r>
              <a:rPr lang="it-IT" spc="-15" dirty="0">
                <a:solidFill>
                  <a:srgbClr val="333333"/>
                </a:solidFill>
              </a:rPr>
              <a:t>Provvedere allo sviluppo del piano di vendita, sulla base del piano di marketing, definendo le strategie commerciali e le modalità operative per la loro implementazione, coordinandosi con la funzione marketing</a:t>
            </a:r>
          </a:p>
          <a:p>
            <a:pPr marL="285750" indent="-285750" algn="l" rtl="0" eaLnBrk="1" fontAlgn="ctr" latinLnBrk="0" hangingPunct="1">
              <a:lnSpc>
                <a:spcPct val="107000"/>
              </a:lnSpc>
              <a:spcBef>
                <a:spcPts val="0"/>
              </a:spcBef>
              <a:spcAft>
                <a:spcPts val="800"/>
              </a:spcAft>
              <a:buFont typeface="Wingdings" panose="05000000000000000000" pitchFamily="2" charset="2"/>
              <a:buChar char="v"/>
            </a:pPr>
            <a:r>
              <a:rPr lang="it-IT" spc="-15" dirty="0">
                <a:solidFill>
                  <a:srgbClr val="333333"/>
                </a:solidFill>
              </a:rPr>
              <a:t>Analizzare le caratteristiche del mercato di riferimento (vendite, prezzi, canali di distribuzione, qualità dei prodotti, ecc.) e identificare il target di clienti attuali e potenziali</a:t>
            </a:r>
          </a:p>
          <a:p>
            <a:pPr marL="285750" indent="-285750" algn="l" rtl="0" eaLnBrk="1" fontAlgn="ctr" latinLnBrk="0" hangingPunct="1">
              <a:lnSpc>
                <a:spcPct val="107000"/>
              </a:lnSpc>
              <a:spcBef>
                <a:spcPts val="0"/>
              </a:spcBef>
              <a:spcAft>
                <a:spcPts val="800"/>
              </a:spcAft>
              <a:buFont typeface="Wingdings" panose="05000000000000000000" pitchFamily="2" charset="2"/>
              <a:buChar char="v"/>
            </a:pPr>
            <a:r>
              <a:rPr lang="it-IT" spc="-15" dirty="0">
                <a:solidFill>
                  <a:srgbClr val="333333"/>
                </a:solidFill>
              </a:rPr>
              <a:t>Definire la strategia (multi o </a:t>
            </a:r>
            <a:r>
              <a:rPr lang="it-IT" spc="-15" dirty="0" err="1">
                <a:solidFill>
                  <a:srgbClr val="333333"/>
                </a:solidFill>
              </a:rPr>
              <a:t>omni-channel</a:t>
            </a:r>
            <a:r>
              <a:rPr lang="it-IT" spc="-15" dirty="0">
                <a:solidFill>
                  <a:srgbClr val="333333"/>
                </a:solidFill>
              </a:rPr>
              <a:t>) e i fattori dell’e-marketing mix (prodotto, prezzo, promozione, distribuzione, processo, persone)</a:t>
            </a:r>
          </a:p>
        </p:txBody>
      </p:sp>
      <p:sp>
        <p:nvSpPr>
          <p:cNvPr id="18" name="object 7">
            <a:extLst>
              <a:ext uri="{FF2B5EF4-FFF2-40B4-BE49-F238E27FC236}">
                <a16:creationId xmlns:a16="http://schemas.microsoft.com/office/drawing/2014/main" id="{BCA79126-CD8E-4B74-897D-BAC10847B75A}"/>
              </a:ext>
            </a:extLst>
          </p:cNvPr>
          <p:cNvSpPr txBox="1"/>
          <p:nvPr/>
        </p:nvSpPr>
        <p:spPr>
          <a:xfrm>
            <a:off x="367655" y="1196913"/>
            <a:ext cx="8603284" cy="1576072"/>
          </a:xfrm>
          <a:prstGeom prst="rect">
            <a:avLst/>
          </a:prstGeom>
        </p:spPr>
        <p:txBody>
          <a:bodyPr vert="horz" wrap="square" lIns="0" tIns="173990" rIns="0" bIns="0" rtlCol="0">
            <a:spAutoFit/>
          </a:bodyPr>
          <a:lstStyle/>
          <a:p>
            <a:pPr marL="12700" marR="5080" algn="just">
              <a:lnSpc>
                <a:spcPct val="101600"/>
              </a:lnSpc>
              <a:spcBef>
                <a:spcPts val="985"/>
              </a:spcBef>
            </a:pPr>
            <a:r>
              <a:rPr lang="it-IT" b="1" spc="-15" dirty="0">
                <a:solidFill>
                  <a:srgbClr val="333333"/>
                </a:solidFill>
              </a:rPr>
              <a:t>Tecnico specializzato in e-commerce: </a:t>
            </a:r>
            <a:r>
              <a:rPr lang="it-IT" spc="-15" dirty="0">
                <a:solidFill>
                  <a:srgbClr val="333333"/>
                </a:solidFill>
              </a:rPr>
              <a:t>si occupa della definizione di una strategia di e-commerce per promuovere la vendita online di prodotti e servizi. Gestisce e sviluppa la piattaforma per l’e-commerce, definisce i contenuti per il marketing digitale, realizza il monitoraggio dei risultati di vendita ed individua soluzioni per migliorare i servizi di e-commerce e il posizionamento dei prodotti/servizi. </a:t>
            </a:r>
          </a:p>
        </p:txBody>
      </p:sp>
      <p:sp>
        <p:nvSpPr>
          <p:cNvPr id="2" name="Rettangolo con angoli arrotondati 1">
            <a:extLst>
              <a:ext uri="{FF2B5EF4-FFF2-40B4-BE49-F238E27FC236}">
                <a16:creationId xmlns:a16="http://schemas.microsoft.com/office/drawing/2014/main" id="{622EA4FE-D9E8-0694-8AAB-6441136BA059}"/>
              </a:ext>
            </a:extLst>
          </p:cNvPr>
          <p:cNvSpPr/>
          <p:nvPr/>
        </p:nvSpPr>
        <p:spPr>
          <a:xfrm>
            <a:off x="10290874" y="2951022"/>
            <a:ext cx="1596390" cy="1014899"/>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00"/>
          </a:p>
        </p:txBody>
      </p:sp>
      <p:sp>
        <p:nvSpPr>
          <p:cNvPr id="4" name="CasellaDiTesto 3">
            <a:extLst>
              <a:ext uri="{FF2B5EF4-FFF2-40B4-BE49-F238E27FC236}">
                <a16:creationId xmlns:a16="http://schemas.microsoft.com/office/drawing/2014/main" id="{1339EA3A-789F-3FE0-96A5-6FC3AE723BFB}"/>
              </a:ext>
            </a:extLst>
          </p:cNvPr>
          <p:cNvSpPr txBox="1"/>
          <p:nvPr/>
        </p:nvSpPr>
        <p:spPr>
          <a:xfrm>
            <a:off x="10437275" y="3071171"/>
            <a:ext cx="1303588" cy="830997"/>
          </a:xfrm>
          <a:prstGeom prst="rect">
            <a:avLst/>
          </a:prstGeom>
          <a:noFill/>
        </p:spPr>
        <p:txBody>
          <a:bodyPr wrap="square" rtlCol="0">
            <a:spAutoFit/>
          </a:bodyPr>
          <a:lstStyle/>
          <a:p>
            <a:pPr algn="ctr"/>
            <a:r>
              <a:rPr lang="it-IT" sz="1600" b="1" dirty="0">
                <a:solidFill>
                  <a:schemeClr val="accent1"/>
                </a:solidFill>
                <a:hlinkClick r:id="rId3" action="ppaction://hlinksldjump"/>
              </a:rPr>
              <a:t>Vedi dettagli programma</a:t>
            </a:r>
            <a:endParaRPr lang="it-IT" sz="1600" b="1" dirty="0">
              <a:solidFill>
                <a:schemeClr val="accent1"/>
              </a:solidFill>
            </a:endParaRPr>
          </a:p>
        </p:txBody>
      </p:sp>
      <p:sp>
        <p:nvSpPr>
          <p:cNvPr id="6" name="Rettangolo con angoli arrotondati 5">
            <a:extLst>
              <a:ext uri="{FF2B5EF4-FFF2-40B4-BE49-F238E27FC236}">
                <a16:creationId xmlns:a16="http://schemas.microsoft.com/office/drawing/2014/main" id="{A8BB2B65-9FB8-0A68-C98A-B3ED0D3BD598}"/>
              </a:ext>
            </a:extLst>
          </p:cNvPr>
          <p:cNvSpPr/>
          <p:nvPr/>
        </p:nvSpPr>
        <p:spPr>
          <a:xfrm>
            <a:off x="10304555" y="4172478"/>
            <a:ext cx="1596390" cy="819725"/>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00"/>
          </a:p>
        </p:txBody>
      </p:sp>
      <p:sp>
        <p:nvSpPr>
          <p:cNvPr id="9" name="CasellaDiTesto 8">
            <a:extLst>
              <a:ext uri="{FF2B5EF4-FFF2-40B4-BE49-F238E27FC236}">
                <a16:creationId xmlns:a16="http://schemas.microsoft.com/office/drawing/2014/main" id="{D729AD32-6F42-08A9-656A-E44722941153}"/>
              </a:ext>
            </a:extLst>
          </p:cNvPr>
          <p:cNvSpPr txBox="1"/>
          <p:nvPr/>
        </p:nvSpPr>
        <p:spPr>
          <a:xfrm>
            <a:off x="10414391" y="4289952"/>
            <a:ext cx="1366207" cy="584775"/>
          </a:xfrm>
          <a:prstGeom prst="rect">
            <a:avLst/>
          </a:prstGeom>
          <a:noFill/>
        </p:spPr>
        <p:txBody>
          <a:bodyPr wrap="square" rtlCol="0">
            <a:spAutoFit/>
          </a:bodyPr>
          <a:lstStyle/>
          <a:p>
            <a:pPr algn="ctr"/>
            <a:r>
              <a:rPr lang="it-IT" sz="1600" b="1" dirty="0">
                <a:solidFill>
                  <a:schemeClr val="accent1"/>
                </a:solidFill>
                <a:hlinkClick r:id="rId4" action="ppaction://hlinksldjump"/>
              </a:rPr>
              <a:t>Vedi indice corsi</a:t>
            </a:r>
            <a:endParaRPr lang="it-IT" sz="1600" b="1" dirty="0">
              <a:solidFill>
                <a:schemeClr val="accent1"/>
              </a:solidFill>
            </a:endParaRPr>
          </a:p>
        </p:txBody>
      </p:sp>
      <p:pic>
        <p:nvPicPr>
          <p:cNvPr id="20" name="Immagine 19">
            <a:extLst>
              <a:ext uri="{FF2B5EF4-FFF2-40B4-BE49-F238E27FC236}">
                <a16:creationId xmlns:a16="http://schemas.microsoft.com/office/drawing/2014/main" id="{35992637-620F-4C3A-9071-A9B2B70FDA2E}"/>
              </a:ext>
            </a:extLst>
          </p:cNvPr>
          <p:cNvPicPr>
            <a:picLocks noChangeAspect="1"/>
          </p:cNvPicPr>
          <p:nvPr/>
        </p:nvPicPr>
        <p:blipFill>
          <a:blip r:embed="rId5"/>
          <a:stretch>
            <a:fillRect/>
          </a:stretch>
        </p:blipFill>
        <p:spPr>
          <a:xfrm>
            <a:off x="327484" y="5784507"/>
            <a:ext cx="9567758" cy="1086724"/>
          </a:xfrm>
          <a:prstGeom prst="rect">
            <a:avLst/>
          </a:prstGeom>
        </p:spPr>
      </p:pic>
      <p:pic>
        <p:nvPicPr>
          <p:cNvPr id="21" name="Immagine 20">
            <a:extLst>
              <a:ext uri="{FF2B5EF4-FFF2-40B4-BE49-F238E27FC236}">
                <a16:creationId xmlns:a16="http://schemas.microsoft.com/office/drawing/2014/main" id="{44073FC3-2626-411A-8B57-E90CCE704500}"/>
              </a:ext>
            </a:extLst>
          </p:cNvPr>
          <p:cNvPicPr>
            <a:picLocks noChangeAspect="1"/>
          </p:cNvPicPr>
          <p:nvPr/>
        </p:nvPicPr>
        <p:blipFill>
          <a:blip r:embed="rId6"/>
          <a:stretch>
            <a:fillRect/>
          </a:stretch>
        </p:blipFill>
        <p:spPr>
          <a:xfrm>
            <a:off x="9898769" y="6182710"/>
            <a:ext cx="1378634" cy="340953"/>
          </a:xfrm>
          <a:prstGeom prst="rect">
            <a:avLst/>
          </a:prstGeom>
        </p:spPr>
      </p:pic>
    </p:spTree>
    <p:extLst>
      <p:ext uri="{BB962C8B-B14F-4D97-AF65-F5344CB8AC3E}">
        <p14:creationId xmlns:p14="http://schemas.microsoft.com/office/powerpoint/2010/main" val="199111081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8289" y="202465"/>
            <a:ext cx="10917349" cy="659155"/>
          </a:xfrm>
          <a:prstGeom prst="rect">
            <a:avLst/>
          </a:prstGeom>
        </p:spPr>
        <p:txBody>
          <a:bodyPr vert="horz" wrap="square" lIns="0" tIns="12700" rIns="0" bIns="0" rtlCol="0">
            <a:spAutoFit/>
          </a:bodyPr>
          <a:lstStyle/>
          <a:p>
            <a:pPr marL="12700">
              <a:lnSpc>
                <a:spcPct val="100000"/>
              </a:lnSpc>
              <a:spcBef>
                <a:spcPts val="100"/>
              </a:spcBef>
            </a:pPr>
            <a:r>
              <a:rPr lang="it-IT" sz="2800" spc="-15" dirty="0">
                <a:solidFill>
                  <a:schemeClr val="accent1"/>
                </a:solidFill>
                <a:latin typeface="+mn-lt"/>
              </a:rPr>
              <a:t>10. CORSO E-COMMERCE</a:t>
            </a:r>
            <a:br>
              <a:rPr lang="it-IT" sz="2800" spc="-15" dirty="0">
                <a:solidFill>
                  <a:schemeClr val="accent1"/>
                </a:solidFill>
                <a:latin typeface="+mn-lt"/>
              </a:rPr>
            </a:br>
            <a:r>
              <a:rPr lang="it-IT" sz="1400" spc="-15" dirty="0">
                <a:solidFill>
                  <a:schemeClr val="accent1"/>
                </a:solidFill>
                <a:latin typeface="+mn-lt"/>
              </a:rPr>
              <a:t>(OPAL Formazione </a:t>
            </a:r>
            <a:r>
              <a:rPr lang="it-IT" sz="1400" spc="-15" dirty="0" err="1">
                <a:solidFill>
                  <a:schemeClr val="accent1"/>
                </a:solidFill>
                <a:latin typeface="+mn-lt"/>
              </a:rPr>
              <a:t>Upskilling</a:t>
            </a:r>
            <a:r>
              <a:rPr lang="it-IT" sz="1400" spc="-15" dirty="0">
                <a:solidFill>
                  <a:schemeClr val="accent1"/>
                </a:solidFill>
                <a:latin typeface="+mn-lt"/>
              </a:rPr>
              <a:t> (RRSP) mirata al profilo TECNICO SPECIALIZZATO IN E-COMMERCE</a:t>
            </a:r>
          </a:p>
        </p:txBody>
      </p:sp>
      <p:sp>
        <p:nvSpPr>
          <p:cNvPr id="5" name="object 5"/>
          <p:cNvSpPr/>
          <p:nvPr/>
        </p:nvSpPr>
        <p:spPr>
          <a:xfrm>
            <a:off x="634621" y="1745832"/>
            <a:ext cx="8889221" cy="1592756"/>
          </a:xfrm>
          <a:custGeom>
            <a:avLst/>
            <a:gdLst/>
            <a:ahLst/>
            <a:cxnLst/>
            <a:rect l="l" t="t" r="r" b="b"/>
            <a:pathLst>
              <a:path w="7729220" h="954405">
                <a:moveTo>
                  <a:pt x="7644907" y="954299"/>
                </a:moveTo>
                <a:lnTo>
                  <a:pt x="83692" y="954299"/>
                </a:lnTo>
                <a:lnTo>
                  <a:pt x="51115" y="947723"/>
                </a:lnTo>
                <a:lnTo>
                  <a:pt x="24512" y="929787"/>
                </a:lnTo>
                <a:lnTo>
                  <a:pt x="6576" y="903184"/>
                </a:lnTo>
                <a:lnTo>
                  <a:pt x="0" y="870607"/>
                </a:lnTo>
                <a:lnTo>
                  <a:pt x="0" y="83692"/>
                </a:lnTo>
                <a:lnTo>
                  <a:pt x="6576" y="51115"/>
                </a:lnTo>
                <a:lnTo>
                  <a:pt x="24512" y="24512"/>
                </a:lnTo>
                <a:lnTo>
                  <a:pt x="51115" y="6576"/>
                </a:lnTo>
                <a:lnTo>
                  <a:pt x="83692" y="0"/>
                </a:lnTo>
                <a:lnTo>
                  <a:pt x="7644907" y="0"/>
                </a:lnTo>
                <a:lnTo>
                  <a:pt x="7691340" y="14061"/>
                </a:lnTo>
                <a:lnTo>
                  <a:pt x="7722229" y="51664"/>
                </a:lnTo>
                <a:lnTo>
                  <a:pt x="7728599" y="83692"/>
                </a:lnTo>
                <a:lnTo>
                  <a:pt x="7728599" y="870607"/>
                </a:lnTo>
                <a:lnTo>
                  <a:pt x="7722023" y="903184"/>
                </a:lnTo>
                <a:lnTo>
                  <a:pt x="7704087" y="929787"/>
                </a:lnTo>
                <a:lnTo>
                  <a:pt x="7677484" y="947723"/>
                </a:lnTo>
                <a:lnTo>
                  <a:pt x="7644907" y="954299"/>
                </a:lnTo>
                <a:close/>
              </a:path>
            </a:pathLst>
          </a:custGeom>
          <a:solidFill>
            <a:schemeClr val="bg1"/>
          </a:solidFill>
        </p:spPr>
        <p:txBody>
          <a:bodyPr wrap="square" lIns="0" tIns="0" rIns="0" bIns="0" rtlCol="0"/>
          <a:lstStyle/>
          <a:p>
            <a:endParaRPr>
              <a:solidFill>
                <a:srgbClr val="00B050"/>
              </a:solidFill>
            </a:endParaRPr>
          </a:p>
        </p:txBody>
      </p:sp>
      <p:sp>
        <p:nvSpPr>
          <p:cNvPr id="11" name="object 11"/>
          <p:cNvSpPr txBox="1"/>
          <p:nvPr/>
        </p:nvSpPr>
        <p:spPr>
          <a:xfrm>
            <a:off x="11596613" y="154633"/>
            <a:ext cx="302895" cy="604520"/>
          </a:xfrm>
          <a:prstGeom prst="rect">
            <a:avLst/>
          </a:prstGeom>
        </p:spPr>
        <p:txBody>
          <a:bodyPr vert="horz" wrap="square" lIns="0" tIns="12700" rIns="0" bIns="0" rtlCol="0">
            <a:spAutoFit/>
          </a:bodyPr>
          <a:lstStyle/>
          <a:p>
            <a:pPr marL="12700">
              <a:lnSpc>
                <a:spcPct val="100000"/>
              </a:lnSpc>
              <a:spcBef>
                <a:spcPts val="100"/>
              </a:spcBef>
            </a:pPr>
            <a:r>
              <a:rPr sz="3800" b="1" dirty="0">
                <a:solidFill>
                  <a:srgbClr val="FFFFFF"/>
                </a:solidFill>
                <a:latin typeface="Roboto"/>
                <a:cs typeface="Roboto"/>
              </a:rPr>
              <a:t>1</a:t>
            </a:r>
            <a:endParaRPr sz="3800">
              <a:latin typeface="Roboto"/>
              <a:cs typeface="Roboto"/>
            </a:endParaRPr>
          </a:p>
        </p:txBody>
      </p:sp>
      <p:sp>
        <p:nvSpPr>
          <p:cNvPr id="13" name="object 13"/>
          <p:cNvSpPr txBox="1"/>
          <p:nvPr/>
        </p:nvSpPr>
        <p:spPr>
          <a:xfrm>
            <a:off x="830494" y="3434471"/>
            <a:ext cx="8889221" cy="320601"/>
          </a:xfrm>
          <a:prstGeom prst="rect">
            <a:avLst/>
          </a:prstGeom>
        </p:spPr>
        <p:txBody>
          <a:bodyPr vert="horz" wrap="square" lIns="0" tIns="12700" rIns="0" bIns="0" rtlCol="0">
            <a:spAutoFit/>
          </a:bodyPr>
          <a:lstStyle/>
          <a:p>
            <a:pPr marL="12700">
              <a:lnSpc>
                <a:spcPct val="100000"/>
              </a:lnSpc>
              <a:spcBef>
                <a:spcPts val="100"/>
              </a:spcBef>
            </a:pPr>
            <a:r>
              <a:rPr lang="it-IT" sz="2000" b="1" spc="-25" dirty="0">
                <a:solidFill>
                  <a:srgbClr val="FFFFFF"/>
                </a:solidFill>
                <a:cs typeface="Roboto"/>
              </a:rPr>
              <a:t>I partecipanti saranno in grado di:</a:t>
            </a:r>
            <a:endParaRPr lang="it-IT" sz="2000" dirty="0">
              <a:cs typeface="Roboto"/>
            </a:endParaRPr>
          </a:p>
        </p:txBody>
      </p:sp>
      <p:sp>
        <p:nvSpPr>
          <p:cNvPr id="15" name="object 15"/>
          <p:cNvSpPr txBox="1"/>
          <p:nvPr/>
        </p:nvSpPr>
        <p:spPr>
          <a:xfrm>
            <a:off x="10227205" y="1985879"/>
            <a:ext cx="942975" cy="689932"/>
          </a:xfrm>
          <a:prstGeom prst="rect">
            <a:avLst/>
          </a:prstGeom>
        </p:spPr>
        <p:txBody>
          <a:bodyPr vert="horz" wrap="square" lIns="0" tIns="12700" rIns="0" bIns="0" rtlCol="0">
            <a:spAutoFit/>
          </a:bodyPr>
          <a:lstStyle/>
          <a:p>
            <a:pPr marL="12700">
              <a:lnSpc>
                <a:spcPct val="100000"/>
              </a:lnSpc>
              <a:spcBef>
                <a:spcPts val="100"/>
              </a:spcBef>
            </a:pPr>
            <a:r>
              <a:rPr lang="it-IT" sz="2200" b="1" spc="-5" dirty="0">
                <a:solidFill>
                  <a:srgbClr val="FFFFFF"/>
                </a:solidFill>
                <a:cs typeface="Roboto"/>
              </a:rPr>
              <a:t>Durata:40</a:t>
            </a:r>
            <a:r>
              <a:rPr lang="it-IT" sz="2200" b="1" spc="-80" dirty="0">
                <a:solidFill>
                  <a:srgbClr val="FFFFFF"/>
                </a:solidFill>
                <a:cs typeface="Roboto"/>
              </a:rPr>
              <a:t> </a:t>
            </a:r>
            <a:r>
              <a:rPr lang="it-IT" sz="2200" b="1" dirty="0">
                <a:solidFill>
                  <a:srgbClr val="FFFFFF"/>
                </a:solidFill>
                <a:cs typeface="Roboto"/>
              </a:rPr>
              <a:t>ORE</a:t>
            </a:r>
          </a:p>
        </p:txBody>
      </p:sp>
      <p:sp>
        <p:nvSpPr>
          <p:cNvPr id="18" name="object 7">
            <a:extLst>
              <a:ext uri="{FF2B5EF4-FFF2-40B4-BE49-F238E27FC236}">
                <a16:creationId xmlns:a16="http://schemas.microsoft.com/office/drawing/2014/main" id="{BCA79126-CD8E-4B74-897D-BAC10847B75A}"/>
              </a:ext>
            </a:extLst>
          </p:cNvPr>
          <p:cNvSpPr txBox="1"/>
          <p:nvPr/>
        </p:nvSpPr>
        <p:spPr>
          <a:xfrm>
            <a:off x="368289" y="1866949"/>
            <a:ext cx="9125413" cy="2087238"/>
          </a:xfrm>
          <a:prstGeom prst="rect">
            <a:avLst/>
          </a:prstGeom>
        </p:spPr>
        <p:txBody>
          <a:bodyPr vert="horz" wrap="square" lIns="0" tIns="173990" rIns="0" bIns="0" rtlCol="0">
            <a:spAutoFit/>
          </a:bodyPr>
          <a:lstStyle/>
          <a:p>
            <a:pPr marL="342900" marR="5080" indent="-342900" algn="just">
              <a:lnSpc>
                <a:spcPct val="101600"/>
              </a:lnSpc>
              <a:spcBef>
                <a:spcPts val="985"/>
              </a:spcBef>
              <a:buFont typeface="Arial" panose="020B0604020202020204" pitchFamily="34" charset="0"/>
              <a:buChar char="•"/>
            </a:pPr>
            <a:r>
              <a:rPr lang="it-IT" dirty="0">
                <a:solidFill>
                  <a:srgbClr val="212121"/>
                </a:solidFill>
              </a:rPr>
              <a:t>Principali elementi di marketing strategico ed operativo</a:t>
            </a:r>
          </a:p>
          <a:p>
            <a:pPr marL="342900" marR="5080" indent="-342900" algn="just">
              <a:lnSpc>
                <a:spcPct val="101600"/>
              </a:lnSpc>
              <a:spcBef>
                <a:spcPts val="985"/>
              </a:spcBef>
              <a:buFont typeface="Arial" panose="020B0604020202020204" pitchFamily="34" charset="0"/>
              <a:buChar char="•"/>
            </a:pPr>
            <a:r>
              <a:rPr lang="it-IT" dirty="0">
                <a:solidFill>
                  <a:srgbClr val="212121"/>
                </a:solidFill>
              </a:rPr>
              <a:t>Modelli e strumenti di web marketing</a:t>
            </a:r>
          </a:p>
          <a:p>
            <a:pPr marL="342900" marR="5080" indent="-342900" algn="just">
              <a:lnSpc>
                <a:spcPct val="101600"/>
              </a:lnSpc>
              <a:spcBef>
                <a:spcPts val="985"/>
              </a:spcBef>
              <a:buFont typeface="Arial" panose="020B0604020202020204" pitchFamily="34" charset="0"/>
              <a:buChar char="•"/>
            </a:pPr>
            <a:r>
              <a:rPr lang="it-IT" dirty="0">
                <a:solidFill>
                  <a:srgbClr val="212121"/>
                </a:solidFill>
              </a:rPr>
              <a:t>Tecniche e strumenti di benchmarking</a:t>
            </a:r>
          </a:p>
          <a:p>
            <a:pPr marL="342900" marR="5080" indent="-342900" algn="just">
              <a:lnSpc>
                <a:spcPct val="101600"/>
              </a:lnSpc>
              <a:spcBef>
                <a:spcPts val="985"/>
              </a:spcBef>
              <a:buFont typeface="Arial" panose="020B0604020202020204" pitchFamily="34" charset="0"/>
              <a:buChar char="•"/>
            </a:pPr>
            <a:r>
              <a:rPr lang="it-IT" dirty="0">
                <a:solidFill>
                  <a:srgbClr val="212121"/>
                </a:solidFill>
              </a:rPr>
              <a:t>Tecniche e strumenti di segmentazione e targeting per la vendita online</a:t>
            </a:r>
          </a:p>
          <a:p>
            <a:pPr marL="342900" marR="5080" indent="-342900" algn="just">
              <a:lnSpc>
                <a:spcPct val="101600"/>
              </a:lnSpc>
              <a:spcBef>
                <a:spcPts val="985"/>
              </a:spcBef>
              <a:buFont typeface="Arial" panose="020B0604020202020204" pitchFamily="34" charset="0"/>
              <a:buChar char="•"/>
            </a:pPr>
            <a:r>
              <a:rPr lang="it-IT" dirty="0">
                <a:solidFill>
                  <a:srgbClr val="212121"/>
                </a:solidFill>
              </a:rPr>
              <a:t>Strategie di posizionamento per l’e-commerce</a:t>
            </a:r>
          </a:p>
        </p:txBody>
      </p:sp>
      <p:sp>
        <p:nvSpPr>
          <p:cNvPr id="6" name="object 12">
            <a:extLst>
              <a:ext uri="{FF2B5EF4-FFF2-40B4-BE49-F238E27FC236}">
                <a16:creationId xmlns:a16="http://schemas.microsoft.com/office/drawing/2014/main" id="{5E1D4F0F-67B4-1418-B75B-2645E40278EF}"/>
              </a:ext>
            </a:extLst>
          </p:cNvPr>
          <p:cNvSpPr/>
          <p:nvPr/>
        </p:nvSpPr>
        <p:spPr>
          <a:xfrm>
            <a:off x="329870" y="1160306"/>
            <a:ext cx="2593435" cy="537585"/>
          </a:xfrm>
          <a:custGeom>
            <a:avLst/>
            <a:gdLst/>
            <a:ahLst/>
            <a:cxnLst/>
            <a:rect l="l" t="t" r="r" b="b"/>
            <a:pathLst>
              <a:path w="1596389" h="472439">
                <a:moveTo>
                  <a:pt x="1554614" y="471899"/>
                </a:moveTo>
                <a:lnTo>
                  <a:pt x="41385" y="471899"/>
                </a:lnTo>
                <a:lnTo>
                  <a:pt x="25276" y="468647"/>
                </a:lnTo>
                <a:lnTo>
                  <a:pt x="12121" y="459778"/>
                </a:lnTo>
                <a:lnTo>
                  <a:pt x="3252" y="446623"/>
                </a:lnTo>
                <a:lnTo>
                  <a:pt x="0" y="430514"/>
                </a:lnTo>
                <a:lnTo>
                  <a:pt x="0" y="41385"/>
                </a:lnTo>
                <a:lnTo>
                  <a:pt x="3252" y="25276"/>
                </a:lnTo>
                <a:lnTo>
                  <a:pt x="12121" y="12121"/>
                </a:lnTo>
                <a:lnTo>
                  <a:pt x="25276" y="3252"/>
                </a:lnTo>
                <a:lnTo>
                  <a:pt x="41385" y="0"/>
                </a:lnTo>
                <a:lnTo>
                  <a:pt x="1554614" y="0"/>
                </a:lnTo>
                <a:lnTo>
                  <a:pt x="1589046" y="18424"/>
                </a:lnTo>
                <a:lnTo>
                  <a:pt x="1595999" y="41385"/>
                </a:lnTo>
                <a:lnTo>
                  <a:pt x="1595999" y="430514"/>
                </a:lnTo>
                <a:lnTo>
                  <a:pt x="1592747" y="446623"/>
                </a:lnTo>
                <a:lnTo>
                  <a:pt x="1583878" y="459778"/>
                </a:lnTo>
                <a:lnTo>
                  <a:pt x="1570723" y="468647"/>
                </a:lnTo>
                <a:lnTo>
                  <a:pt x="1554614" y="471899"/>
                </a:lnTo>
                <a:close/>
              </a:path>
            </a:pathLst>
          </a:custGeom>
          <a:solidFill>
            <a:schemeClr val="accent1"/>
          </a:solidFill>
        </p:spPr>
        <p:txBody>
          <a:bodyPr wrap="square" lIns="0" tIns="0" rIns="0" bIns="0" rtlCol="0"/>
          <a:lstStyle/>
          <a:p>
            <a:endParaRPr/>
          </a:p>
        </p:txBody>
      </p:sp>
      <p:sp>
        <p:nvSpPr>
          <p:cNvPr id="7" name="CasellaDiTesto 6">
            <a:extLst>
              <a:ext uri="{FF2B5EF4-FFF2-40B4-BE49-F238E27FC236}">
                <a16:creationId xmlns:a16="http://schemas.microsoft.com/office/drawing/2014/main" id="{23125F8A-6CD7-F98D-5E9D-C44F5D74F6A3}"/>
              </a:ext>
            </a:extLst>
          </p:cNvPr>
          <p:cNvSpPr txBox="1"/>
          <p:nvPr/>
        </p:nvSpPr>
        <p:spPr>
          <a:xfrm>
            <a:off x="368289" y="1229043"/>
            <a:ext cx="4171748" cy="400110"/>
          </a:xfrm>
          <a:prstGeom prst="rect">
            <a:avLst/>
          </a:prstGeom>
          <a:noFill/>
        </p:spPr>
        <p:txBody>
          <a:bodyPr wrap="square">
            <a:spAutoFit/>
          </a:bodyPr>
          <a:lstStyle/>
          <a:p>
            <a:pPr marL="59690">
              <a:lnSpc>
                <a:spcPct val="100000"/>
              </a:lnSpc>
              <a:spcBef>
                <a:spcPts val="1370"/>
              </a:spcBef>
            </a:pPr>
            <a:r>
              <a:rPr lang="it-IT" sz="2000" b="1" i="1" spc="20" dirty="0">
                <a:solidFill>
                  <a:schemeClr val="bg1"/>
                </a:solidFill>
                <a:cs typeface="Roboto"/>
              </a:rPr>
              <a:t>Programma corso :</a:t>
            </a:r>
            <a:endParaRPr lang="it-IT" sz="2000" b="1" spc="20" dirty="0">
              <a:solidFill>
                <a:schemeClr val="bg1"/>
              </a:solidFill>
              <a:cs typeface="Roboto"/>
            </a:endParaRPr>
          </a:p>
        </p:txBody>
      </p:sp>
      <p:sp>
        <p:nvSpPr>
          <p:cNvPr id="8" name="Rettangolo con angoli arrotondati 7">
            <a:extLst>
              <a:ext uri="{FF2B5EF4-FFF2-40B4-BE49-F238E27FC236}">
                <a16:creationId xmlns:a16="http://schemas.microsoft.com/office/drawing/2014/main" id="{A3B2BC53-7655-8A59-3E73-FABD33C7EFE1}"/>
              </a:ext>
            </a:extLst>
          </p:cNvPr>
          <p:cNvSpPr/>
          <p:nvPr/>
        </p:nvSpPr>
        <p:spPr>
          <a:xfrm>
            <a:off x="9785406" y="4365602"/>
            <a:ext cx="1596390" cy="819725"/>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00"/>
          </a:p>
        </p:txBody>
      </p:sp>
      <p:sp>
        <p:nvSpPr>
          <p:cNvPr id="9" name="CasellaDiTesto 8">
            <a:extLst>
              <a:ext uri="{FF2B5EF4-FFF2-40B4-BE49-F238E27FC236}">
                <a16:creationId xmlns:a16="http://schemas.microsoft.com/office/drawing/2014/main" id="{112B42EC-7E9C-7BBA-B3E5-CDC1B218C80D}"/>
              </a:ext>
            </a:extLst>
          </p:cNvPr>
          <p:cNvSpPr txBox="1"/>
          <p:nvPr/>
        </p:nvSpPr>
        <p:spPr>
          <a:xfrm>
            <a:off x="9895242" y="4483076"/>
            <a:ext cx="1366207" cy="584775"/>
          </a:xfrm>
          <a:prstGeom prst="rect">
            <a:avLst/>
          </a:prstGeom>
          <a:noFill/>
        </p:spPr>
        <p:txBody>
          <a:bodyPr wrap="square" rtlCol="0">
            <a:spAutoFit/>
          </a:bodyPr>
          <a:lstStyle/>
          <a:p>
            <a:pPr algn="ctr"/>
            <a:r>
              <a:rPr lang="it-IT" sz="1600" b="1" dirty="0">
                <a:solidFill>
                  <a:schemeClr val="accent1"/>
                </a:solidFill>
                <a:hlinkClick r:id="rId3" action="ppaction://hlinksldjump"/>
              </a:rPr>
              <a:t>Vedi indice corsi</a:t>
            </a:r>
            <a:endParaRPr lang="it-IT" sz="1600" b="1" dirty="0">
              <a:solidFill>
                <a:schemeClr val="accent1"/>
              </a:solidFill>
            </a:endParaRPr>
          </a:p>
        </p:txBody>
      </p:sp>
      <p:pic>
        <p:nvPicPr>
          <p:cNvPr id="14" name="Immagine 13">
            <a:extLst>
              <a:ext uri="{FF2B5EF4-FFF2-40B4-BE49-F238E27FC236}">
                <a16:creationId xmlns:a16="http://schemas.microsoft.com/office/drawing/2014/main" id="{AAB52194-8B7D-4020-AB44-FCC2F59F4674}"/>
              </a:ext>
            </a:extLst>
          </p:cNvPr>
          <p:cNvPicPr>
            <a:picLocks noChangeAspect="1"/>
          </p:cNvPicPr>
          <p:nvPr/>
        </p:nvPicPr>
        <p:blipFill>
          <a:blip r:embed="rId4"/>
          <a:stretch>
            <a:fillRect/>
          </a:stretch>
        </p:blipFill>
        <p:spPr>
          <a:xfrm>
            <a:off x="327484" y="5784507"/>
            <a:ext cx="9567758" cy="1086724"/>
          </a:xfrm>
          <a:prstGeom prst="rect">
            <a:avLst/>
          </a:prstGeom>
        </p:spPr>
      </p:pic>
      <p:pic>
        <p:nvPicPr>
          <p:cNvPr id="16" name="Immagine 15">
            <a:extLst>
              <a:ext uri="{FF2B5EF4-FFF2-40B4-BE49-F238E27FC236}">
                <a16:creationId xmlns:a16="http://schemas.microsoft.com/office/drawing/2014/main" id="{B21C6348-EBCF-46D7-BA1F-66B57FDE5303}"/>
              </a:ext>
            </a:extLst>
          </p:cNvPr>
          <p:cNvPicPr>
            <a:picLocks noChangeAspect="1"/>
          </p:cNvPicPr>
          <p:nvPr/>
        </p:nvPicPr>
        <p:blipFill>
          <a:blip r:embed="rId5"/>
          <a:stretch>
            <a:fillRect/>
          </a:stretch>
        </p:blipFill>
        <p:spPr>
          <a:xfrm>
            <a:off x="9898769" y="6182710"/>
            <a:ext cx="1378634" cy="340953"/>
          </a:xfrm>
          <a:prstGeom prst="rect">
            <a:avLst/>
          </a:prstGeom>
        </p:spPr>
      </p:pic>
    </p:spTree>
    <p:extLst>
      <p:ext uri="{BB962C8B-B14F-4D97-AF65-F5344CB8AC3E}">
        <p14:creationId xmlns:p14="http://schemas.microsoft.com/office/powerpoint/2010/main" val="1771415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27485" y="235108"/>
            <a:ext cx="8316694" cy="659155"/>
          </a:xfrm>
          <a:prstGeom prst="rect">
            <a:avLst/>
          </a:prstGeom>
        </p:spPr>
        <p:txBody>
          <a:bodyPr vert="horz" wrap="square" lIns="0" tIns="12700" rIns="0" bIns="0" rtlCol="0">
            <a:spAutoFit/>
          </a:bodyPr>
          <a:lstStyle/>
          <a:p>
            <a:pPr marL="12700">
              <a:lnSpc>
                <a:spcPct val="100000"/>
              </a:lnSpc>
              <a:spcBef>
                <a:spcPts val="100"/>
              </a:spcBef>
            </a:pPr>
            <a:r>
              <a:rPr lang="it-IT" sz="2800" spc="-15" dirty="0">
                <a:solidFill>
                  <a:schemeClr val="accent1"/>
                </a:solidFill>
                <a:latin typeface="+mn-lt"/>
              </a:rPr>
              <a:t>11. CORSO GESTIONE DI MEDIA PLANNER</a:t>
            </a:r>
            <a:br>
              <a:rPr lang="it-IT" sz="2800" spc="-15" dirty="0">
                <a:solidFill>
                  <a:schemeClr val="accent1"/>
                </a:solidFill>
                <a:latin typeface="+mn-lt"/>
              </a:rPr>
            </a:br>
            <a:r>
              <a:rPr lang="it-IT" sz="1400" spc="-15" dirty="0">
                <a:solidFill>
                  <a:schemeClr val="accent1"/>
                </a:solidFill>
                <a:latin typeface="+mn-lt"/>
              </a:rPr>
              <a:t>(OPAL Formazione </a:t>
            </a:r>
            <a:r>
              <a:rPr lang="it-IT" sz="1400" spc="-15" dirty="0" err="1">
                <a:solidFill>
                  <a:schemeClr val="accent1"/>
                </a:solidFill>
                <a:latin typeface="+mn-lt"/>
              </a:rPr>
              <a:t>Upskilling</a:t>
            </a:r>
            <a:r>
              <a:rPr lang="it-IT" sz="1400" spc="-15" dirty="0">
                <a:solidFill>
                  <a:schemeClr val="accent1"/>
                </a:solidFill>
                <a:latin typeface="+mn-lt"/>
              </a:rPr>
              <a:t> (RRSP) mirata al profilo MEDIA PLANNER)</a:t>
            </a:r>
          </a:p>
        </p:txBody>
      </p:sp>
      <p:sp>
        <p:nvSpPr>
          <p:cNvPr id="5" name="object 5"/>
          <p:cNvSpPr/>
          <p:nvPr/>
        </p:nvSpPr>
        <p:spPr>
          <a:xfrm>
            <a:off x="327484" y="1533416"/>
            <a:ext cx="8889221" cy="1816680"/>
          </a:xfrm>
          <a:custGeom>
            <a:avLst/>
            <a:gdLst/>
            <a:ahLst/>
            <a:cxnLst/>
            <a:rect l="l" t="t" r="r" b="b"/>
            <a:pathLst>
              <a:path w="7729220" h="954405">
                <a:moveTo>
                  <a:pt x="7644907" y="954299"/>
                </a:moveTo>
                <a:lnTo>
                  <a:pt x="83692" y="954299"/>
                </a:lnTo>
                <a:lnTo>
                  <a:pt x="51115" y="947723"/>
                </a:lnTo>
                <a:lnTo>
                  <a:pt x="24512" y="929787"/>
                </a:lnTo>
                <a:lnTo>
                  <a:pt x="6576" y="903184"/>
                </a:lnTo>
                <a:lnTo>
                  <a:pt x="0" y="870607"/>
                </a:lnTo>
                <a:lnTo>
                  <a:pt x="0" y="83692"/>
                </a:lnTo>
                <a:lnTo>
                  <a:pt x="6576" y="51115"/>
                </a:lnTo>
                <a:lnTo>
                  <a:pt x="24512" y="24512"/>
                </a:lnTo>
                <a:lnTo>
                  <a:pt x="51115" y="6576"/>
                </a:lnTo>
                <a:lnTo>
                  <a:pt x="83692" y="0"/>
                </a:lnTo>
                <a:lnTo>
                  <a:pt x="7644907" y="0"/>
                </a:lnTo>
                <a:lnTo>
                  <a:pt x="7691340" y="14061"/>
                </a:lnTo>
                <a:lnTo>
                  <a:pt x="7722229" y="51664"/>
                </a:lnTo>
                <a:lnTo>
                  <a:pt x="7728599" y="83692"/>
                </a:lnTo>
                <a:lnTo>
                  <a:pt x="7728599" y="870607"/>
                </a:lnTo>
                <a:lnTo>
                  <a:pt x="7722023" y="903184"/>
                </a:lnTo>
                <a:lnTo>
                  <a:pt x="7704087" y="929787"/>
                </a:lnTo>
                <a:lnTo>
                  <a:pt x="7677484" y="947723"/>
                </a:lnTo>
                <a:lnTo>
                  <a:pt x="7644907" y="954299"/>
                </a:lnTo>
                <a:close/>
              </a:path>
            </a:pathLst>
          </a:custGeom>
          <a:solidFill>
            <a:schemeClr val="bg2">
              <a:lumMod val="90000"/>
            </a:schemeClr>
          </a:solidFill>
        </p:spPr>
        <p:txBody>
          <a:bodyPr wrap="square" lIns="0" tIns="0" rIns="0" bIns="0" rtlCol="0"/>
          <a:lstStyle/>
          <a:p>
            <a:endParaRPr>
              <a:solidFill>
                <a:srgbClr val="00B050"/>
              </a:solidFill>
            </a:endParaRPr>
          </a:p>
        </p:txBody>
      </p:sp>
      <p:sp>
        <p:nvSpPr>
          <p:cNvPr id="11" name="object 11"/>
          <p:cNvSpPr txBox="1"/>
          <p:nvPr/>
        </p:nvSpPr>
        <p:spPr>
          <a:xfrm>
            <a:off x="11596613" y="154633"/>
            <a:ext cx="302895" cy="604520"/>
          </a:xfrm>
          <a:prstGeom prst="rect">
            <a:avLst/>
          </a:prstGeom>
        </p:spPr>
        <p:txBody>
          <a:bodyPr vert="horz" wrap="square" lIns="0" tIns="12700" rIns="0" bIns="0" rtlCol="0">
            <a:spAutoFit/>
          </a:bodyPr>
          <a:lstStyle/>
          <a:p>
            <a:pPr marL="12700">
              <a:lnSpc>
                <a:spcPct val="100000"/>
              </a:lnSpc>
              <a:spcBef>
                <a:spcPts val="100"/>
              </a:spcBef>
            </a:pPr>
            <a:r>
              <a:rPr sz="3800" b="1" dirty="0">
                <a:solidFill>
                  <a:srgbClr val="FFFFFF"/>
                </a:solidFill>
                <a:latin typeface="Roboto"/>
                <a:cs typeface="Roboto"/>
              </a:rPr>
              <a:t>1</a:t>
            </a:r>
            <a:endParaRPr sz="3800">
              <a:latin typeface="Roboto"/>
              <a:cs typeface="Roboto"/>
            </a:endParaRPr>
          </a:p>
        </p:txBody>
      </p:sp>
      <p:sp>
        <p:nvSpPr>
          <p:cNvPr id="12" name="object 12"/>
          <p:cNvSpPr/>
          <p:nvPr/>
        </p:nvSpPr>
        <p:spPr>
          <a:xfrm>
            <a:off x="377501" y="3533337"/>
            <a:ext cx="4146373" cy="537585"/>
          </a:xfrm>
          <a:custGeom>
            <a:avLst/>
            <a:gdLst/>
            <a:ahLst/>
            <a:cxnLst/>
            <a:rect l="l" t="t" r="r" b="b"/>
            <a:pathLst>
              <a:path w="1596389" h="472439">
                <a:moveTo>
                  <a:pt x="1554614" y="471899"/>
                </a:moveTo>
                <a:lnTo>
                  <a:pt x="41385" y="471899"/>
                </a:lnTo>
                <a:lnTo>
                  <a:pt x="25276" y="468647"/>
                </a:lnTo>
                <a:lnTo>
                  <a:pt x="12121" y="459778"/>
                </a:lnTo>
                <a:lnTo>
                  <a:pt x="3252" y="446623"/>
                </a:lnTo>
                <a:lnTo>
                  <a:pt x="0" y="430514"/>
                </a:lnTo>
                <a:lnTo>
                  <a:pt x="0" y="41385"/>
                </a:lnTo>
                <a:lnTo>
                  <a:pt x="3252" y="25276"/>
                </a:lnTo>
                <a:lnTo>
                  <a:pt x="12121" y="12121"/>
                </a:lnTo>
                <a:lnTo>
                  <a:pt x="25276" y="3252"/>
                </a:lnTo>
                <a:lnTo>
                  <a:pt x="41385" y="0"/>
                </a:lnTo>
                <a:lnTo>
                  <a:pt x="1554614" y="0"/>
                </a:lnTo>
                <a:lnTo>
                  <a:pt x="1589046" y="18424"/>
                </a:lnTo>
                <a:lnTo>
                  <a:pt x="1595999" y="41385"/>
                </a:lnTo>
                <a:lnTo>
                  <a:pt x="1595999" y="430514"/>
                </a:lnTo>
                <a:lnTo>
                  <a:pt x="1592747" y="446623"/>
                </a:lnTo>
                <a:lnTo>
                  <a:pt x="1583878" y="459778"/>
                </a:lnTo>
                <a:lnTo>
                  <a:pt x="1570723" y="468647"/>
                </a:lnTo>
                <a:lnTo>
                  <a:pt x="1554614" y="471899"/>
                </a:lnTo>
                <a:close/>
              </a:path>
            </a:pathLst>
          </a:custGeom>
          <a:solidFill>
            <a:schemeClr val="accent1"/>
          </a:solidFill>
          <a:ln>
            <a:solidFill>
              <a:schemeClr val="accent1"/>
            </a:solidFill>
          </a:ln>
        </p:spPr>
        <p:txBody>
          <a:bodyPr wrap="square" lIns="0" tIns="0" rIns="0" bIns="0" rtlCol="0"/>
          <a:lstStyle/>
          <a:p>
            <a:endParaRPr/>
          </a:p>
        </p:txBody>
      </p:sp>
      <p:sp>
        <p:nvSpPr>
          <p:cNvPr id="13" name="object 13"/>
          <p:cNvSpPr txBox="1"/>
          <p:nvPr/>
        </p:nvSpPr>
        <p:spPr>
          <a:xfrm>
            <a:off x="497848" y="3630637"/>
            <a:ext cx="8889221" cy="320601"/>
          </a:xfrm>
          <a:prstGeom prst="rect">
            <a:avLst/>
          </a:prstGeom>
        </p:spPr>
        <p:txBody>
          <a:bodyPr vert="horz" wrap="square" lIns="0" tIns="12700" rIns="0" bIns="0" rtlCol="0">
            <a:spAutoFit/>
          </a:bodyPr>
          <a:lstStyle/>
          <a:p>
            <a:pPr marL="12700">
              <a:lnSpc>
                <a:spcPct val="100000"/>
              </a:lnSpc>
              <a:spcBef>
                <a:spcPts val="100"/>
              </a:spcBef>
            </a:pPr>
            <a:r>
              <a:rPr lang="it-IT" sz="2000" b="1" spc="-25" dirty="0">
                <a:solidFill>
                  <a:srgbClr val="FFFFFF"/>
                </a:solidFill>
                <a:cs typeface="Roboto"/>
              </a:rPr>
              <a:t>I partecipanti saranno in grado di:</a:t>
            </a:r>
            <a:endParaRPr lang="it-IT" sz="2000" dirty="0">
              <a:cs typeface="Roboto"/>
            </a:endParaRPr>
          </a:p>
        </p:txBody>
      </p:sp>
      <p:sp>
        <p:nvSpPr>
          <p:cNvPr id="14" name="object 14"/>
          <p:cNvSpPr/>
          <p:nvPr/>
        </p:nvSpPr>
        <p:spPr>
          <a:xfrm>
            <a:off x="10218109" y="1544055"/>
            <a:ext cx="1596390" cy="1625373"/>
          </a:xfrm>
          <a:custGeom>
            <a:avLst/>
            <a:gdLst/>
            <a:ahLst/>
            <a:cxnLst/>
            <a:rect l="l" t="t" r="r" b="b"/>
            <a:pathLst>
              <a:path w="1596390" h="954405">
                <a:moveTo>
                  <a:pt x="1512307" y="954299"/>
                </a:moveTo>
                <a:lnTo>
                  <a:pt x="83692" y="954299"/>
                </a:lnTo>
                <a:lnTo>
                  <a:pt x="51115" y="947723"/>
                </a:lnTo>
                <a:lnTo>
                  <a:pt x="24512" y="929787"/>
                </a:lnTo>
                <a:lnTo>
                  <a:pt x="6576" y="903184"/>
                </a:lnTo>
                <a:lnTo>
                  <a:pt x="0" y="870607"/>
                </a:lnTo>
                <a:lnTo>
                  <a:pt x="0" y="83692"/>
                </a:lnTo>
                <a:lnTo>
                  <a:pt x="6576" y="51115"/>
                </a:lnTo>
                <a:lnTo>
                  <a:pt x="24512" y="24512"/>
                </a:lnTo>
                <a:lnTo>
                  <a:pt x="51115" y="6576"/>
                </a:lnTo>
                <a:lnTo>
                  <a:pt x="83692" y="0"/>
                </a:lnTo>
                <a:lnTo>
                  <a:pt x="1512307" y="0"/>
                </a:lnTo>
                <a:lnTo>
                  <a:pt x="1558740" y="14061"/>
                </a:lnTo>
                <a:lnTo>
                  <a:pt x="1589629" y="51664"/>
                </a:lnTo>
                <a:lnTo>
                  <a:pt x="1595999" y="83692"/>
                </a:lnTo>
                <a:lnTo>
                  <a:pt x="1595999" y="870607"/>
                </a:lnTo>
                <a:lnTo>
                  <a:pt x="1589423" y="903184"/>
                </a:lnTo>
                <a:lnTo>
                  <a:pt x="1571487" y="929787"/>
                </a:lnTo>
                <a:lnTo>
                  <a:pt x="1544884" y="947723"/>
                </a:lnTo>
                <a:lnTo>
                  <a:pt x="1512307" y="954299"/>
                </a:lnTo>
                <a:close/>
              </a:path>
            </a:pathLst>
          </a:custGeom>
          <a:solidFill>
            <a:schemeClr val="accent1"/>
          </a:solidFill>
        </p:spPr>
        <p:txBody>
          <a:bodyPr wrap="square" lIns="0" tIns="0" rIns="0" bIns="0" rtlCol="0"/>
          <a:lstStyle/>
          <a:p>
            <a:endParaRPr lang="it-IT">
              <a:solidFill>
                <a:schemeClr val="accent1"/>
              </a:solidFill>
            </a:endParaRPr>
          </a:p>
        </p:txBody>
      </p:sp>
      <p:sp>
        <p:nvSpPr>
          <p:cNvPr id="15" name="object 15"/>
          <p:cNvSpPr txBox="1"/>
          <p:nvPr/>
        </p:nvSpPr>
        <p:spPr>
          <a:xfrm>
            <a:off x="10544816" y="2011775"/>
            <a:ext cx="1051797" cy="689932"/>
          </a:xfrm>
          <a:prstGeom prst="rect">
            <a:avLst/>
          </a:prstGeom>
        </p:spPr>
        <p:txBody>
          <a:bodyPr vert="horz" wrap="square" lIns="0" tIns="12700" rIns="0" bIns="0" rtlCol="0">
            <a:spAutoFit/>
          </a:bodyPr>
          <a:lstStyle/>
          <a:p>
            <a:pPr marL="12700">
              <a:lnSpc>
                <a:spcPct val="100000"/>
              </a:lnSpc>
              <a:spcBef>
                <a:spcPts val="100"/>
              </a:spcBef>
            </a:pPr>
            <a:r>
              <a:rPr lang="it-IT" sz="2200" b="1" spc="-5" dirty="0">
                <a:solidFill>
                  <a:srgbClr val="FFFFFF"/>
                </a:solidFill>
                <a:cs typeface="Roboto"/>
              </a:rPr>
              <a:t>Durata:40</a:t>
            </a:r>
            <a:r>
              <a:rPr lang="it-IT" sz="2200" b="1" spc="-80" dirty="0">
                <a:solidFill>
                  <a:srgbClr val="FFFFFF"/>
                </a:solidFill>
                <a:cs typeface="Roboto"/>
              </a:rPr>
              <a:t> </a:t>
            </a:r>
            <a:r>
              <a:rPr lang="it-IT" sz="2200" b="1" dirty="0">
                <a:solidFill>
                  <a:srgbClr val="FFFFFF"/>
                </a:solidFill>
                <a:cs typeface="Roboto"/>
              </a:rPr>
              <a:t>ORE</a:t>
            </a:r>
          </a:p>
        </p:txBody>
      </p:sp>
      <p:sp>
        <p:nvSpPr>
          <p:cNvPr id="19" name="CasellaDiTesto 18">
            <a:extLst>
              <a:ext uri="{FF2B5EF4-FFF2-40B4-BE49-F238E27FC236}">
                <a16:creationId xmlns:a16="http://schemas.microsoft.com/office/drawing/2014/main" id="{AE419993-E428-4926-B9BE-D3A35F84AC1A}"/>
              </a:ext>
            </a:extLst>
          </p:cNvPr>
          <p:cNvSpPr txBox="1"/>
          <p:nvPr/>
        </p:nvSpPr>
        <p:spPr>
          <a:xfrm>
            <a:off x="193945" y="1108356"/>
            <a:ext cx="4171748" cy="400110"/>
          </a:xfrm>
          <a:prstGeom prst="rect">
            <a:avLst/>
          </a:prstGeom>
          <a:noFill/>
        </p:spPr>
        <p:txBody>
          <a:bodyPr wrap="square">
            <a:spAutoFit/>
          </a:bodyPr>
          <a:lstStyle/>
          <a:p>
            <a:pPr marL="59690">
              <a:lnSpc>
                <a:spcPct val="100000"/>
              </a:lnSpc>
              <a:spcBef>
                <a:spcPts val="1370"/>
              </a:spcBef>
            </a:pPr>
            <a:r>
              <a:rPr lang="it-IT" sz="2000" b="1" i="1" spc="20" dirty="0">
                <a:solidFill>
                  <a:schemeClr val="tx1">
                    <a:lumMod val="65000"/>
                    <a:lumOff val="35000"/>
                  </a:schemeClr>
                </a:solidFill>
                <a:cs typeface="Roboto"/>
              </a:rPr>
              <a:t>Upskilling</a:t>
            </a:r>
            <a:r>
              <a:rPr lang="it-IT" sz="2000" b="1" spc="20" dirty="0">
                <a:solidFill>
                  <a:schemeClr val="tx1">
                    <a:lumMod val="65000"/>
                    <a:lumOff val="35000"/>
                  </a:schemeClr>
                </a:solidFill>
                <a:cs typeface="Roboto"/>
              </a:rPr>
              <a:t> mirato al profilo di: </a:t>
            </a:r>
          </a:p>
        </p:txBody>
      </p:sp>
      <p:sp>
        <p:nvSpPr>
          <p:cNvPr id="23" name="object 13">
            <a:extLst>
              <a:ext uri="{FF2B5EF4-FFF2-40B4-BE49-F238E27FC236}">
                <a16:creationId xmlns:a16="http://schemas.microsoft.com/office/drawing/2014/main" id="{26655215-3172-4130-B17A-FB0B2AA9CF00}"/>
              </a:ext>
            </a:extLst>
          </p:cNvPr>
          <p:cNvSpPr txBox="1"/>
          <p:nvPr/>
        </p:nvSpPr>
        <p:spPr>
          <a:xfrm>
            <a:off x="-71602" y="4229255"/>
            <a:ext cx="10097762" cy="1674817"/>
          </a:xfrm>
          <a:prstGeom prst="rect">
            <a:avLst/>
          </a:prstGeom>
        </p:spPr>
        <p:txBody>
          <a:bodyPr vert="horz" wrap="square" lIns="0" tIns="12700" rIns="0" bIns="0" rtlCol="0">
            <a:spAutoFit/>
          </a:bodyPr>
          <a:lstStyle/>
          <a:p>
            <a:pPr marL="742950" lvl="1" indent="-285750">
              <a:spcBef>
                <a:spcPts val="10"/>
              </a:spcBef>
              <a:buFont typeface="Wingdings" panose="05000000000000000000" pitchFamily="2" charset="2"/>
              <a:buChar char="v"/>
            </a:pPr>
            <a:r>
              <a:rPr lang="it-IT" spc="-15" dirty="0">
                <a:solidFill>
                  <a:srgbClr val="333333"/>
                </a:solidFill>
              </a:rPr>
              <a:t>Gestire le campagne pubblicitarie sulla base delle indicazioni strategiche provvedendo al coordinamento delle risorse e gestendo il budget</a:t>
            </a:r>
          </a:p>
          <a:p>
            <a:pPr marL="742950" lvl="1" indent="-285750">
              <a:spcBef>
                <a:spcPts val="10"/>
              </a:spcBef>
              <a:buFont typeface="Wingdings" panose="05000000000000000000" pitchFamily="2" charset="2"/>
              <a:buChar char="v"/>
            </a:pPr>
            <a:r>
              <a:rPr lang="it-IT" spc="-15" dirty="0">
                <a:solidFill>
                  <a:srgbClr val="333333"/>
                </a:solidFill>
              </a:rPr>
              <a:t>Provvedere alla realizzazione delle campagne pubblicitarie e delle procedure di acquisto degli spazi </a:t>
            </a:r>
          </a:p>
          <a:p>
            <a:pPr marL="742950" lvl="1" indent="-285750">
              <a:spcBef>
                <a:spcPts val="10"/>
              </a:spcBef>
              <a:buFont typeface="Wingdings" panose="05000000000000000000" pitchFamily="2" charset="2"/>
              <a:buChar char="v"/>
            </a:pPr>
            <a:r>
              <a:rPr lang="it-IT" spc="-15" dirty="0">
                <a:solidFill>
                  <a:srgbClr val="333333"/>
                </a:solidFill>
              </a:rPr>
              <a:t>Verificare i risultati della campagna pubblicitaria, analizzando le variabili utili a misurarne l’efficacia</a:t>
            </a:r>
          </a:p>
        </p:txBody>
      </p:sp>
      <p:sp>
        <p:nvSpPr>
          <p:cNvPr id="18" name="object 7">
            <a:extLst>
              <a:ext uri="{FF2B5EF4-FFF2-40B4-BE49-F238E27FC236}">
                <a16:creationId xmlns:a16="http://schemas.microsoft.com/office/drawing/2014/main" id="{BCA79126-CD8E-4B74-897D-BAC10847B75A}"/>
              </a:ext>
            </a:extLst>
          </p:cNvPr>
          <p:cNvSpPr txBox="1"/>
          <p:nvPr/>
        </p:nvSpPr>
        <p:spPr>
          <a:xfrm>
            <a:off x="520653" y="1441190"/>
            <a:ext cx="8316693" cy="1576072"/>
          </a:xfrm>
          <a:prstGeom prst="rect">
            <a:avLst/>
          </a:prstGeom>
        </p:spPr>
        <p:txBody>
          <a:bodyPr vert="horz" wrap="square" lIns="0" tIns="173990" rIns="0" bIns="0" rtlCol="0">
            <a:spAutoFit/>
          </a:bodyPr>
          <a:lstStyle/>
          <a:p>
            <a:pPr marL="12700" marR="5080" algn="just">
              <a:lnSpc>
                <a:spcPct val="101600"/>
              </a:lnSpc>
              <a:spcBef>
                <a:spcPts val="985"/>
              </a:spcBef>
            </a:pPr>
            <a:r>
              <a:rPr lang="it-IT" b="1" spc="-15" dirty="0">
                <a:solidFill>
                  <a:srgbClr val="333333"/>
                </a:solidFill>
              </a:rPr>
              <a:t>Media planner: </a:t>
            </a:r>
            <a:r>
              <a:rPr lang="it-IT" spc="-15" dirty="0">
                <a:solidFill>
                  <a:srgbClr val="333333"/>
                </a:solidFill>
              </a:rPr>
              <a:t>si occupa della progettazione, dello sviluppo e della gestione di media plan in linea con le esigenze e la mission aziendale, a partire dall'analisi dei media, del mercato e del target di riferimento. Realizza inoltre il monitoraggio e la valutazione del plan. Si relaziona con la direzione aziendale e con le funzioni commerciali e coordina l’attività di operatori pubblicitari (grafici, art director, copywriter, fotografi, registi, ecc.).</a:t>
            </a:r>
          </a:p>
        </p:txBody>
      </p:sp>
      <p:sp>
        <p:nvSpPr>
          <p:cNvPr id="2" name="Rettangolo con angoli arrotondati 1">
            <a:extLst>
              <a:ext uri="{FF2B5EF4-FFF2-40B4-BE49-F238E27FC236}">
                <a16:creationId xmlns:a16="http://schemas.microsoft.com/office/drawing/2014/main" id="{7EAD0DD0-73FD-3F73-B1CE-F154BE677DD8}"/>
              </a:ext>
            </a:extLst>
          </p:cNvPr>
          <p:cNvSpPr/>
          <p:nvPr/>
        </p:nvSpPr>
        <p:spPr>
          <a:xfrm>
            <a:off x="10218109" y="3276201"/>
            <a:ext cx="1596390" cy="1014899"/>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00"/>
          </a:p>
        </p:txBody>
      </p:sp>
      <p:sp>
        <p:nvSpPr>
          <p:cNvPr id="7" name="CasellaDiTesto 6">
            <a:extLst>
              <a:ext uri="{FF2B5EF4-FFF2-40B4-BE49-F238E27FC236}">
                <a16:creationId xmlns:a16="http://schemas.microsoft.com/office/drawing/2014/main" id="{E6E2D615-923B-A2BD-BFE6-A864CC7A8FAB}"/>
              </a:ext>
            </a:extLst>
          </p:cNvPr>
          <p:cNvSpPr txBox="1"/>
          <p:nvPr/>
        </p:nvSpPr>
        <p:spPr>
          <a:xfrm>
            <a:off x="10364510" y="3491262"/>
            <a:ext cx="1303588" cy="584775"/>
          </a:xfrm>
          <a:prstGeom prst="rect">
            <a:avLst/>
          </a:prstGeom>
          <a:noFill/>
        </p:spPr>
        <p:txBody>
          <a:bodyPr wrap="square" rtlCol="0">
            <a:spAutoFit/>
          </a:bodyPr>
          <a:lstStyle/>
          <a:p>
            <a:r>
              <a:rPr lang="it-IT" sz="1600" b="1" dirty="0">
                <a:solidFill>
                  <a:schemeClr val="accent1"/>
                </a:solidFill>
                <a:hlinkClick r:id="rId3" action="ppaction://hlinksldjump"/>
              </a:rPr>
              <a:t>Vedi dettagli Programma</a:t>
            </a:r>
            <a:endParaRPr lang="it-IT" sz="1600" b="1" dirty="0">
              <a:solidFill>
                <a:schemeClr val="accent1"/>
              </a:solidFill>
            </a:endParaRPr>
          </a:p>
        </p:txBody>
      </p:sp>
      <p:sp>
        <p:nvSpPr>
          <p:cNvPr id="8" name="Rettangolo con angoli arrotondati 7">
            <a:extLst>
              <a:ext uri="{FF2B5EF4-FFF2-40B4-BE49-F238E27FC236}">
                <a16:creationId xmlns:a16="http://schemas.microsoft.com/office/drawing/2014/main" id="{73314E26-F151-E5F5-9496-33F43D4716E0}"/>
              </a:ext>
            </a:extLst>
          </p:cNvPr>
          <p:cNvSpPr/>
          <p:nvPr/>
        </p:nvSpPr>
        <p:spPr>
          <a:xfrm>
            <a:off x="10218109" y="4487775"/>
            <a:ext cx="1596390" cy="819725"/>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00"/>
          </a:p>
        </p:txBody>
      </p:sp>
      <p:sp>
        <p:nvSpPr>
          <p:cNvPr id="9" name="CasellaDiTesto 8">
            <a:extLst>
              <a:ext uri="{FF2B5EF4-FFF2-40B4-BE49-F238E27FC236}">
                <a16:creationId xmlns:a16="http://schemas.microsoft.com/office/drawing/2014/main" id="{16F7AC45-55A8-4DE4-C322-8572CDD4C65E}"/>
              </a:ext>
            </a:extLst>
          </p:cNvPr>
          <p:cNvSpPr txBox="1"/>
          <p:nvPr/>
        </p:nvSpPr>
        <p:spPr>
          <a:xfrm>
            <a:off x="10327945" y="4605249"/>
            <a:ext cx="1366207" cy="584775"/>
          </a:xfrm>
          <a:prstGeom prst="rect">
            <a:avLst/>
          </a:prstGeom>
          <a:noFill/>
        </p:spPr>
        <p:txBody>
          <a:bodyPr wrap="square" rtlCol="0">
            <a:spAutoFit/>
          </a:bodyPr>
          <a:lstStyle/>
          <a:p>
            <a:pPr algn="ctr"/>
            <a:r>
              <a:rPr lang="it-IT" sz="1600" b="1" dirty="0">
                <a:solidFill>
                  <a:schemeClr val="accent1"/>
                </a:solidFill>
                <a:hlinkClick r:id="rId4" action="ppaction://hlinksldjump"/>
              </a:rPr>
              <a:t>Vedi indice corsi</a:t>
            </a:r>
            <a:endParaRPr lang="it-IT" sz="1600" b="1" dirty="0">
              <a:solidFill>
                <a:schemeClr val="accent1"/>
              </a:solidFill>
            </a:endParaRPr>
          </a:p>
        </p:txBody>
      </p:sp>
      <p:pic>
        <p:nvPicPr>
          <p:cNvPr id="20" name="Immagine 19">
            <a:extLst>
              <a:ext uri="{FF2B5EF4-FFF2-40B4-BE49-F238E27FC236}">
                <a16:creationId xmlns:a16="http://schemas.microsoft.com/office/drawing/2014/main" id="{86EC3D53-C886-4FF8-8F2D-4ACD211F28CA}"/>
              </a:ext>
            </a:extLst>
          </p:cNvPr>
          <p:cNvPicPr>
            <a:picLocks noChangeAspect="1"/>
          </p:cNvPicPr>
          <p:nvPr/>
        </p:nvPicPr>
        <p:blipFill>
          <a:blip r:embed="rId5"/>
          <a:stretch>
            <a:fillRect/>
          </a:stretch>
        </p:blipFill>
        <p:spPr>
          <a:xfrm>
            <a:off x="327484" y="5852941"/>
            <a:ext cx="9567758" cy="1018290"/>
          </a:xfrm>
          <a:prstGeom prst="rect">
            <a:avLst/>
          </a:prstGeom>
        </p:spPr>
      </p:pic>
      <p:pic>
        <p:nvPicPr>
          <p:cNvPr id="21" name="Immagine 20">
            <a:extLst>
              <a:ext uri="{FF2B5EF4-FFF2-40B4-BE49-F238E27FC236}">
                <a16:creationId xmlns:a16="http://schemas.microsoft.com/office/drawing/2014/main" id="{E3103109-F500-4739-8CDC-907EF0A0A074}"/>
              </a:ext>
            </a:extLst>
          </p:cNvPr>
          <p:cNvPicPr>
            <a:picLocks noChangeAspect="1"/>
          </p:cNvPicPr>
          <p:nvPr/>
        </p:nvPicPr>
        <p:blipFill>
          <a:blip r:embed="rId6"/>
          <a:stretch>
            <a:fillRect/>
          </a:stretch>
        </p:blipFill>
        <p:spPr>
          <a:xfrm>
            <a:off x="9898769" y="6182710"/>
            <a:ext cx="1378634" cy="340953"/>
          </a:xfrm>
          <a:prstGeom prst="rect">
            <a:avLst/>
          </a:prstGeom>
        </p:spPr>
      </p:pic>
    </p:spTree>
    <p:extLst>
      <p:ext uri="{BB962C8B-B14F-4D97-AF65-F5344CB8AC3E}">
        <p14:creationId xmlns:p14="http://schemas.microsoft.com/office/powerpoint/2010/main" val="227128004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54" y="223352"/>
            <a:ext cx="10917349" cy="659155"/>
          </a:xfrm>
          <a:prstGeom prst="rect">
            <a:avLst/>
          </a:prstGeom>
        </p:spPr>
        <p:txBody>
          <a:bodyPr vert="horz" wrap="square" lIns="0" tIns="12700" rIns="0" bIns="0" rtlCol="0">
            <a:spAutoFit/>
          </a:bodyPr>
          <a:lstStyle/>
          <a:p>
            <a:pPr marL="12700">
              <a:lnSpc>
                <a:spcPct val="100000"/>
              </a:lnSpc>
              <a:spcBef>
                <a:spcPts val="100"/>
              </a:spcBef>
            </a:pPr>
            <a:r>
              <a:rPr lang="it-IT" sz="2800" spc="-15" dirty="0">
                <a:solidFill>
                  <a:schemeClr val="accent1"/>
                </a:solidFill>
                <a:latin typeface="+mn-lt"/>
              </a:rPr>
              <a:t>11. CORSO GESTIONE DI MEDIA PLANNER</a:t>
            </a:r>
            <a:br>
              <a:rPr lang="it-IT" sz="2800" spc="-15" dirty="0">
                <a:solidFill>
                  <a:schemeClr val="accent1"/>
                </a:solidFill>
                <a:latin typeface="+mn-lt"/>
              </a:rPr>
            </a:br>
            <a:r>
              <a:rPr lang="it-IT" sz="1400" spc="-15" dirty="0">
                <a:solidFill>
                  <a:schemeClr val="accent1"/>
                </a:solidFill>
                <a:latin typeface="+mn-lt"/>
              </a:rPr>
              <a:t>(OPAL Formazione </a:t>
            </a:r>
            <a:r>
              <a:rPr lang="it-IT" sz="1400" spc="-15" dirty="0" err="1">
                <a:solidFill>
                  <a:schemeClr val="accent1"/>
                </a:solidFill>
                <a:latin typeface="+mn-lt"/>
              </a:rPr>
              <a:t>Upskilling</a:t>
            </a:r>
            <a:r>
              <a:rPr lang="it-IT" sz="1400" spc="-15" dirty="0">
                <a:solidFill>
                  <a:schemeClr val="accent1"/>
                </a:solidFill>
                <a:latin typeface="+mn-lt"/>
              </a:rPr>
              <a:t> (RRSP) mirata al profilo MEDIA PLANNER)</a:t>
            </a:r>
          </a:p>
        </p:txBody>
      </p:sp>
      <p:sp>
        <p:nvSpPr>
          <p:cNvPr id="11" name="object 11"/>
          <p:cNvSpPr txBox="1"/>
          <p:nvPr/>
        </p:nvSpPr>
        <p:spPr>
          <a:xfrm>
            <a:off x="11596613" y="154633"/>
            <a:ext cx="302895" cy="604520"/>
          </a:xfrm>
          <a:prstGeom prst="rect">
            <a:avLst/>
          </a:prstGeom>
        </p:spPr>
        <p:txBody>
          <a:bodyPr vert="horz" wrap="square" lIns="0" tIns="12700" rIns="0" bIns="0" rtlCol="0">
            <a:spAutoFit/>
          </a:bodyPr>
          <a:lstStyle/>
          <a:p>
            <a:pPr marL="12700">
              <a:lnSpc>
                <a:spcPct val="100000"/>
              </a:lnSpc>
              <a:spcBef>
                <a:spcPts val="100"/>
              </a:spcBef>
            </a:pPr>
            <a:r>
              <a:rPr lang="it-IT" sz="3800" b="1" dirty="0">
                <a:solidFill>
                  <a:srgbClr val="FFFFFF"/>
                </a:solidFill>
                <a:cs typeface="Roboto"/>
              </a:rPr>
              <a:t>1</a:t>
            </a:r>
            <a:endParaRPr lang="it-IT" sz="3800">
              <a:cs typeface="Roboto"/>
            </a:endParaRPr>
          </a:p>
        </p:txBody>
      </p:sp>
      <p:sp>
        <p:nvSpPr>
          <p:cNvPr id="13" name="object 13"/>
          <p:cNvSpPr txBox="1"/>
          <p:nvPr/>
        </p:nvSpPr>
        <p:spPr>
          <a:xfrm>
            <a:off x="830494" y="3434471"/>
            <a:ext cx="8889221" cy="320601"/>
          </a:xfrm>
          <a:prstGeom prst="rect">
            <a:avLst/>
          </a:prstGeom>
        </p:spPr>
        <p:txBody>
          <a:bodyPr vert="horz" wrap="square" lIns="0" tIns="12700" rIns="0" bIns="0" rtlCol="0">
            <a:spAutoFit/>
          </a:bodyPr>
          <a:lstStyle/>
          <a:p>
            <a:pPr marL="12700">
              <a:lnSpc>
                <a:spcPct val="100000"/>
              </a:lnSpc>
              <a:spcBef>
                <a:spcPts val="100"/>
              </a:spcBef>
            </a:pPr>
            <a:r>
              <a:rPr lang="it-IT" sz="2000" b="1" spc="-25" dirty="0">
                <a:solidFill>
                  <a:srgbClr val="FFFFFF"/>
                </a:solidFill>
                <a:cs typeface="Roboto"/>
              </a:rPr>
              <a:t>I partecipanti saranno in grado di:</a:t>
            </a:r>
            <a:endParaRPr lang="it-IT" sz="2000" dirty="0">
              <a:cs typeface="Roboto"/>
            </a:endParaRPr>
          </a:p>
        </p:txBody>
      </p:sp>
      <p:sp>
        <p:nvSpPr>
          <p:cNvPr id="15" name="object 15"/>
          <p:cNvSpPr txBox="1"/>
          <p:nvPr/>
        </p:nvSpPr>
        <p:spPr>
          <a:xfrm>
            <a:off x="10227205" y="1985879"/>
            <a:ext cx="942975" cy="689932"/>
          </a:xfrm>
          <a:prstGeom prst="rect">
            <a:avLst/>
          </a:prstGeom>
        </p:spPr>
        <p:txBody>
          <a:bodyPr vert="horz" wrap="square" lIns="0" tIns="12700" rIns="0" bIns="0" rtlCol="0">
            <a:spAutoFit/>
          </a:bodyPr>
          <a:lstStyle/>
          <a:p>
            <a:pPr marL="12700">
              <a:lnSpc>
                <a:spcPct val="100000"/>
              </a:lnSpc>
              <a:spcBef>
                <a:spcPts val="100"/>
              </a:spcBef>
            </a:pPr>
            <a:r>
              <a:rPr lang="it-IT" sz="2200" b="1" spc="-5" dirty="0">
                <a:solidFill>
                  <a:srgbClr val="FFFFFF"/>
                </a:solidFill>
                <a:cs typeface="Roboto"/>
              </a:rPr>
              <a:t>Durata:40</a:t>
            </a:r>
            <a:r>
              <a:rPr lang="it-IT" sz="2200" b="1" spc="-80" dirty="0">
                <a:solidFill>
                  <a:srgbClr val="FFFFFF"/>
                </a:solidFill>
                <a:cs typeface="Roboto"/>
              </a:rPr>
              <a:t> </a:t>
            </a:r>
            <a:r>
              <a:rPr lang="it-IT" sz="2200" b="1" dirty="0">
                <a:solidFill>
                  <a:srgbClr val="FFFFFF"/>
                </a:solidFill>
                <a:cs typeface="Roboto"/>
              </a:rPr>
              <a:t>ORE</a:t>
            </a:r>
          </a:p>
        </p:txBody>
      </p:sp>
      <p:sp>
        <p:nvSpPr>
          <p:cNvPr id="16" name="object 7">
            <a:extLst>
              <a:ext uri="{FF2B5EF4-FFF2-40B4-BE49-F238E27FC236}">
                <a16:creationId xmlns:a16="http://schemas.microsoft.com/office/drawing/2014/main" id="{D75ED4E1-47DA-4711-AEE5-6CB24CF22CC8}"/>
              </a:ext>
            </a:extLst>
          </p:cNvPr>
          <p:cNvSpPr txBox="1"/>
          <p:nvPr/>
        </p:nvSpPr>
        <p:spPr>
          <a:xfrm>
            <a:off x="482008" y="1853825"/>
            <a:ext cx="9125413" cy="3319498"/>
          </a:xfrm>
          <a:prstGeom prst="rect">
            <a:avLst/>
          </a:prstGeom>
        </p:spPr>
        <p:txBody>
          <a:bodyPr vert="horz" wrap="square" lIns="0" tIns="173990" rIns="0" bIns="0" rtlCol="0">
            <a:spAutoFit/>
          </a:bodyPr>
          <a:lstStyle/>
          <a:p>
            <a:pPr marL="342900" marR="5080" indent="-342900" algn="just">
              <a:lnSpc>
                <a:spcPct val="101600"/>
              </a:lnSpc>
              <a:spcBef>
                <a:spcPts val="985"/>
              </a:spcBef>
              <a:buFont typeface="Arial" panose="020B0604020202020204" pitchFamily="34" charset="0"/>
              <a:buChar char="•"/>
            </a:pPr>
            <a:r>
              <a:rPr lang="it-IT" b="0" i="0" dirty="0">
                <a:solidFill>
                  <a:srgbClr val="212121"/>
                </a:solidFill>
                <a:effectLst/>
              </a:rPr>
              <a:t>Principali metodologie di ricerca di mercato e di benchmarking</a:t>
            </a:r>
          </a:p>
          <a:p>
            <a:pPr marL="342900" marR="5080" indent="-342900" algn="just">
              <a:lnSpc>
                <a:spcPct val="101600"/>
              </a:lnSpc>
              <a:spcBef>
                <a:spcPts val="985"/>
              </a:spcBef>
              <a:buFont typeface="Arial" panose="020B0604020202020204" pitchFamily="34" charset="0"/>
              <a:buChar char="•"/>
            </a:pPr>
            <a:r>
              <a:rPr lang="it-IT" b="0" i="0" dirty="0">
                <a:solidFill>
                  <a:srgbClr val="212121"/>
                </a:solidFill>
                <a:effectLst/>
              </a:rPr>
              <a:t>Tipologie, caratteristiche e potenzialità dei diversi canali e media</a:t>
            </a:r>
          </a:p>
          <a:p>
            <a:pPr marL="342900" marR="5080" indent="-342900" algn="just">
              <a:lnSpc>
                <a:spcPct val="101600"/>
              </a:lnSpc>
              <a:spcBef>
                <a:spcPts val="985"/>
              </a:spcBef>
              <a:buFont typeface="Arial" panose="020B0604020202020204" pitchFamily="34" charset="0"/>
              <a:buChar char="•"/>
            </a:pPr>
            <a:r>
              <a:rPr lang="it-IT" b="0" i="0" dirty="0">
                <a:solidFill>
                  <a:srgbClr val="212121"/>
                </a:solidFill>
                <a:effectLst/>
              </a:rPr>
              <a:t>Modelli e tecniche di marketing</a:t>
            </a:r>
          </a:p>
          <a:p>
            <a:pPr marL="342900" marR="5080" indent="-342900" algn="just">
              <a:lnSpc>
                <a:spcPct val="101600"/>
              </a:lnSpc>
              <a:spcBef>
                <a:spcPts val="985"/>
              </a:spcBef>
              <a:buFont typeface="Arial" panose="020B0604020202020204" pitchFamily="34" charset="0"/>
              <a:buChar char="•"/>
            </a:pPr>
            <a:r>
              <a:rPr lang="it-IT" b="0" i="0" dirty="0">
                <a:solidFill>
                  <a:srgbClr val="212121"/>
                </a:solidFill>
                <a:effectLst/>
              </a:rPr>
              <a:t>Elementi di psicologia della comunicazione</a:t>
            </a:r>
          </a:p>
          <a:p>
            <a:pPr marL="342900" marR="5080" indent="-342900" algn="just">
              <a:lnSpc>
                <a:spcPct val="101600"/>
              </a:lnSpc>
              <a:spcBef>
                <a:spcPts val="985"/>
              </a:spcBef>
              <a:buFont typeface="Arial" panose="020B0604020202020204" pitchFamily="34" charset="0"/>
              <a:buChar char="•"/>
            </a:pPr>
            <a:r>
              <a:rPr lang="it-IT" b="0" i="0" dirty="0">
                <a:solidFill>
                  <a:srgbClr val="212121"/>
                </a:solidFill>
                <a:effectLst/>
              </a:rPr>
              <a:t>Elementi di statistica</a:t>
            </a:r>
          </a:p>
          <a:p>
            <a:pPr marL="342900" marR="5080" indent="-342900" algn="just">
              <a:lnSpc>
                <a:spcPct val="101600"/>
              </a:lnSpc>
              <a:spcBef>
                <a:spcPts val="985"/>
              </a:spcBef>
              <a:buFont typeface="Arial" panose="020B0604020202020204" pitchFamily="34" charset="0"/>
              <a:buChar char="•"/>
            </a:pPr>
            <a:r>
              <a:rPr lang="it-IT" b="0" i="0" dirty="0">
                <a:solidFill>
                  <a:srgbClr val="212121"/>
                </a:solidFill>
                <a:effectLst/>
              </a:rPr>
              <a:t>Caratteristiche e tendenze del mercato pubblicitario</a:t>
            </a:r>
          </a:p>
          <a:p>
            <a:pPr marL="342900" marR="5080" indent="-342900" algn="just">
              <a:lnSpc>
                <a:spcPct val="101600"/>
              </a:lnSpc>
              <a:spcBef>
                <a:spcPts val="985"/>
              </a:spcBef>
              <a:buFont typeface="Arial" panose="020B0604020202020204" pitchFamily="34" charset="0"/>
              <a:buChar char="•"/>
            </a:pPr>
            <a:r>
              <a:rPr lang="it-IT" b="0" i="0" dirty="0">
                <a:solidFill>
                  <a:srgbClr val="212121"/>
                </a:solidFill>
                <a:effectLst/>
              </a:rPr>
              <a:t>Principali riferimenti normativi in materia di autodisciplina pubblicitaria</a:t>
            </a:r>
          </a:p>
          <a:p>
            <a:pPr marL="342900" marR="5080" indent="-342900" algn="just">
              <a:lnSpc>
                <a:spcPct val="101600"/>
              </a:lnSpc>
              <a:spcBef>
                <a:spcPts val="985"/>
              </a:spcBef>
              <a:buFont typeface="Arial" panose="020B0604020202020204" pitchFamily="34" charset="0"/>
              <a:buChar char="•"/>
            </a:pPr>
            <a:r>
              <a:rPr lang="it-IT" b="0" i="0" dirty="0">
                <a:solidFill>
                  <a:srgbClr val="212121"/>
                </a:solidFill>
                <a:effectLst/>
              </a:rPr>
              <a:t>Modelli e tecniche di pianificazione</a:t>
            </a:r>
            <a:endParaRPr lang="it-IT" dirty="0">
              <a:solidFill>
                <a:srgbClr val="212121"/>
              </a:solidFill>
            </a:endParaRPr>
          </a:p>
        </p:txBody>
      </p:sp>
      <p:sp>
        <p:nvSpPr>
          <p:cNvPr id="5" name="object 12">
            <a:extLst>
              <a:ext uri="{FF2B5EF4-FFF2-40B4-BE49-F238E27FC236}">
                <a16:creationId xmlns:a16="http://schemas.microsoft.com/office/drawing/2014/main" id="{D99A8F6B-727A-AA5D-2EF1-AC2D8E075F29}"/>
              </a:ext>
            </a:extLst>
          </p:cNvPr>
          <p:cNvSpPr/>
          <p:nvPr/>
        </p:nvSpPr>
        <p:spPr>
          <a:xfrm>
            <a:off x="426122" y="1211908"/>
            <a:ext cx="2702089" cy="537585"/>
          </a:xfrm>
          <a:custGeom>
            <a:avLst/>
            <a:gdLst/>
            <a:ahLst/>
            <a:cxnLst/>
            <a:rect l="l" t="t" r="r" b="b"/>
            <a:pathLst>
              <a:path w="1596389" h="472439">
                <a:moveTo>
                  <a:pt x="1554614" y="471899"/>
                </a:moveTo>
                <a:lnTo>
                  <a:pt x="41385" y="471899"/>
                </a:lnTo>
                <a:lnTo>
                  <a:pt x="25276" y="468647"/>
                </a:lnTo>
                <a:lnTo>
                  <a:pt x="12121" y="459778"/>
                </a:lnTo>
                <a:lnTo>
                  <a:pt x="3252" y="446623"/>
                </a:lnTo>
                <a:lnTo>
                  <a:pt x="0" y="430514"/>
                </a:lnTo>
                <a:lnTo>
                  <a:pt x="0" y="41385"/>
                </a:lnTo>
                <a:lnTo>
                  <a:pt x="3252" y="25276"/>
                </a:lnTo>
                <a:lnTo>
                  <a:pt x="12121" y="12121"/>
                </a:lnTo>
                <a:lnTo>
                  <a:pt x="25276" y="3252"/>
                </a:lnTo>
                <a:lnTo>
                  <a:pt x="41385" y="0"/>
                </a:lnTo>
                <a:lnTo>
                  <a:pt x="1554614" y="0"/>
                </a:lnTo>
                <a:lnTo>
                  <a:pt x="1589046" y="18424"/>
                </a:lnTo>
                <a:lnTo>
                  <a:pt x="1595999" y="41385"/>
                </a:lnTo>
                <a:lnTo>
                  <a:pt x="1595999" y="430514"/>
                </a:lnTo>
                <a:lnTo>
                  <a:pt x="1592747" y="446623"/>
                </a:lnTo>
                <a:lnTo>
                  <a:pt x="1583878" y="459778"/>
                </a:lnTo>
                <a:lnTo>
                  <a:pt x="1570723" y="468647"/>
                </a:lnTo>
                <a:lnTo>
                  <a:pt x="1554614" y="471899"/>
                </a:lnTo>
                <a:close/>
              </a:path>
            </a:pathLst>
          </a:custGeom>
          <a:solidFill>
            <a:schemeClr val="accent1"/>
          </a:solidFill>
        </p:spPr>
        <p:txBody>
          <a:bodyPr wrap="square" lIns="0" tIns="0" rIns="0" bIns="0" rtlCol="0"/>
          <a:lstStyle/>
          <a:p>
            <a:endParaRPr/>
          </a:p>
        </p:txBody>
      </p:sp>
      <p:sp>
        <p:nvSpPr>
          <p:cNvPr id="6" name="CasellaDiTesto 5">
            <a:extLst>
              <a:ext uri="{FF2B5EF4-FFF2-40B4-BE49-F238E27FC236}">
                <a16:creationId xmlns:a16="http://schemas.microsoft.com/office/drawing/2014/main" id="{3DC6BAFD-DC06-80AA-CE9E-0DE43AC3B420}"/>
              </a:ext>
            </a:extLst>
          </p:cNvPr>
          <p:cNvSpPr txBox="1"/>
          <p:nvPr/>
        </p:nvSpPr>
        <p:spPr>
          <a:xfrm>
            <a:off x="527602" y="1280645"/>
            <a:ext cx="4346526" cy="400110"/>
          </a:xfrm>
          <a:prstGeom prst="rect">
            <a:avLst/>
          </a:prstGeom>
          <a:noFill/>
        </p:spPr>
        <p:txBody>
          <a:bodyPr wrap="square">
            <a:spAutoFit/>
          </a:bodyPr>
          <a:lstStyle/>
          <a:p>
            <a:pPr marL="59690">
              <a:lnSpc>
                <a:spcPct val="100000"/>
              </a:lnSpc>
              <a:spcBef>
                <a:spcPts val="1370"/>
              </a:spcBef>
            </a:pPr>
            <a:r>
              <a:rPr lang="it-IT" sz="2000" b="1" i="1" spc="20" dirty="0">
                <a:solidFill>
                  <a:schemeClr val="bg1"/>
                </a:solidFill>
                <a:cs typeface="Roboto"/>
              </a:rPr>
              <a:t>Programma corso:</a:t>
            </a:r>
            <a:endParaRPr lang="it-IT" sz="2000" b="1" spc="20" dirty="0">
              <a:solidFill>
                <a:schemeClr val="bg1"/>
              </a:solidFill>
              <a:cs typeface="Roboto"/>
            </a:endParaRPr>
          </a:p>
        </p:txBody>
      </p:sp>
      <p:sp>
        <p:nvSpPr>
          <p:cNvPr id="7" name="Rettangolo con angoli arrotondati 6">
            <a:extLst>
              <a:ext uri="{FF2B5EF4-FFF2-40B4-BE49-F238E27FC236}">
                <a16:creationId xmlns:a16="http://schemas.microsoft.com/office/drawing/2014/main" id="{CC2E3E1C-7706-4C1D-8F88-36310FB997BC}"/>
              </a:ext>
            </a:extLst>
          </p:cNvPr>
          <p:cNvSpPr/>
          <p:nvPr/>
        </p:nvSpPr>
        <p:spPr>
          <a:xfrm>
            <a:off x="9785406" y="4365602"/>
            <a:ext cx="1596390" cy="819725"/>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00"/>
          </a:p>
        </p:txBody>
      </p:sp>
      <p:sp>
        <p:nvSpPr>
          <p:cNvPr id="8" name="CasellaDiTesto 7">
            <a:extLst>
              <a:ext uri="{FF2B5EF4-FFF2-40B4-BE49-F238E27FC236}">
                <a16:creationId xmlns:a16="http://schemas.microsoft.com/office/drawing/2014/main" id="{115EE027-A390-6256-58F5-1D60BCB448C1}"/>
              </a:ext>
            </a:extLst>
          </p:cNvPr>
          <p:cNvSpPr txBox="1"/>
          <p:nvPr/>
        </p:nvSpPr>
        <p:spPr>
          <a:xfrm>
            <a:off x="9895242" y="4483076"/>
            <a:ext cx="1366207" cy="584775"/>
          </a:xfrm>
          <a:prstGeom prst="rect">
            <a:avLst/>
          </a:prstGeom>
          <a:noFill/>
        </p:spPr>
        <p:txBody>
          <a:bodyPr wrap="square" rtlCol="0">
            <a:spAutoFit/>
          </a:bodyPr>
          <a:lstStyle/>
          <a:p>
            <a:pPr algn="ctr"/>
            <a:r>
              <a:rPr lang="it-IT" sz="1600" b="1" dirty="0">
                <a:solidFill>
                  <a:schemeClr val="accent1"/>
                </a:solidFill>
                <a:hlinkClick r:id="rId3" action="ppaction://hlinksldjump"/>
              </a:rPr>
              <a:t>Vedi indice corsi</a:t>
            </a:r>
            <a:endParaRPr lang="it-IT" sz="1600" b="1" dirty="0">
              <a:solidFill>
                <a:schemeClr val="accent1"/>
              </a:solidFill>
            </a:endParaRPr>
          </a:p>
        </p:txBody>
      </p:sp>
      <p:pic>
        <p:nvPicPr>
          <p:cNvPr id="14" name="Immagine 13">
            <a:extLst>
              <a:ext uri="{FF2B5EF4-FFF2-40B4-BE49-F238E27FC236}">
                <a16:creationId xmlns:a16="http://schemas.microsoft.com/office/drawing/2014/main" id="{2D1EC130-0F9A-4322-B13C-E3C197D356F0}"/>
              </a:ext>
            </a:extLst>
          </p:cNvPr>
          <p:cNvPicPr>
            <a:picLocks noChangeAspect="1"/>
          </p:cNvPicPr>
          <p:nvPr/>
        </p:nvPicPr>
        <p:blipFill>
          <a:blip r:embed="rId4"/>
          <a:stretch>
            <a:fillRect/>
          </a:stretch>
        </p:blipFill>
        <p:spPr>
          <a:xfrm>
            <a:off x="327484" y="5784507"/>
            <a:ext cx="9567758" cy="1086724"/>
          </a:xfrm>
          <a:prstGeom prst="rect">
            <a:avLst/>
          </a:prstGeom>
        </p:spPr>
      </p:pic>
      <p:pic>
        <p:nvPicPr>
          <p:cNvPr id="17" name="Immagine 16">
            <a:extLst>
              <a:ext uri="{FF2B5EF4-FFF2-40B4-BE49-F238E27FC236}">
                <a16:creationId xmlns:a16="http://schemas.microsoft.com/office/drawing/2014/main" id="{900A0A56-9E0E-410E-AE65-661C18871418}"/>
              </a:ext>
            </a:extLst>
          </p:cNvPr>
          <p:cNvPicPr>
            <a:picLocks noChangeAspect="1"/>
          </p:cNvPicPr>
          <p:nvPr/>
        </p:nvPicPr>
        <p:blipFill>
          <a:blip r:embed="rId5"/>
          <a:stretch>
            <a:fillRect/>
          </a:stretch>
        </p:blipFill>
        <p:spPr>
          <a:xfrm>
            <a:off x="9898769" y="6182710"/>
            <a:ext cx="1378634" cy="340953"/>
          </a:xfrm>
          <a:prstGeom prst="rect">
            <a:avLst/>
          </a:prstGeom>
        </p:spPr>
      </p:pic>
    </p:spTree>
    <p:extLst>
      <p:ext uri="{BB962C8B-B14F-4D97-AF65-F5344CB8AC3E}">
        <p14:creationId xmlns:p14="http://schemas.microsoft.com/office/powerpoint/2010/main" val="25393055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54" y="188214"/>
            <a:ext cx="10917349" cy="659155"/>
          </a:xfrm>
          <a:prstGeom prst="rect">
            <a:avLst/>
          </a:prstGeom>
        </p:spPr>
        <p:txBody>
          <a:bodyPr vert="horz" wrap="square" lIns="0" tIns="12700" rIns="0" bIns="0" rtlCol="0">
            <a:spAutoFit/>
          </a:bodyPr>
          <a:lstStyle/>
          <a:p>
            <a:pPr marL="12700">
              <a:lnSpc>
                <a:spcPct val="100000"/>
              </a:lnSpc>
              <a:spcBef>
                <a:spcPts val="100"/>
              </a:spcBef>
            </a:pPr>
            <a:r>
              <a:rPr lang="it-IT" sz="2800" spc="-15" dirty="0">
                <a:solidFill>
                  <a:schemeClr val="accent1"/>
                </a:solidFill>
                <a:latin typeface="+mn-lt"/>
              </a:rPr>
              <a:t>12. CORSO OPERATORE DI CALL CENTER</a:t>
            </a:r>
            <a:br>
              <a:rPr lang="it-IT" sz="2800" spc="-15" dirty="0">
                <a:solidFill>
                  <a:schemeClr val="accent1"/>
                </a:solidFill>
                <a:latin typeface="+mn-lt"/>
              </a:rPr>
            </a:br>
            <a:r>
              <a:rPr lang="it-IT" sz="1400" spc="-15" dirty="0">
                <a:solidFill>
                  <a:schemeClr val="accent1"/>
                </a:solidFill>
                <a:latin typeface="+mn-lt"/>
              </a:rPr>
              <a:t>(OPAL Formazione </a:t>
            </a:r>
            <a:r>
              <a:rPr lang="it-IT" sz="1400" spc="-15" dirty="0" err="1">
                <a:solidFill>
                  <a:schemeClr val="accent1"/>
                </a:solidFill>
                <a:latin typeface="+mn-lt"/>
              </a:rPr>
              <a:t>Upskilling</a:t>
            </a:r>
            <a:r>
              <a:rPr lang="it-IT" sz="1400" spc="-15" dirty="0">
                <a:solidFill>
                  <a:schemeClr val="accent1"/>
                </a:solidFill>
                <a:latin typeface="+mn-lt"/>
              </a:rPr>
              <a:t> (RRSP) mirata al profilo OPERATORE DELL’ACCOGLIENZA E ASSISTENZA CLIENTI)</a:t>
            </a:r>
          </a:p>
        </p:txBody>
      </p:sp>
      <p:sp>
        <p:nvSpPr>
          <p:cNvPr id="5" name="object 5"/>
          <p:cNvSpPr/>
          <p:nvPr/>
        </p:nvSpPr>
        <p:spPr>
          <a:xfrm>
            <a:off x="259578" y="1465731"/>
            <a:ext cx="8889221" cy="1793442"/>
          </a:xfrm>
          <a:custGeom>
            <a:avLst/>
            <a:gdLst/>
            <a:ahLst/>
            <a:cxnLst/>
            <a:rect l="l" t="t" r="r" b="b"/>
            <a:pathLst>
              <a:path w="7729220" h="954405">
                <a:moveTo>
                  <a:pt x="7644907" y="954299"/>
                </a:moveTo>
                <a:lnTo>
                  <a:pt x="83692" y="954299"/>
                </a:lnTo>
                <a:lnTo>
                  <a:pt x="51115" y="947723"/>
                </a:lnTo>
                <a:lnTo>
                  <a:pt x="24512" y="929787"/>
                </a:lnTo>
                <a:lnTo>
                  <a:pt x="6576" y="903184"/>
                </a:lnTo>
                <a:lnTo>
                  <a:pt x="0" y="870607"/>
                </a:lnTo>
                <a:lnTo>
                  <a:pt x="0" y="83692"/>
                </a:lnTo>
                <a:lnTo>
                  <a:pt x="6576" y="51115"/>
                </a:lnTo>
                <a:lnTo>
                  <a:pt x="24512" y="24512"/>
                </a:lnTo>
                <a:lnTo>
                  <a:pt x="51115" y="6576"/>
                </a:lnTo>
                <a:lnTo>
                  <a:pt x="83692" y="0"/>
                </a:lnTo>
                <a:lnTo>
                  <a:pt x="7644907" y="0"/>
                </a:lnTo>
                <a:lnTo>
                  <a:pt x="7691340" y="14061"/>
                </a:lnTo>
                <a:lnTo>
                  <a:pt x="7722229" y="51664"/>
                </a:lnTo>
                <a:lnTo>
                  <a:pt x="7728599" y="83692"/>
                </a:lnTo>
                <a:lnTo>
                  <a:pt x="7728599" y="870607"/>
                </a:lnTo>
                <a:lnTo>
                  <a:pt x="7722023" y="903184"/>
                </a:lnTo>
                <a:lnTo>
                  <a:pt x="7704087" y="929787"/>
                </a:lnTo>
                <a:lnTo>
                  <a:pt x="7677484" y="947723"/>
                </a:lnTo>
                <a:lnTo>
                  <a:pt x="7644907" y="954299"/>
                </a:lnTo>
                <a:close/>
              </a:path>
            </a:pathLst>
          </a:custGeom>
          <a:solidFill>
            <a:schemeClr val="bg2">
              <a:lumMod val="90000"/>
            </a:schemeClr>
          </a:solidFill>
        </p:spPr>
        <p:txBody>
          <a:bodyPr wrap="square" lIns="0" tIns="0" rIns="0" bIns="0" rtlCol="0"/>
          <a:lstStyle/>
          <a:p>
            <a:endParaRPr>
              <a:solidFill>
                <a:srgbClr val="00B050"/>
              </a:solidFill>
            </a:endParaRPr>
          </a:p>
        </p:txBody>
      </p:sp>
      <p:sp>
        <p:nvSpPr>
          <p:cNvPr id="11" name="object 11"/>
          <p:cNvSpPr txBox="1"/>
          <p:nvPr/>
        </p:nvSpPr>
        <p:spPr>
          <a:xfrm>
            <a:off x="11596613" y="154633"/>
            <a:ext cx="302895" cy="604520"/>
          </a:xfrm>
          <a:prstGeom prst="rect">
            <a:avLst/>
          </a:prstGeom>
        </p:spPr>
        <p:txBody>
          <a:bodyPr vert="horz" wrap="square" lIns="0" tIns="12700" rIns="0" bIns="0" rtlCol="0">
            <a:spAutoFit/>
          </a:bodyPr>
          <a:lstStyle/>
          <a:p>
            <a:pPr marL="12700">
              <a:lnSpc>
                <a:spcPct val="100000"/>
              </a:lnSpc>
              <a:spcBef>
                <a:spcPts val="100"/>
              </a:spcBef>
            </a:pPr>
            <a:r>
              <a:rPr sz="3800" b="1" dirty="0">
                <a:solidFill>
                  <a:srgbClr val="FFFFFF"/>
                </a:solidFill>
                <a:latin typeface="Roboto"/>
                <a:cs typeface="Roboto"/>
              </a:rPr>
              <a:t>1</a:t>
            </a:r>
            <a:endParaRPr sz="3800">
              <a:latin typeface="Roboto"/>
              <a:cs typeface="Roboto"/>
            </a:endParaRPr>
          </a:p>
        </p:txBody>
      </p:sp>
      <p:sp>
        <p:nvSpPr>
          <p:cNvPr id="12" name="object 12"/>
          <p:cNvSpPr/>
          <p:nvPr/>
        </p:nvSpPr>
        <p:spPr>
          <a:xfrm>
            <a:off x="370061" y="3451440"/>
            <a:ext cx="3995975" cy="537585"/>
          </a:xfrm>
          <a:custGeom>
            <a:avLst/>
            <a:gdLst/>
            <a:ahLst/>
            <a:cxnLst/>
            <a:rect l="l" t="t" r="r" b="b"/>
            <a:pathLst>
              <a:path w="1596389" h="472439">
                <a:moveTo>
                  <a:pt x="1554614" y="471899"/>
                </a:moveTo>
                <a:lnTo>
                  <a:pt x="41385" y="471899"/>
                </a:lnTo>
                <a:lnTo>
                  <a:pt x="25276" y="468647"/>
                </a:lnTo>
                <a:lnTo>
                  <a:pt x="12121" y="459778"/>
                </a:lnTo>
                <a:lnTo>
                  <a:pt x="3252" y="446623"/>
                </a:lnTo>
                <a:lnTo>
                  <a:pt x="0" y="430514"/>
                </a:lnTo>
                <a:lnTo>
                  <a:pt x="0" y="41385"/>
                </a:lnTo>
                <a:lnTo>
                  <a:pt x="3252" y="25276"/>
                </a:lnTo>
                <a:lnTo>
                  <a:pt x="12121" y="12121"/>
                </a:lnTo>
                <a:lnTo>
                  <a:pt x="25276" y="3252"/>
                </a:lnTo>
                <a:lnTo>
                  <a:pt x="41385" y="0"/>
                </a:lnTo>
                <a:lnTo>
                  <a:pt x="1554614" y="0"/>
                </a:lnTo>
                <a:lnTo>
                  <a:pt x="1589046" y="18424"/>
                </a:lnTo>
                <a:lnTo>
                  <a:pt x="1595999" y="41385"/>
                </a:lnTo>
                <a:lnTo>
                  <a:pt x="1595999" y="430514"/>
                </a:lnTo>
                <a:lnTo>
                  <a:pt x="1592747" y="446623"/>
                </a:lnTo>
                <a:lnTo>
                  <a:pt x="1583878" y="459778"/>
                </a:lnTo>
                <a:lnTo>
                  <a:pt x="1570723" y="468647"/>
                </a:lnTo>
                <a:lnTo>
                  <a:pt x="1554614" y="471899"/>
                </a:lnTo>
                <a:close/>
              </a:path>
            </a:pathLst>
          </a:custGeom>
          <a:solidFill>
            <a:schemeClr val="accent1"/>
          </a:solidFill>
        </p:spPr>
        <p:txBody>
          <a:bodyPr wrap="square" lIns="0" tIns="0" rIns="0" bIns="0" rtlCol="0"/>
          <a:lstStyle/>
          <a:p>
            <a:endParaRPr/>
          </a:p>
        </p:txBody>
      </p:sp>
      <p:sp>
        <p:nvSpPr>
          <p:cNvPr id="13" name="object 13"/>
          <p:cNvSpPr txBox="1"/>
          <p:nvPr/>
        </p:nvSpPr>
        <p:spPr>
          <a:xfrm>
            <a:off x="440531" y="3517918"/>
            <a:ext cx="8889221" cy="320601"/>
          </a:xfrm>
          <a:prstGeom prst="rect">
            <a:avLst/>
          </a:prstGeom>
        </p:spPr>
        <p:txBody>
          <a:bodyPr vert="horz" wrap="square" lIns="0" tIns="12700" rIns="0" bIns="0" rtlCol="0">
            <a:spAutoFit/>
          </a:bodyPr>
          <a:lstStyle/>
          <a:p>
            <a:pPr marL="12700">
              <a:lnSpc>
                <a:spcPct val="100000"/>
              </a:lnSpc>
              <a:spcBef>
                <a:spcPts val="100"/>
              </a:spcBef>
            </a:pPr>
            <a:r>
              <a:rPr lang="it-IT" sz="2000" b="1" spc="-25" dirty="0">
                <a:solidFill>
                  <a:srgbClr val="FFFFFF"/>
                </a:solidFill>
                <a:cs typeface="Roboto"/>
              </a:rPr>
              <a:t>I partecipanti saranno in grado di:</a:t>
            </a:r>
            <a:endParaRPr lang="it-IT" sz="2000" dirty="0">
              <a:cs typeface="Roboto"/>
            </a:endParaRPr>
          </a:p>
        </p:txBody>
      </p:sp>
      <p:sp>
        <p:nvSpPr>
          <p:cNvPr id="14" name="object 14"/>
          <p:cNvSpPr/>
          <p:nvPr/>
        </p:nvSpPr>
        <p:spPr>
          <a:xfrm>
            <a:off x="9881658" y="1515175"/>
            <a:ext cx="1596390" cy="1531803"/>
          </a:xfrm>
          <a:custGeom>
            <a:avLst/>
            <a:gdLst/>
            <a:ahLst/>
            <a:cxnLst/>
            <a:rect l="l" t="t" r="r" b="b"/>
            <a:pathLst>
              <a:path w="1596390" h="954405">
                <a:moveTo>
                  <a:pt x="1512307" y="954299"/>
                </a:moveTo>
                <a:lnTo>
                  <a:pt x="83692" y="954299"/>
                </a:lnTo>
                <a:lnTo>
                  <a:pt x="51115" y="947723"/>
                </a:lnTo>
                <a:lnTo>
                  <a:pt x="24512" y="929787"/>
                </a:lnTo>
                <a:lnTo>
                  <a:pt x="6576" y="903184"/>
                </a:lnTo>
                <a:lnTo>
                  <a:pt x="0" y="870607"/>
                </a:lnTo>
                <a:lnTo>
                  <a:pt x="0" y="83692"/>
                </a:lnTo>
                <a:lnTo>
                  <a:pt x="6576" y="51115"/>
                </a:lnTo>
                <a:lnTo>
                  <a:pt x="24512" y="24512"/>
                </a:lnTo>
                <a:lnTo>
                  <a:pt x="51115" y="6576"/>
                </a:lnTo>
                <a:lnTo>
                  <a:pt x="83692" y="0"/>
                </a:lnTo>
                <a:lnTo>
                  <a:pt x="1512307" y="0"/>
                </a:lnTo>
                <a:lnTo>
                  <a:pt x="1558740" y="14061"/>
                </a:lnTo>
                <a:lnTo>
                  <a:pt x="1589629" y="51664"/>
                </a:lnTo>
                <a:lnTo>
                  <a:pt x="1595999" y="83692"/>
                </a:lnTo>
                <a:lnTo>
                  <a:pt x="1595999" y="870607"/>
                </a:lnTo>
                <a:lnTo>
                  <a:pt x="1589423" y="903184"/>
                </a:lnTo>
                <a:lnTo>
                  <a:pt x="1571487" y="929787"/>
                </a:lnTo>
                <a:lnTo>
                  <a:pt x="1544884" y="947723"/>
                </a:lnTo>
                <a:lnTo>
                  <a:pt x="1512307" y="954299"/>
                </a:lnTo>
                <a:close/>
              </a:path>
            </a:pathLst>
          </a:custGeom>
          <a:solidFill>
            <a:schemeClr val="accent1"/>
          </a:solidFill>
        </p:spPr>
        <p:txBody>
          <a:bodyPr wrap="square" lIns="0" tIns="0" rIns="0" bIns="0" rtlCol="0"/>
          <a:lstStyle/>
          <a:p>
            <a:endParaRPr/>
          </a:p>
        </p:txBody>
      </p:sp>
      <p:sp>
        <p:nvSpPr>
          <p:cNvPr id="15" name="object 15"/>
          <p:cNvSpPr txBox="1"/>
          <p:nvPr/>
        </p:nvSpPr>
        <p:spPr>
          <a:xfrm>
            <a:off x="10122697" y="1936689"/>
            <a:ext cx="1123281" cy="689932"/>
          </a:xfrm>
          <a:prstGeom prst="rect">
            <a:avLst/>
          </a:prstGeom>
        </p:spPr>
        <p:txBody>
          <a:bodyPr vert="horz" wrap="square" lIns="0" tIns="12700" rIns="0" bIns="0" rtlCol="0">
            <a:spAutoFit/>
          </a:bodyPr>
          <a:lstStyle/>
          <a:p>
            <a:pPr marL="12700">
              <a:lnSpc>
                <a:spcPct val="100000"/>
              </a:lnSpc>
              <a:spcBef>
                <a:spcPts val="100"/>
              </a:spcBef>
            </a:pPr>
            <a:r>
              <a:rPr lang="it-IT" sz="2200" b="1" spc="-5" dirty="0">
                <a:solidFill>
                  <a:srgbClr val="FFFFFF"/>
                </a:solidFill>
                <a:cs typeface="Roboto"/>
              </a:rPr>
              <a:t>Durata:40</a:t>
            </a:r>
            <a:r>
              <a:rPr lang="it-IT" sz="2200" b="1" spc="-80" dirty="0">
                <a:solidFill>
                  <a:srgbClr val="FFFFFF"/>
                </a:solidFill>
                <a:cs typeface="Roboto"/>
              </a:rPr>
              <a:t> </a:t>
            </a:r>
            <a:r>
              <a:rPr lang="it-IT" sz="2200" b="1" dirty="0">
                <a:solidFill>
                  <a:srgbClr val="FFFFFF"/>
                </a:solidFill>
                <a:cs typeface="Roboto"/>
              </a:rPr>
              <a:t>ORE</a:t>
            </a:r>
          </a:p>
        </p:txBody>
      </p:sp>
      <p:sp>
        <p:nvSpPr>
          <p:cNvPr id="19" name="CasellaDiTesto 18">
            <a:extLst>
              <a:ext uri="{FF2B5EF4-FFF2-40B4-BE49-F238E27FC236}">
                <a16:creationId xmlns:a16="http://schemas.microsoft.com/office/drawing/2014/main" id="{AE419993-E428-4926-B9BE-D3A35F84AC1A}"/>
              </a:ext>
            </a:extLst>
          </p:cNvPr>
          <p:cNvSpPr txBox="1"/>
          <p:nvPr/>
        </p:nvSpPr>
        <p:spPr>
          <a:xfrm>
            <a:off x="194288" y="1063581"/>
            <a:ext cx="4171748" cy="400110"/>
          </a:xfrm>
          <a:prstGeom prst="rect">
            <a:avLst/>
          </a:prstGeom>
          <a:noFill/>
        </p:spPr>
        <p:txBody>
          <a:bodyPr wrap="square">
            <a:spAutoFit/>
          </a:bodyPr>
          <a:lstStyle/>
          <a:p>
            <a:pPr marL="59690">
              <a:lnSpc>
                <a:spcPct val="100000"/>
              </a:lnSpc>
              <a:spcBef>
                <a:spcPts val="1370"/>
              </a:spcBef>
            </a:pPr>
            <a:r>
              <a:rPr lang="it-IT" sz="2000" b="1" i="1" spc="20" dirty="0">
                <a:solidFill>
                  <a:schemeClr val="tx1">
                    <a:lumMod val="65000"/>
                    <a:lumOff val="35000"/>
                  </a:schemeClr>
                </a:solidFill>
                <a:cs typeface="Roboto"/>
              </a:rPr>
              <a:t>Upskilling</a:t>
            </a:r>
            <a:r>
              <a:rPr lang="it-IT" sz="2000" b="1" spc="20" dirty="0">
                <a:solidFill>
                  <a:schemeClr val="tx1">
                    <a:lumMod val="65000"/>
                    <a:lumOff val="35000"/>
                  </a:schemeClr>
                </a:solidFill>
                <a:cs typeface="Roboto"/>
              </a:rPr>
              <a:t> mirato al profilo di: </a:t>
            </a:r>
          </a:p>
        </p:txBody>
      </p:sp>
      <p:sp>
        <p:nvSpPr>
          <p:cNvPr id="23" name="object 13">
            <a:extLst>
              <a:ext uri="{FF2B5EF4-FFF2-40B4-BE49-F238E27FC236}">
                <a16:creationId xmlns:a16="http://schemas.microsoft.com/office/drawing/2014/main" id="{26655215-3172-4130-B17A-FB0B2AA9CF00}"/>
              </a:ext>
            </a:extLst>
          </p:cNvPr>
          <p:cNvSpPr txBox="1"/>
          <p:nvPr/>
        </p:nvSpPr>
        <p:spPr>
          <a:xfrm>
            <a:off x="378557" y="4055503"/>
            <a:ext cx="9286501" cy="1699824"/>
          </a:xfrm>
          <a:prstGeom prst="rect">
            <a:avLst/>
          </a:prstGeom>
        </p:spPr>
        <p:txBody>
          <a:bodyPr vert="horz" wrap="square" lIns="0" tIns="12700" rIns="0" bIns="0" rtlCol="0">
            <a:spAutoFit/>
          </a:bodyPr>
          <a:lstStyle/>
          <a:p>
            <a:pPr marL="285750" indent="-285750" algn="l" rtl="0" eaLnBrk="1" fontAlgn="ctr" latinLnBrk="0" hangingPunct="1">
              <a:lnSpc>
                <a:spcPct val="107000"/>
              </a:lnSpc>
              <a:spcBef>
                <a:spcPts val="0"/>
              </a:spcBef>
              <a:spcAft>
                <a:spcPts val="800"/>
              </a:spcAft>
              <a:buFont typeface="Wingdings" panose="05000000000000000000" pitchFamily="2" charset="2"/>
              <a:buChar char="v"/>
            </a:pPr>
            <a:r>
              <a:rPr lang="it-IT" spc="-15" dirty="0">
                <a:solidFill>
                  <a:srgbClr val="333333"/>
                </a:solidFill>
              </a:rPr>
              <a:t>Gestire la relazione telefonica con il cliente, seguendolo nella fase di accoglienza, erogazione di informazioni e gestione dei reclami</a:t>
            </a:r>
          </a:p>
          <a:p>
            <a:pPr marL="285750" indent="-285750" algn="l" rtl="0" eaLnBrk="1" fontAlgn="ctr" latinLnBrk="0" hangingPunct="1">
              <a:lnSpc>
                <a:spcPct val="107000"/>
              </a:lnSpc>
              <a:spcBef>
                <a:spcPts val="0"/>
              </a:spcBef>
              <a:spcAft>
                <a:spcPts val="800"/>
              </a:spcAft>
              <a:buFont typeface="Wingdings" panose="05000000000000000000" pitchFamily="2" charset="2"/>
              <a:buChar char="v"/>
            </a:pPr>
            <a:r>
              <a:rPr lang="it-IT" spc="-15" dirty="0">
                <a:solidFill>
                  <a:srgbClr val="333333"/>
                </a:solidFill>
              </a:rPr>
              <a:t>Comprendere e interpretare la strategia di comunicazione e di marketing aziendale</a:t>
            </a:r>
          </a:p>
          <a:p>
            <a:pPr marL="285750" indent="-285750" algn="l" rtl="0" eaLnBrk="1" fontAlgn="ctr" latinLnBrk="0" hangingPunct="1">
              <a:lnSpc>
                <a:spcPct val="107000"/>
              </a:lnSpc>
              <a:spcBef>
                <a:spcPts val="0"/>
              </a:spcBef>
              <a:spcAft>
                <a:spcPts val="800"/>
              </a:spcAft>
              <a:buFont typeface="Wingdings" panose="05000000000000000000" pitchFamily="2" charset="2"/>
              <a:buChar char="v"/>
            </a:pPr>
            <a:r>
              <a:rPr lang="it-IT" spc="-15" dirty="0" err="1">
                <a:solidFill>
                  <a:srgbClr val="333333"/>
                </a:solidFill>
              </a:rPr>
              <a:t>llLustrare</a:t>
            </a:r>
            <a:r>
              <a:rPr lang="it-IT" spc="-15" dirty="0">
                <a:solidFill>
                  <a:srgbClr val="333333"/>
                </a:solidFill>
              </a:rPr>
              <a:t> le caratteristiche del prodotto/servizio commercializzato assicurandone la massima valorizzazione</a:t>
            </a:r>
          </a:p>
        </p:txBody>
      </p:sp>
      <p:sp>
        <p:nvSpPr>
          <p:cNvPr id="18" name="object 7">
            <a:extLst>
              <a:ext uri="{FF2B5EF4-FFF2-40B4-BE49-F238E27FC236}">
                <a16:creationId xmlns:a16="http://schemas.microsoft.com/office/drawing/2014/main" id="{BCA79126-CD8E-4B74-897D-BAC10847B75A}"/>
              </a:ext>
            </a:extLst>
          </p:cNvPr>
          <p:cNvSpPr txBox="1"/>
          <p:nvPr/>
        </p:nvSpPr>
        <p:spPr>
          <a:xfrm>
            <a:off x="378557" y="1414142"/>
            <a:ext cx="8651262" cy="1856790"/>
          </a:xfrm>
          <a:prstGeom prst="rect">
            <a:avLst/>
          </a:prstGeom>
        </p:spPr>
        <p:txBody>
          <a:bodyPr vert="horz" wrap="square" lIns="0" tIns="173990" rIns="0" bIns="0" rtlCol="0">
            <a:spAutoFit/>
          </a:bodyPr>
          <a:lstStyle/>
          <a:p>
            <a:pPr marL="12700" marR="5080" algn="just">
              <a:lnSpc>
                <a:spcPct val="101600"/>
              </a:lnSpc>
              <a:spcBef>
                <a:spcPts val="985"/>
              </a:spcBef>
            </a:pPr>
            <a:r>
              <a:rPr lang="it-IT" b="1" spc="-15" dirty="0">
                <a:solidFill>
                  <a:srgbClr val="333333"/>
                </a:solidFill>
              </a:rPr>
              <a:t>Operatore di call center: </a:t>
            </a:r>
            <a:r>
              <a:rPr lang="it-IT" spc="-15" dirty="0">
                <a:solidFill>
                  <a:srgbClr val="333333"/>
                </a:solidFill>
              </a:rPr>
              <a:t>si occupa di realizzare attività di assistenza clienti (customer service), vendita e promozione, telemarketing, supporto tecnico (help desk), interviste telefoniche ed altre attività connesse alla comunicazione con i clienti, seguendo procedure predefinite per garantire gli standard di qualità richiesti. Nello svolgimento della sua attività, si relaziona con il settore marketing e riporta al coordinatore delle attività di call center.</a:t>
            </a:r>
          </a:p>
        </p:txBody>
      </p:sp>
      <p:sp>
        <p:nvSpPr>
          <p:cNvPr id="2" name="Rettangolo con angoli arrotondati 1">
            <a:extLst>
              <a:ext uri="{FF2B5EF4-FFF2-40B4-BE49-F238E27FC236}">
                <a16:creationId xmlns:a16="http://schemas.microsoft.com/office/drawing/2014/main" id="{6BE37253-AFCC-CC4C-A94E-30B1BD283BC1}"/>
              </a:ext>
            </a:extLst>
          </p:cNvPr>
          <p:cNvSpPr/>
          <p:nvPr/>
        </p:nvSpPr>
        <p:spPr>
          <a:xfrm>
            <a:off x="9881657" y="3133308"/>
            <a:ext cx="1596390" cy="1014899"/>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00"/>
          </a:p>
        </p:txBody>
      </p:sp>
      <p:sp>
        <p:nvSpPr>
          <p:cNvPr id="7" name="CasellaDiTesto 6">
            <a:extLst>
              <a:ext uri="{FF2B5EF4-FFF2-40B4-BE49-F238E27FC236}">
                <a16:creationId xmlns:a16="http://schemas.microsoft.com/office/drawing/2014/main" id="{6C658B24-442C-F5A9-B015-5022076CE629}"/>
              </a:ext>
            </a:extLst>
          </p:cNvPr>
          <p:cNvSpPr txBox="1"/>
          <p:nvPr/>
        </p:nvSpPr>
        <p:spPr>
          <a:xfrm>
            <a:off x="10028058" y="3289990"/>
            <a:ext cx="1303588" cy="830997"/>
          </a:xfrm>
          <a:prstGeom prst="rect">
            <a:avLst/>
          </a:prstGeom>
          <a:noFill/>
        </p:spPr>
        <p:txBody>
          <a:bodyPr wrap="square" rtlCol="0">
            <a:spAutoFit/>
          </a:bodyPr>
          <a:lstStyle/>
          <a:p>
            <a:pPr algn="ctr"/>
            <a:r>
              <a:rPr lang="it-IT" sz="1600" b="1" dirty="0">
                <a:solidFill>
                  <a:schemeClr val="accent1"/>
                </a:solidFill>
                <a:hlinkClick r:id="rId3" action="ppaction://hlinksldjump"/>
              </a:rPr>
              <a:t>Vedi dettagli programma</a:t>
            </a:r>
            <a:endParaRPr lang="it-IT" sz="1600" b="1" dirty="0">
              <a:solidFill>
                <a:schemeClr val="accent1"/>
              </a:solidFill>
            </a:endParaRPr>
          </a:p>
        </p:txBody>
      </p:sp>
      <p:sp>
        <p:nvSpPr>
          <p:cNvPr id="8" name="Rettangolo con angoli arrotondati 7">
            <a:extLst>
              <a:ext uri="{FF2B5EF4-FFF2-40B4-BE49-F238E27FC236}">
                <a16:creationId xmlns:a16="http://schemas.microsoft.com/office/drawing/2014/main" id="{ED951C50-48A8-19B1-2C7C-73EDBBD9C994}"/>
              </a:ext>
            </a:extLst>
          </p:cNvPr>
          <p:cNvSpPr/>
          <p:nvPr/>
        </p:nvSpPr>
        <p:spPr>
          <a:xfrm>
            <a:off x="9881658" y="4365602"/>
            <a:ext cx="1596390" cy="819725"/>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00"/>
          </a:p>
        </p:txBody>
      </p:sp>
      <p:sp>
        <p:nvSpPr>
          <p:cNvPr id="9" name="CasellaDiTesto 8">
            <a:extLst>
              <a:ext uri="{FF2B5EF4-FFF2-40B4-BE49-F238E27FC236}">
                <a16:creationId xmlns:a16="http://schemas.microsoft.com/office/drawing/2014/main" id="{AA2BD405-8BDB-94CA-A477-D1C37813642E}"/>
              </a:ext>
            </a:extLst>
          </p:cNvPr>
          <p:cNvSpPr txBox="1"/>
          <p:nvPr/>
        </p:nvSpPr>
        <p:spPr>
          <a:xfrm>
            <a:off x="9991494" y="4483076"/>
            <a:ext cx="1366207" cy="584775"/>
          </a:xfrm>
          <a:prstGeom prst="rect">
            <a:avLst/>
          </a:prstGeom>
          <a:noFill/>
        </p:spPr>
        <p:txBody>
          <a:bodyPr wrap="square" rtlCol="0">
            <a:spAutoFit/>
          </a:bodyPr>
          <a:lstStyle/>
          <a:p>
            <a:pPr algn="ctr"/>
            <a:r>
              <a:rPr lang="it-IT" sz="1600" b="1" dirty="0">
                <a:solidFill>
                  <a:schemeClr val="accent1"/>
                </a:solidFill>
                <a:hlinkClick r:id="rId4" action="ppaction://hlinksldjump"/>
              </a:rPr>
              <a:t>Vedi indice corsi</a:t>
            </a:r>
            <a:endParaRPr lang="it-IT" sz="1600" b="1" dirty="0">
              <a:solidFill>
                <a:schemeClr val="accent1"/>
              </a:solidFill>
            </a:endParaRPr>
          </a:p>
        </p:txBody>
      </p:sp>
      <p:pic>
        <p:nvPicPr>
          <p:cNvPr id="20" name="Immagine 19">
            <a:extLst>
              <a:ext uri="{FF2B5EF4-FFF2-40B4-BE49-F238E27FC236}">
                <a16:creationId xmlns:a16="http://schemas.microsoft.com/office/drawing/2014/main" id="{20077A82-7467-4AFF-AB0A-B28EC08A36CE}"/>
              </a:ext>
            </a:extLst>
          </p:cNvPr>
          <p:cNvPicPr>
            <a:picLocks noChangeAspect="1"/>
          </p:cNvPicPr>
          <p:nvPr/>
        </p:nvPicPr>
        <p:blipFill>
          <a:blip r:embed="rId5"/>
          <a:stretch>
            <a:fillRect/>
          </a:stretch>
        </p:blipFill>
        <p:spPr>
          <a:xfrm>
            <a:off x="327484" y="5784507"/>
            <a:ext cx="9567758" cy="1086724"/>
          </a:xfrm>
          <a:prstGeom prst="rect">
            <a:avLst/>
          </a:prstGeom>
        </p:spPr>
      </p:pic>
      <p:pic>
        <p:nvPicPr>
          <p:cNvPr id="21" name="Immagine 20">
            <a:extLst>
              <a:ext uri="{FF2B5EF4-FFF2-40B4-BE49-F238E27FC236}">
                <a16:creationId xmlns:a16="http://schemas.microsoft.com/office/drawing/2014/main" id="{C359C715-638E-411F-8B0B-6DC731CE7449}"/>
              </a:ext>
            </a:extLst>
          </p:cNvPr>
          <p:cNvPicPr>
            <a:picLocks noChangeAspect="1"/>
          </p:cNvPicPr>
          <p:nvPr/>
        </p:nvPicPr>
        <p:blipFill>
          <a:blip r:embed="rId6"/>
          <a:stretch>
            <a:fillRect/>
          </a:stretch>
        </p:blipFill>
        <p:spPr>
          <a:xfrm>
            <a:off x="9898769" y="6182710"/>
            <a:ext cx="1378634" cy="340953"/>
          </a:xfrm>
          <a:prstGeom prst="rect">
            <a:avLst/>
          </a:prstGeom>
        </p:spPr>
      </p:pic>
    </p:spTree>
    <p:extLst>
      <p:ext uri="{BB962C8B-B14F-4D97-AF65-F5344CB8AC3E}">
        <p14:creationId xmlns:p14="http://schemas.microsoft.com/office/powerpoint/2010/main" val="313533082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5"/>
          <p:cNvSpPr/>
          <p:nvPr/>
        </p:nvSpPr>
        <p:spPr>
          <a:xfrm>
            <a:off x="321486" y="1578179"/>
            <a:ext cx="8889221" cy="1238617"/>
          </a:xfrm>
          <a:custGeom>
            <a:avLst/>
            <a:gdLst/>
            <a:ahLst/>
            <a:cxnLst/>
            <a:rect l="l" t="t" r="r" b="b"/>
            <a:pathLst>
              <a:path w="7729220" h="954405">
                <a:moveTo>
                  <a:pt x="7644907" y="954299"/>
                </a:moveTo>
                <a:lnTo>
                  <a:pt x="83692" y="954299"/>
                </a:lnTo>
                <a:lnTo>
                  <a:pt x="51115" y="947723"/>
                </a:lnTo>
                <a:lnTo>
                  <a:pt x="24512" y="929787"/>
                </a:lnTo>
                <a:lnTo>
                  <a:pt x="6576" y="903184"/>
                </a:lnTo>
                <a:lnTo>
                  <a:pt x="0" y="870607"/>
                </a:lnTo>
                <a:lnTo>
                  <a:pt x="0" y="83692"/>
                </a:lnTo>
                <a:lnTo>
                  <a:pt x="6576" y="51115"/>
                </a:lnTo>
                <a:lnTo>
                  <a:pt x="24512" y="24512"/>
                </a:lnTo>
                <a:lnTo>
                  <a:pt x="51115" y="6576"/>
                </a:lnTo>
                <a:lnTo>
                  <a:pt x="83692" y="0"/>
                </a:lnTo>
                <a:lnTo>
                  <a:pt x="7644907" y="0"/>
                </a:lnTo>
                <a:lnTo>
                  <a:pt x="7691340" y="14061"/>
                </a:lnTo>
                <a:lnTo>
                  <a:pt x="7722229" y="51664"/>
                </a:lnTo>
                <a:lnTo>
                  <a:pt x="7728599" y="83692"/>
                </a:lnTo>
                <a:lnTo>
                  <a:pt x="7728599" y="870607"/>
                </a:lnTo>
                <a:lnTo>
                  <a:pt x="7722023" y="903184"/>
                </a:lnTo>
                <a:lnTo>
                  <a:pt x="7704087" y="929787"/>
                </a:lnTo>
                <a:lnTo>
                  <a:pt x="7677484" y="947723"/>
                </a:lnTo>
                <a:lnTo>
                  <a:pt x="7644907" y="954299"/>
                </a:lnTo>
                <a:close/>
              </a:path>
            </a:pathLst>
          </a:custGeom>
          <a:solidFill>
            <a:schemeClr val="bg2">
              <a:lumMod val="90000"/>
            </a:schemeClr>
          </a:solidFill>
        </p:spPr>
        <p:txBody>
          <a:bodyPr wrap="square" lIns="0" tIns="0" rIns="0" bIns="0" rtlCol="0"/>
          <a:lstStyle/>
          <a:p>
            <a:endParaRPr>
              <a:solidFill>
                <a:srgbClr val="00B050"/>
              </a:solidFill>
            </a:endParaRPr>
          </a:p>
        </p:txBody>
      </p:sp>
      <p:sp>
        <p:nvSpPr>
          <p:cNvPr id="11" name="object 11"/>
          <p:cNvSpPr txBox="1"/>
          <p:nvPr/>
        </p:nvSpPr>
        <p:spPr>
          <a:xfrm>
            <a:off x="11421460" y="31268"/>
            <a:ext cx="302895" cy="604520"/>
          </a:xfrm>
          <a:prstGeom prst="rect">
            <a:avLst/>
          </a:prstGeom>
        </p:spPr>
        <p:txBody>
          <a:bodyPr vert="horz" wrap="square" lIns="0" tIns="12700" rIns="0" bIns="0" rtlCol="0">
            <a:spAutoFit/>
          </a:bodyPr>
          <a:lstStyle/>
          <a:p>
            <a:pPr marL="12700">
              <a:lnSpc>
                <a:spcPct val="100000"/>
              </a:lnSpc>
              <a:spcBef>
                <a:spcPts val="100"/>
              </a:spcBef>
            </a:pPr>
            <a:r>
              <a:rPr sz="3800" b="1" dirty="0">
                <a:solidFill>
                  <a:srgbClr val="FFFFFF"/>
                </a:solidFill>
                <a:latin typeface="Roboto"/>
                <a:cs typeface="Roboto"/>
              </a:rPr>
              <a:t>1</a:t>
            </a:r>
            <a:endParaRPr sz="3800">
              <a:latin typeface="Roboto"/>
              <a:cs typeface="Roboto"/>
            </a:endParaRPr>
          </a:p>
        </p:txBody>
      </p:sp>
      <p:sp>
        <p:nvSpPr>
          <p:cNvPr id="12" name="object 12"/>
          <p:cNvSpPr/>
          <p:nvPr/>
        </p:nvSpPr>
        <p:spPr>
          <a:xfrm>
            <a:off x="402247" y="3210256"/>
            <a:ext cx="4167956" cy="537585"/>
          </a:xfrm>
          <a:custGeom>
            <a:avLst/>
            <a:gdLst/>
            <a:ahLst/>
            <a:cxnLst/>
            <a:rect l="l" t="t" r="r" b="b"/>
            <a:pathLst>
              <a:path w="1596389" h="472439">
                <a:moveTo>
                  <a:pt x="1554614" y="471899"/>
                </a:moveTo>
                <a:lnTo>
                  <a:pt x="41385" y="471899"/>
                </a:lnTo>
                <a:lnTo>
                  <a:pt x="25276" y="468647"/>
                </a:lnTo>
                <a:lnTo>
                  <a:pt x="12121" y="459778"/>
                </a:lnTo>
                <a:lnTo>
                  <a:pt x="3252" y="446623"/>
                </a:lnTo>
                <a:lnTo>
                  <a:pt x="0" y="430514"/>
                </a:lnTo>
                <a:lnTo>
                  <a:pt x="0" y="41385"/>
                </a:lnTo>
                <a:lnTo>
                  <a:pt x="3252" y="25276"/>
                </a:lnTo>
                <a:lnTo>
                  <a:pt x="12121" y="12121"/>
                </a:lnTo>
                <a:lnTo>
                  <a:pt x="25276" y="3252"/>
                </a:lnTo>
                <a:lnTo>
                  <a:pt x="41385" y="0"/>
                </a:lnTo>
                <a:lnTo>
                  <a:pt x="1554614" y="0"/>
                </a:lnTo>
                <a:lnTo>
                  <a:pt x="1589046" y="18424"/>
                </a:lnTo>
                <a:lnTo>
                  <a:pt x="1595999" y="41385"/>
                </a:lnTo>
                <a:lnTo>
                  <a:pt x="1595999" y="430514"/>
                </a:lnTo>
                <a:lnTo>
                  <a:pt x="1592747" y="446623"/>
                </a:lnTo>
                <a:lnTo>
                  <a:pt x="1583878" y="459778"/>
                </a:lnTo>
                <a:lnTo>
                  <a:pt x="1570723" y="468647"/>
                </a:lnTo>
                <a:lnTo>
                  <a:pt x="1554614" y="471899"/>
                </a:lnTo>
                <a:close/>
              </a:path>
            </a:pathLst>
          </a:custGeom>
          <a:solidFill>
            <a:schemeClr val="accent1"/>
          </a:solidFill>
        </p:spPr>
        <p:txBody>
          <a:bodyPr wrap="square" lIns="0" tIns="0" rIns="0" bIns="0" rtlCol="0"/>
          <a:lstStyle/>
          <a:p>
            <a:endParaRPr/>
          </a:p>
        </p:txBody>
      </p:sp>
      <p:sp>
        <p:nvSpPr>
          <p:cNvPr id="13" name="object 13"/>
          <p:cNvSpPr txBox="1"/>
          <p:nvPr/>
        </p:nvSpPr>
        <p:spPr>
          <a:xfrm>
            <a:off x="531614" y="3331922"/>
            <a:ext cx="8889221" cy="320601"/>
          </a:xfrm>
          <a:prstGeom prst="rect">
            <a:avLst/>
          </a:prstGeom>
        </p:spPr>
        <p:txBody>
          <a:bodyPr vert="horz" wrap="square" lIns="0" tIns="12700" rIns="0" bIns="0" rtlCol="0">
            <a:spAutoFit/>
          </a:bodyPr>
          <a:lstStyle/>
          <a:p>
            <a:pPr marL="12700">
              <a:lnSpc>
                <a:spcPct val="100000"/>
              </a:lnSpc>
              <a:spcBef>
                <a:spcPts val="100"/>
              </a:spcBef>
            </a:pPr>
            <a:r>
              <a:rPr lang="it-IT" sz="2000" b="1" spc="-25" dirty="0">
                <a:solidFill>
                  <a:srgbClr val="FFFFFF"/>
                </a:solidFill>
                <a:cs typeface="Roboto"/>
              </a:rPr>
              <a:t>I partecipanti saranno in grado di:</a:t>
            </a:r>
            <a:endParaRPr lang="it-IT" sz="2000" dirty="0">
              <a:cs typeface="Roboto"/>
            </a:endParaRPr>
          </a:p>
        </p:txBody>
      </p:sp>
      <p:sp>
        <p:nvSpPr>
          <p:cNvPr id="14" name="object 14"/>
          <p:cNvSpPr/>
          <p:nvPr/>
        </p:nvSpPr>
        <p:spPr>
          <a:xfrm>
            <a:off x="9665752" y="1573840"/>
            <a:ext cx="1596390" cy="1531803"/>
          </a:xfrm>
          <a:custGeom>
            <a:avLst/>
            <a:gdLst/>
            <a:ahLst/>
            <a:cxnLst/>
            <a:rect l="l" t="t" r="r" b="b"/>
            <a:pathLst>
              <a:path w="1596390" h="954405">
                <a:moveTo>
                  <a:pt x="1512307" y="954299"/>
                </a:moveTo>
                <a:lnTo>
                  <a:pt x="83692" y="954299"/>
                </a:lnTo>
                <a:lnTo>
                  <a:pt x="51115" y="947723"/>
                </a:lnTo>
                <a:lnTo>
                  <a:pt x="24512" y="929787"/>
                </a:lnTo>
                <a:lnTo>
                  <a:pt x="6576" y="903184"/>
                </a:lnTo>
                <a:lnTo>
                  <a:pt x="0" y="870607"/>
                </a:lnTo>
                <a:lnTo>
                  <a:pt x="0" y="83692"/>
                </a:lnTo>
                <a:lnTo>
                  <a:pt x="6576" y="51115"/>
                </a:lnTo>
                <a:lnTo>
                  <a:pt x="24512" y="24512"/>
                </a:lnTo>
                <a:lnTo>
                  <a:pt x="51115" y="6576"/>
                </a:lnTo>
                <a:lnTo>
                  <a:pt x="83692" y="0"/>
                </a:lnTo>
                <a:lnTo>
                  <a:pt x="1512307" y="0"/>
                </a:lnTo>
                <a:lnTo>
                  <a:pt x="1558740" y="14061"/>
                </a:lnTo>
                <a:lnTo>
                  <a:pt x="1589629" y="51664"/>
                </a:lnTo>
                <a:lnTo>
                  <a:pt x="1595999" y="83692"/>
                </a:lnTo>
                <a:lnTo>
                  <a:pt x="1595999" y="870607"/>
                </a:lnTo>
                <a:lnTo>
                  <a:pt x="1589423" y="903184"/>
                </a:lnTo>
                <a:lnTo>
                  <a:pt x="1571487" y="929787"/>
                </a:lnTo>
                <a:lnTo>
                  <a:pt x="1544884" y="947723"/>
                </a:lnTo>
                <a:lnTo>
                  <a:pt x="1512307" y="954299"/>
                </a:lnTo>
                <a:close/>
              </a:path>
            </a:pathLst>
          </a:custGeom>
          <a:solidFill>
            <a:schemeClr val="accent1"/>
          </a:solidFill>
        </p:spPr>
        <p:txBody>
          <a:bodyPr wrap="square" lIns="0" tIns="0" rIns="0" bIns="0" rtlCol="0"/>
          <a:lstStyle/>
          <a:p>
            <a:endParaRPr/>
          </a:p>
        </p:txBody>
      </p:sp>
      <p:sp>
        <p:nvSpPr>
          <p:cNvPr id="15" name="object 15"/>
          <p:cNvSpPr txBox="1"/>
          <p:nvPr/>
        </p:nvSpPr>
        <p:spPr>
          <a:xfrm>
            <a:off x="9895242" y="1919163"/>
            <a:ext cx="1148643" cy="689932"/>
          </a:xfrm>
          <a:prstGeom prst="rect">
            <a:avLst/>
          </a:prstGeom>
        </p:spPr>
        <p:txBody>
          <a:bodyPr vert="horz" wrap="square" lIns="0" tIns="12700" rIns="0" bIns="0" rtlCol="0">
            <a:spAutoFit/>
          </a:bodyPr>
          <a:lstStyle/>
          <a:p>
            <a:pPr marL="12700">
              <a:lnSpc>
                <a:spcPct val="100000"/>
              </a:lnSpc>
              <a:spcBef>
                <a:spcPts val="100"/>
              </a:spcBef>
            </a:pPr>
            <a:r>
              <a:rPr lang="it-IT" sz="2200" b="1" spc="-5" dirty="0">
                <a:solidFill>
                  <a:srgbClr val="FFFFFF"/>
                </a:solidFill>
                <a:cs typeface="Roboto"/>
              </a:rPr>
              <a:t>Durata:40</a:t>
            </a:r>
            <a:r>
              <a:rPr lang="it-IT" sz="2200" b="1" spc="-80" dirty="0">
                <a:solidFill>
                  <a:srgbClr val="FFFFFF"/>
                </a:solidFill>
                <a:cs typeface="Roboto"/>
              </a:rPr>
              <a:t> </a:t>
            </a:r>
            <a:r>
              <a:rPr lang="it-IT" sz="2200" b="1" dirty="0">
                <a:solidFill>
                  <a:srgbClr val="FFFFFF"/>
                </a:solidFill>
                <a:cs typeface="Roboto"/>
              </a:rPr>
              <a:t>ORE</a:t>
            </a:r>
          </a:p>
        </p:txBody>
      </p:sp>
      <p:sp>
        <p:nvSpPr>
          <p:cNvPr id="19" name="CasellaDiTesto 18">
            <a:extLst>
              <a:ext uri="{FF2B5EF4-FFF2-40B4-BE49-F238E27FC236}">
                <a16:creationId xmlns:a16="http://schemas.microsoft.com/office/drawing/2014/main" id="{AE419993-E428-4926-B9BE-D3A35F84AC1A}"/>
              </a:ext>
            </a:extLst>
          </p:cNvPr>
          <p:cNvSpPr txBox="1"/>
          <p:nvPr/>
        </p:nvSpPr>
        <p:spPr>
          <a:xfrm>
            <a:off x="211638" y="1024821"/>
            <a:ext cx="4171748" cy="400110"/>
          </a:xfrm>
          <a:prstGeom prst="rect">
            <a:avLst/>
          </a:prstGeom>
          <a:noFill/>
        </p:spPr>
        <p:txBody>
          <a:bodyPr wrap="square">
            <a:spAutoFit/>
          </a:bodyPr>
          <a:lstStyle/>
          <a:p>
            <a:pPr marL="59690">
              <a:lnSpc>
                <a:spcPct val="100000"/>
              </a:lnSpc>
              <a:spcBef>
                <a:spcPts val="1370"/>
              </a:spcBef>
            </a:pPr>
            <a:r>
              <a:rPr lang="it-IT" sz="2000" b="1" i="1" spc="20" dirty="0">
                <a:solidFill>
                  <a:schemeClr val="tx1">
                    <a:lumMod val="65000"/>
                    <a:lumOff val="35000"/>
                  </a:schemeClr>
                </a:solidFill>
                <a:cs typeface="Roboto"/>
              </a:rPr>
              <a:t>Upskilling</a:t>
            </a:r>
            <a:r>
              <a:rPr lang="it-IT" sz="2000" b="1" spc="20" dirty="0">
                <a:solidFill>
                  <a:schemeClr val="tx1">
                    <a:lumMod val="65000"/>
                    <a:lumOff val="35000"/>
                  </a:schemeClr>
                </a:solidFill>
                <a:cs typeface="Roboto"/>
              </a:rPr>
              <a:t> mirato al profilo di: </a:t>
            </a:r>
          </a:p>
        </p:txBody>
      </p:sp>
      <p:sp>
        <p:nvSpPr>
          <p:cNvPr id="18" name="object 7">
            <a:extLst>
              <a:ext uri="{FF2B5EF4-FFF2-40B4-BE49-F238E27FC236}">
                <a16:creationId xmlns:a16="http://schemas.microsoft.com/office/drawing/2014/main" id="{BCA79126-CD8E-4B74-897D-BAC10847B75A}"/>
              </a:ext>
            </a:extLst>
          </p:cNvPr>
          <p:cNvSpPr txBox="1"/>
          <p:nvPr/>
        </p:nvSpPr>
        <p:spPr>
          <a:xfrm>
            <a:off x="402247" y="1587050"/>
            <a:ext cx="8651262" cy="1011046"/>
          </a:xfrm>
          <a:prstGeom prst="rect">
            <a:avLst/>
          </a:prstGeom>
        </p:spPr>
        <p:txBody>
          <a:bodyPr vert="horz" wrap="square" lIns="0" tIns="173990" rIns="0" bIns="0" rtlCol="0">
            <a:spAutoFit/>
          </a:bodyPr>
          <a:lstStyle/>
          <a:p>
            <a:pPr marL="12700" marR="5080" algn="just">
              <a:lnSpc>
                <a:spcPct val="101600"/>
              </a:lnSpc>
              <a:spcBef>
                <a:spcPts val="985"/>
              </a:spcBef>
            </a:pPr>
            <a:r>
              <a:rPr lang="it-IT" sz="1800" b="1" spc="-15" dirty="0">
                <a:solidFill>
                  <a:srgbClr val="333333"/>
                </a:solidFill>
              </a:rPr>
              <a:t>Operatore della logistica e del magazzino: </a:t>
            </a:r>
            <a:r>
              <a:rPr lang="it-IT" sz="1800" spc="-15" dirty="0">
                <a:solidFill>
                  <a:srgbClr val="333333"/>
                </a:solidFill>
              </a:rPr>
              <a:t>si occupa di stoccare e movimentare le merci in magazzino, sulla base del flusso previsto ed effettivo di ordini, spedizioni e consegne, e di registrare i relativi dati informativi. </a:t>
            </a:r>
          </a:p>
        </p:txBody>
      </p:sp>
      <p:sp>
        <p:nvSpPr>
          <p:cNvPr id="25" name="object 3">
            <a:extLst>
              <a:ext uri="{FF2B5EF4-FFF2-40B4-BE49-F238E27FC236}">
                <a16:creationId xmlns:a16="http://schemas.microsoft.com/office/drawing/2014/main" id="{9AA99528-D0AB-4A32-941B-CDB8CE32B654}"/>
              </a:ext>
            </a:extLst>
          </p:cNvPr>
          <p:cNvSpPr txBox="1">
            <a:spLocks/>
          </p:cNvSpPr>
          <p:nvPr/>
        </p:nvSpPr>
        <p:spPr>
          <a:xfrm>
            <a:off x="376206" y="151483"/>
            <a:ext cx="10917349" cy="659155"/>
          </a:xfrm>
          <a:prstGeom prst="rect">
            <a:avLst/>
          </a:prstGeom>
        </p:spPr>
        <p:txBody>
          <a:bodyPr vert="horz" wrap="square" lIns="0" tIns="12700" rIns="0" bIns="0" rtlCol="0" anchor="t" anchorCtr="0">
            <a:spAutoFit/>
          </a:bodyPr>
          <a:lstStyle>
            <a:lvl1pPr algn="l" defTabSz="914400" rtl="0" eaLnBrk="1" latinLnBrk="0" hangingPunct="1">
              <a:lnSpc>
                <a:spcPct val="90000"/>
              </a:lnSpc>
              <a:spcBef>
                <a:spcPct val="0"/>
              </a:spcBef>
              <a:buNone/>
              <a:defRPr sz="4800" b="1" i="0" kern="1200">
                <a:solidFill>
                  <a:schemeClr val="bg1"/>
                </a:solidFill>
                <a:latin typeface="Roboto"/>
                <a:ea typeface="+mj-ea"/>
                <a:cs typeface="Roboto"/>
              </a:defRPr>
            </a:lvl1pPr>
          </a:lstStyle>
          <a:p>
            <a:pPr marL="12700">
              <a:lnSpc>
                <a:spcPct val="100000"/>
              </a:lnSpc>
              <a:spcBef>
                <a:spcPts val="100"/>
              </a:spcBef>
            </a:pPr>
            <a:r>
              <a:rPr lang="it-IT" sz="2800" spc="-15" dirty="0">
                <a:solidFill>
                  <a:schemeClr val="accent1"/>
                </a:solidFill>
                <a:latin typeface="+mn-lt"/>
              </a:rPr>
              <a:t>13. CORSO OPERATORE DELLA LOGISTICA E DEL MAGAZZINO</a:t>
            </a:r>
            <a:br>
              <a:rPr lang="it-IT" sz="2800" spc="-15" dirty="0">
                <a:solidFill>
                  <a:schemeClr val="accent1"/>
                </a:solidFill>
                <a:latin typeface="+mn-lt"/>
              </a:rPr>
            </a:br>
            <a:r>
              <a:rPr lang="it-IT" sz="1400" spc="-15" dirty="0">
                <a:solidFill>
                  <a:schemeClr val="accent1"/>
                </a:solidFill>
                <a:latin typeface="+mn-lt"/>
              </a:rPr>
              <a:t>(OPAL Formazione </a:t>
            </a:r>
            <a:r>
              <a:rPr lang="it-IT" sz="1400" spc="-15" dirty="0" err="1">
                <a:solidFill>
                  <a:schemeClr val="accent1"/>
                </a:solidFill>
                <a:latin typeface="+mn-lt"/>
              </a:rPr>
              <a:t>Upskilling</a:t>
            </a:r>
            <a:r>
              <a:rPr lang="it-IT" sz="1400" spc="-15" dirty="0">
                <a:solidFill>
                  <a:schemeClr val="accent1"/>
                </a:solidFill>
                <a:latin typeface="+mn-lt"/>
              </a:rPr>
              <a:t> (RRSP) mirata al profilo OPERATORE LOGISTICA E DEL MAGAZZINO)</a:t>
            </a:r>
          </a:p>
        </p:txBody>
      </p:sp>
      <p:sp>
        <p:nvSpPr>
          <p:cNvPr id="27" name="CasellaDiTesto 26">
            <a:extLst>
              <a:ext uri="{FF2B5EF4-FFF2-40B4-BE49-F238E27FC236}">
                <a16:creationId xmlns:a16="http://schemas.microsoft.com/office/drawing/2014/main" id="{8D618BCB-5579-4F0D-A9E0-2235D82793A7}"/>
              </a:ext>
            </a:extLst>
          </p:cNvPr>
          <p:cNvSpPr txBox="1"/>
          <p:nvPr/>
        </p:nvSpPr>
        <p:spPr>
          <a:xfrm>
            <a:off x="-96554" y="3946215"/>
            <a:ext cx="10032467" cy="1200329"/>
          </a:xfrm>
          <a:prstGeom prst="rect">
            <a:avLst/>
          </a:prstGeom>
          <a:noFill/>
        </p:spPr>
        <p:txBody>
          <a:bodyPr wrap="square">
            <a:spAutoFit/>
          </a:bodyPr>
          <a:lstStyle/>
          <a:p>
            <a:pPr marL="742950" lvl="1" indent="-285750">
              <a:spcBef>
                <a:spcPts val="10"/>
              </a:spcBef>
              <a:buFont typeface="Wingdings" panose="05000000000000000000" pitchFamily="2" charset="2"/>
              <a:buChar char="v"/>
            </a:pPr>
            <a:r>
              <a:rPr lang="it-IT" spc="-15" dirty="0">
                <a:solidFill>
                  <a:srgbClr val="333333"/>
                </a:solidFill>
              </a:rPr>
              <a:t>Pianificare  e gestire le spedizioni</a:t>
            </a:r>
          </a:p>
          <a:p>
            <a:pPr marL="742950" lvl="1" indent="-285750">
              <a:spcBef>
                <a:spcPts val="10"/>
              </a:spcBef>
              <a:buFont typeface="Wingdings" panose="05000000000000000000" pitchFamily="2" charset="2"/>
              <a:buChar char="v"/>
            </a:pPr>
            <a:r>
              <a:rPr lang="it-IT" spc="-15" dirty="0">
                <a:solidFill>
                  <a:srgbClr val="333333"/>
                </a:solidFill>
              </a:rPr>
              <a:t>Conoscere il layout di magazzino per corretta movimentazione delle merci</a:t>
            </a:r>
          </a:p>
          <a:p>
            <a:pPr marL="742950" lvl="1" indent="-285750">
              <a:spcBef>
                <a:spcPts val="10"/>
              </a:spcBef>
              <a:buFont typeface="Wingdings" panose="05000000000000000000" pitchFamily="2" charset="2"/>
              <a:buChar char="v"/>
            </a:pPr>
            <a:r>
              <a:rPr lang="it-IT" spc="-15" dirty="0">
                <a:solidFill>
                  <a:srgbClr val="333333"/>
                </a:solidFill>
              </a:rPr>
              <a:t>Conoscere le procedure di gestione delle spedizioni;</a:t>
            </a:r>
          </a:p>
          <a:p>
            <a:pPr marL="742950" lvl="1" indent="-285750">
              <a:spcBef>
                <a:spcPts val="10"/>
              </a:spcBef>
              <a:buFont typeface="Wingdings" panose="05000000000000000000" pitchFamily="2" charset="2"/>
              <a:buChar char="v"/>
            </a:pPr>
            <a:r>
              <a:rPr lang="it-IT" spc="-15" dirty="0">
                <a:solidFill>
                  <a:srgbClr val="333333"/>
                </a:solidFill>
              </a:rPr>
              <a:t>Conoscere tutto il processo della logistica: dall’alimentazione linee al fine linea</a:t>
            </a:r>
          </a:p>
        </p:txBody>
      </p:sp>
      <p:sp>
        <p:nvSpPr>
          <p:cNvPr id="2" name="Rettangolo con angoli arrotondati 1">
            <a:extLst>
              <a:ext uri="{FF2B5EF4-FFF2-40B4-BE49-F238E27FC236}">
                <a16:creationId xmlns:a16="http://schemas.microsoft.com/office/drawing/2014/main" id="{C0E11617-E204-B144-BDE6-82138F7C41E6}"/>
              </a:ext>
            </a:extLst>
          </p:cNvPr>
          <p:cNvSpPr/>
          <p:nvPr/>
        </p:nvSpPr>
        <p:spPr>
          <a:xfrm>
            <a:off x="9665752" y="3337831"/>
            <a:ext cx="1596390" cy="1014899"/>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00"/>
          </a:p>
        </p:txBody>
      </p:sp>
      <p:sp>
        <p:nvSpPr>
          <p:cNvPr id="3" name="CasellaDiTesto 2">
            <a:extLst>
              <a:ext uri="{FF2B5EF4-FFF2-40B4-BE49-F238E27FC236}">
                <a16:creationId xmlns:a16="http://schemas.microsoft.com/office/drawing/2014/main" id="{8B34CA75-8399-FC90-9F9C-67107A3BAA1E}"/>
              </a:ext>
            </a:extLst>
          </p:cNvPr>
          <p:cNvSpPr txBox="1"/>
          <p:nvPr/>
        </p:nvSpPr>
        <p:spPr>
          <a:xfrm>
            <a:off x="9806778" y="3454479"/>
            <a:ext cx="1303588" cy="830997"/>
          </a:xfrm>
          <a:prstGeom prst="rect">
            <a:avLst/>
          </a:prstGeom>
          <a:noFill/>
        </p:spPr>
        <p:txBody>
          <a:bodyPr wrap="square" rtlCol="0">
            <a:spAutoFit/>
          </a:bodyPr>
          <a:lstStyle/>
          <a:p>
            <a:pPr algn="ctr"/>
            <a:r>
              <a:rPr lang="it-IT" sz="1600" b="1" dirty="0">
                <a:solidFill>
                  <a:schemeClr val="accent1"/>
                </a:solidFill>
                <a:hlinkClick r:id="rId3" action="ppaction://hlinksldjump"/>
              </a:rPr>
              <a:t>Vedi dettagli programma</a:t>
            </a:r>
            <a:endParaRPr lang="it-IT" sz="1600" b="1" dirty="0">
              <a:solidFill>
                <a:schemeClr val="accent1"/>
              </a:solidFill>
            </a:endParaRPr>
          </a:p>
        </p:txBody>
      </p:sp>
      <p:sp>
        <p:nvSpPr>
          <p:cNvPr id="4" name="Rettangolo con angoli arrotondati 3">
            <a:extLst>
              <a:ext uri="{FF2B5EF4-FFF2-40B4-BE49-F238E27FC236}">
                <a16:creationId xmlns:a16="http://schemas.microsoft.com/office/drawing/2014/main" id="{6052F545-6C7A-43DC-78B6-AEC66BC91067}"/>
              </a:ext>
            </a:extLst>
          </p:cNvPr>
          <p:cNvSpPr/>
          <p:nvPr/>
        </p:nvSpPr>
        <p:spPr>
          <a:xfrm>
            <a:off x="9665059" y="4551773"/>
            <a:ext cx="1596390" cy="819725"/>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00"/>
          </a:p>
        </p:txBody>
      </p:sp>
      <p:sp>
        <p:nvSpPr>
          <p:cNvPr id="6" name="CasellaDiTesto 5">
            <a:extLst>
              <a:ext uri="{FF2B5EF4-FFF2-40B4-BE49-F238E27FC236}">
                <a16:creationId xmlns:a16="http://schemas.microsoft.com/office/drawing/2014/main" id="{83EF9435-C27A-494C-7F34-AE0598664704}"/>
              </a:ext>
            </a:extLst>
          </p:cNvPr>
          <p:cNvSpPr txBox="1"/>
          <p:nvPr/>
        </p:nvSpPr>
        <p:spPr>
          <a:xfrm>
            <a:off x="9774895" y="4669247"/>
            <a:ext cx="1366207" cy="584775"/>
          </a:xfrm>
          <a:prstGeom prst="rect">
            <a:avLst/>
          </a:prstGeom>
          <a:noFill/>
        </p:spPr>
        <p:txBody>
          <a:bodyPr wrap="square" rtlCol="0">
            <a:spAutoFit/>
          </a:bodyPr>
          <a:lstStyle/>
          <a:p>
            <a:pPr algn="ctr"/>
            <a:r>
              <a:rPr lang="it-IT" sz="1600" b="1" dirty="0">
                <a:solidFill>
                  <a:schemeClr val="accent1"/>
                </a:solidFill>
                <a:hlinkClick r:id="rId4" action="ppaction://hlinksldjump"/>
              </a:rPr>
              <a:t>Vedi indice corsi</a:t>
            </a:r>
            <a:endParaRPr lang="it-IT" sz="1600" b="1" dirty="0">
              <a:solidFill>
                <a:schemeClr val="accent1"/>
              </a:solidFill>
            </a:endParaRPr>
          </a:p>
        </p:txBody>
      </p:sp>
      <p:pic>
        <p:nvPicPr>
          <p:cNvPr id="20" name="Immagine 19">
            <a:extLst>
              <a:ext uri="{FF2B5EF4-FFF2-40B4-BE49-F238E27FC236}">
                <a16:creationId xmlns:a16="http://schemas.microsoft.com/office/drawing/2014/main" id="{477296E0-0206-43BB-97D1-4F45DF2236CC}"/>
              </a:ext>
            </a:extLst>
          </p:cNvPr>
          <p:cNvPicPr>
            <a:picLocks noChangeAspect="1"/>
          </p:cNvPicPr>
          <p:nvPr/>
        </p:nvPicPr>
        <p:blipFill>
          <a:blip r:embed="rId5"/>
          <a:stretch>
            <a:fillRect/>
          </a:stretch>
        </p:blipFill>
        <p:spPr>
          <a:xfrm>
            <a:off x="327484" y="5784507"/>
            <a:ext cx="9567758" cy="1086724"/>
          </a:xfrm>
          <a:prstGeom prst="rect">
            <a:avLst/>
          </a:prstGeom>
        </p:spPr>
      </p:pic>
      <p:pic>
        <p:nvPicPr>
          <p:cNvPr id="21" name="Immagine 20">
            <a:extLst>
              <a:ext uri="{FF2B5EF4-FFF2-40B4-BE49-F238E27FC236}">
                <a16:creationId xmlns:a16="http://schemas.microsoft.com/office/drawing/2014/main" id="{85358BAB-3AC6-44E6-886A-A4A7F268D37F}"/>
              </a:ext>
            </a:extLst>
          </p:cNvPr>
          <p:cNvPicPr>
            <a:picLocks noChangeAspect="1"/>
          </p:cNvPicPr>
          <p:nvPr/>
        </p:nvPicPr>
        <p:blipFill>
          <a:blip r:embed="rId6"/>
          <a:stretch>
            <a:fillRect/>
          </a:stretch>
        </p:blipFill>
        <p:spPr>
          <a:xfrm>
            <a:off x="9898769" y="6182710"/>
            <a:ext cx="1378634" cy="340953"/>
          </a:xfrm>
          <a:prstGeom prst="rect">
            <a:avLst/>
          </a:prstGeom>
        </p:spPr>
      </p:pic>
    </p:spTree>
    <p:extLst>
      <p:ext uri="{BB962C8B-B14F-4D97-AF65-F5344CB8AC3E}">
        <p14:creationId xmlns:p14="http://schemas.microsoft.com/office/powerpoint/2010/main" val="194257151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object 11"/>
          <p:cNvSpPr txBox="1"/>
          <p:nvPr/>
        </p:nvSpPr>
        <p:spPr>
          <a:xfrm>
            <a:off x="11324259" y="-37879"/>
            <a:ext cx="302895" cy="604520"/>
          </a:xfrm>
          <a:prstGeom prst="rect">
            <a:avLst/>
          </a:prstGeom>
        </p:spPr>
        <p:txBody>
          <a:bodyPr vert="horz" wrap="square" lIns="0" tIns="12700" rIns="0" bIns="0" rtlCol="0">
            <a:spAutoFit/>
          </a:bodyPr>
          <a:lstStyle/>
          <a:p>
            <a:pPr marL="12700">
              <a:lnSpc>
                <a:spcPct val="100000"/>
              </a:lnSpc>
              <a:spcBef>
                <a:spcPts val="100"/>
              </a:spcBef>
            </a:pPr>
            <a:r>
              <a:rPr sz="3800" b="1" dirty="0">
                <a:solidFill>
                  <a:srgbClr val="FFFFFF"/>
                </a:solidFill>
                <a:latin typeface="Roboto"/>
                <a:cs typeface="Roboto"/>
              </a:rPr>
              <a:t>1</a:t>
            </a:r>
            <a:endParaRPr sz="3800">
              <a:latin typeface="Roboto"/>
              <a:cs typeface="Roboto"/>
            </a:endParaRPr>
          </a:p>
        </p:txBody>
      </p:sp>
      <p:sp>
        <p:nvSpPr>
          <p:cNvPr id="15" name="object 15"/>
          <p:cNvSpPr txBox="1"/>
          <p:nvPr/>
        </p:nvSpPr>
        <p:spPr>
          <a:xfrm>
            <a:off x="9803404" y="1524574"/>
            <a:ext cx="942975" cy="689932"/>
          </a:xfrm>
          <a:prstGeom prst="rect">
            <a:avLst/>
          </a:prstGeom>
        </p:spPr>
        <p:txBody>
          <a:bodyPr vert="horz" wrap="square" lIns="0" tIns="12700" rIns="0" bIns="0" rtlCol="0">
            <a:spAutoFit/>
          </a:bodyPr>
          <a:lstStyle/>
          <a:p>
            <a:pPr marL="12700">
              <a:lnSpc>
                <a:spcPct val="100000"/>
              </a:lnSpc>
              <a:spcBef>
                <a:spcPts val="100"/>
              </a:spcBef>
            </a:pPr>
            <a:r>
              <a:rPr lang="it-IT" sz="2200" b="1" spc="-5" dirty="0">
                <a:solidFill>
                  <a:srgbClr val="FFFFFF"/>
                </a:solidFill>
                <a:cs typeface="Roboto"/>
              </a:rPr>
              <a:t>Durata:40</a:t>
            </a:r>
            <a:r>
              <a:rPr lang="it-IT" sz="2200" b="1" spc="-80" dirty="0">
                <a:solidFill>
                  <a:srgbClr val="FFFFFF"/>
                </a:solidFill>
                <a:cs typeface="Roboto"/>
              </a:rPr>
              <a:t> </a:t>
            </a:r>
            <a:r>
              <a:rPr lang="it-IT" sz="2200" b="1" dirty="0">
                <a:solidFill>
                  <a:srgbClr val="FFFFFF"/>
                </a:solidFill>
                <a:cs typeface="Roboto"/>
              </a:rPr>
              <a:t>ORE</a:t>
            </a:r>
          </a:p>
        </p:txBody>
      </p:sp>
      <p:sp>
        <p:nvSpPr>
          <p:cNvPr id="18" name="object 7">
            <a:extLst>
              <a:ext uri="{FF2B5EF4-FFF2-40B4-BE49-F238E27FC236}">
                <a16:creationId xmlns:a16="http://schemas.microsoft.com/office/drawing/2014/main" id="{BCA79126-CD8E-4B74-897D-BAC10847B75A}"/>
              </a:ext>
            </a:extLst>
          </p:cNvPr>
          <p:cNvSpPr txBox="1"/>
          <p:nvPr/>
        </p:nvSpPr>
        <p:spPr>
          <a:xfrm>
            <a:off x="267699" y="1492090"/>
            <a:ext cx="10320387" cy="4530727"/>
          </a:xfrm>
          <a:prstGeom prst="rect">
            <a:avLst/>
          </a:prstGeom>
        </p:spPr>
        <p:txBody>
          <a:bodyPr vert="horz" wrap="square" lIns="0" tIns="173990" rIns="0" bIns="0" rtlCol="0">
            <a:spAutoFit/>
          </a:bodyPr>
          <a:lstStyle/>
          <a:p>
            <a:pPr marL="324000" indent="-285750">
              <a:spcBef>
                <a:spcPts val="600"/>
              </a:spcBef>
              <a:buFont typeface="Arial" panose="020B0604020202020204" pitchFamily="34" charset="0"/>
              <a:buChar char="•"/>
            </a:pPr>
            <a:r>
              <a:rPr lang="it-IT" sz="1600" b="1" dirty="0">
                <a:effectLst/>
                <a:ea typeface="Times New Roman" panose="02020603050405020304" pitchFamily="18" charset="0"/>
              </a:rPr>
              <a:t>LOGISTICA</a:t>
            </a:r>
            <a:r>
              <a:rPr lang="it-IT" sz="1600" dirty="0">
                <a:effectLst/>
                <a:ea typeface="Times New Roman" panose="02020603050405020304" pitchFamily="18" charset="0"/>
              </a:rPr>
              <a:t>: definizione, tipologie, contesto storico, cenni storici ed evoluzione della Logistica nel contesto del marketing,</a:t>
            </a:r>
            <a:r>
              <a:rPr lang="it-IT" sz="1600" dirty="0">
                <a:ea typeface="Times New Roman" panose="02020603050405020304" pitchFamily="18" charset="0"/>
              </a:rPr>
              <a:t> p</a:t>
            </a:r>
            <a:r>
              <a:rPr lang="it-IT" sz="1600" dirty="0">
                <a:effectLst/>
                <a:ea typeface="Times New Roman" panose="02020603050405020304" pitchFamily="18" charset="0"/>
              </a:rPr>
              <a:t>rogettazione rete logistica, </a:t>
            </a:r>
            <a:r>
              <a:rPr lang="it-IT" sz="1600" dirty="0">
                <a:ea typeface="Times New Roman" panose="02020603050405020304" pitchFamily="18" charset="0"/>
              </a:rPr>
              <a:t>c</a:t>
            </a:r>
            <a:r>
              <a:rPr lang="it-IT" sz="1600" dirty="0">
                <a:effectLst/>
                <a:ea typeface="Times New Roman" panose="02020603050405020304" pitchFamily="18" charset="0"/>
              </a:rPr>
              <a:t>osti e aspetti amministrativi</a:t>
            </a:r>
          </a:p>
          <a:p>
            <a:pPr marL="324000" indent="-285750">
              <a:spcBef>
                <a:spcPts val="600"/>
              </a:spcBef>
              <a:buFont typeface="Arial" panose="020B0604020202020204" pitchFamily="34" charset="0"/>
              <a:buChar char="•"/>
            </a:pPr>
            <a:r>
              <a:rPr lang="it-IT" sz="1600" b="1" dirty="0">
                <a:effectLst/>
                <a:ea typeface="Times New Roman" panose="02020603050405020304" pitchFamily="18" charset="0"/>
              </a:rPr>
              <a:t>MAGAZZINO</a:t>
            </a:r>
            <a:r>
              <a:rPr lang="it-IT" sz="1600" dirty="0">
                <a:effectLst/>
                <a:ea typeface="Times New Roman" panose="02020603050405020304" pitchFamily="18" charset="0"/>
              </a:rPr>
              <a:t>:  funzione e organizzazione del magazzino, il flusso delle merci in magazzino</a:t>
            </a:r>
            <a:r>
              <a:rPr lang="it-IT" sz="1600" dirty="0">
                <a:ea typeface="Times New Roman" panose="02020603050405020304" pitchFamily="18" charset="0"/>
              </a:rPr>
              <a:t>, t</a:t>
            </a:r>
            <a:r>
              <a:rPr lang="it-IT" sz="1600" dirty="0">
                <a:effectLst/>
                <a:ea typeface="Times New Roman" panose="02020603050405020304" pitchFamily="18" charset="0"/>
              </a:rPr>
              <a:t>ipologie di merci e relative specifiche di stoccaggio, movimentazione e lavorazione</a:t>
            </a:r>
            <a:r>
              <a:rPr lang="it-IT" sz="1600" dirty="0">
                <a:ea typeface="Times New Roman" panose="02020603050405020304" pitchFamily="18" charset="0"/>
              </a:rPr>
              <a:t>, c</a:t>
            </a:r>
            <a:r>
              <a:rPr lang="it-IT" sz="1600" dirty="0">
                <a:effectLst/>
                <a:ea typeface="Times New Roman" panose="02020603050405020304" pitchFamily="18" charset="0"/>
              </a:rPr>
              <a:t>lassificazione delle diverse tipologie di magazzino, </a:t>
            </a:r>
            <a:r>
              <a:rPr lang="it-IT" sz="1600" dirty="0">
                <a:ea typeface="Times New Roman" panose="02020603050405020304" pitchFamily="18" charset="0"/>
              </a:rPr>
              <a:t>m</a:t>
            </a:r>
            <a:r>
              <a:rPr lang="it-IT" sz="1600" dirty="0">
                <a:effectLst/>
                <a:ea typeface="Times New Roman" panose="02020603050405020304" pitchFamily="18" charset="0"/>
              </a:rPr>
              <a:t>ezzi per lo stoccaggio e la movimentazione delle merci (carrelli elevatori, muletti, elevatrici, ecc.).</a:t>
            </a:r>
          </a:p>
          <a:p>
            <a:pPr marL="324000" indent="-285750">
              <a:spcBef>
                <a:spcPts val="600"/>
              </a:spcBef>
              <a:buFont typeface="Arial" panose="020B0604020202020204" pitchFamily="34" charset="0"/>
              <a:buChar char="•"/>
            </a:pPr>
            <a:r>
              <a:rPr lang="it-IT" sz="1600" b="1" dirty="0">
                <a:effectLst/>
                <a:ea typeface="Times New Roman" panose="02020603050405020304" pitchFamily="18" charset="0"/>
              </a:rPr>
              <a:t>ATTIVITA’ DI IMMAGAZZINAMENTO</a:t>
            </a:r>
            <a:r>
              <a:rPr lang="it-IT" sz="1600" dirty="0">
                <a:effectLst/>
                <a:ea typeface="Times New Roman" panose="02020603050405020304" pitchFamily="18" charset="0"/>
              </a:rPr>
              <a:t>:</a:t>
            </a:r>
            <a:r>
              <a:rPr lang="it-IT" sz="1600" dirty="0">
                <a:ea typeface="Times New Roman" panose="02020603050405020304" pitchFamily="18" charset="0"/>
              </a:rPr>
              <a:t> </a:t>
            </a:r>
            <a:r>
              <a:rPr lang="it-IT" sz="1600" dirty="0">
                <a:effectLst/>
                <a:ea typeface="Times New Roman" panose="02020603050405020304" pitchFamily="18" charset="0"/>
              </a:rPr>
              <a:t>stoccaggio delle merci, procedure di immagazzinamento, ottimizzazione delle scorte, il metodo dell’ABC, metodologie e tecniche di gestione delle scorte</a:t>
            </a:r>
            <a:r>
              <a:rPr lang="it-IT" sz="1600" dirty="0">
                <a:ea typeface="Times New Roman" panose="02020603050405020304" pitchFamily="18" charset="0"/>
              </a:rPr>
              <a:t> (</a:t>
            </a:r>
            <a:r>
              <a:rPr lang="it-IT" sz="1600" dirty="0">
                <a:effectLst/>
                <a:ea typeface="Times New Roman" panose="02020603050405020304" pitchFamily="18" charset="0"/>
              </a:rPr>
              <a:t>metodi pull-</a:t>
            </a:r>
            <a:r>
              <a:rPr lang="it-IT" sz="1600" dirty="0" err="1">
                <a:effectLst/>
                <a:ea typeface="Times New Roman" panose="02020603050405020304" pitchFamily="18" charset="0"/>
              </a:rPr>
              <a:t>push</a:t>
            </a:r>
            <a:r>
              <a:rPr lang="it-IT" sz="1600" dirty="0">
                <a:effectLst/>
                <a:ea typeface="Times New Roman" panose="02020603050405020304" pitchFamily="18" charset="0"/>
              </a:rPr>
              <a:t>, gestione a fabbisogno, </a:t>
            </a:r>
            <a:r>
              <a:rPr lang="it-IT" sz="1600" dirty="0">
                <a:ea typeface="Times New Roman" panose="02020603050405020304" pitchFamily="18" charset="0"/>
              </a:rPr>
              <a:t>m</a:t>
            </a:r>
            <a:r>
              <a:rPr lang="it-IT" sz="1600" dirty="0">
                <a:effectLst/>
                <a:ea typeface="Times New Roman" panose="02020603050405020304" pitchFamily="18" charset="0"/>
              </a:rPr>
              <a:t>odelli e costi della gestione delle scorte</a:t>
            </a:r>
            <a:r>
              <a:rPr lang="it-IT" sz="1600" dirty="0">
                <a:ea typeface="Times New Roman" panose="02020603050405020304" pitchFamily="18" charset="0"/>
              </a:rPr>
              <a:t> </a:t>
            </a:r>
            <a:r>
              <a:rPr lang="en-US" sz="1600" dirty="0">
                <a:effectLst/>
                <a:ea typeface="Times New Roman" panose="02020603050405020304" pitchFamily="18" charset="0"/>
              </a:rPr>
              <a:t>MRP - Material Requirements Planning - e JIT - Just in Time -)</a:t>
            </a:r>
            <a:r>
              <a:rPr lang="it-IT" sz="1600" dirty="0">
                <a:effectLst/>
                <a:ea typeface="Times New Roman" panose="02020603050405020304" pitchFamily="18" charset="0"/>
              </a:rPr>
              <a:t>, tipologie e caratteristiche di picking </a:t>
            </a:r>
            <a:r>
              <a:rPr lang="it-IT" sz="1600" dirty="0">
                <a:ea typeface="Times New Roman" panose="02020603050405020304" pitchFamily="18" charset="0"/>
              </a:rPr>
              <a:t>(</a:t>
            </a:r>
            <a:r>
              <a:rPr lang="it-IT" sz="1600" dirty="0">
                <a:effectLst/>
                <a:ea typeface="Times New Roman" panose="02020603050405020304" pitchFamily="18" charset="0"/>
              </a:rPr>
              <a:t>Order, Bath, Zone) e </a:t>
            </a:r>
            <a:r>
              <a:rPr lang="it-IT" sz="1600" dirty="0">
                <a:ea typeface="Times New Roman" panose="02020603050405020304" pitchFamily="18" charset="0"/>
              </a:rPr>
              <a:t>ti</a:t>
            </a:r>
            <a:r>
              <a:rPr lang="it-IT" sz="1600" dirty="0">
                <a:effectLst/>
                <a:ea typeface="Times New Roman" panose="02020603050405020304" pitchFamily="18" charset="0"/>
              </a:rPr>
              <a:t>pologie di percorsi di picking.</a:t>
            </a:r>
            <a:endParaRPr lang="it-IT" sz="1600" dirty="0">
              <a:ea typeface="Times New Roman" panose="02020603050405020304" pitchFamily="18" charset="0"/>
            </a:endParaRPr>
          </a:p>
          <a:p>
            <a:pPr marL="324000" indent="-285750">
              <a:spcBef>
                <a:spcPts val="600"/>
              </a:spcBef>
              <a:buFont typeface="Arial" panose="020B0604020202020204" pitchFamily="34" charset="0"/>
              <a:buChar char="•"/>
            </a:pPr>
            <a:r>
              <a:rPr lang="it-IT" sz="1600" b="1" dirty="0">
                <a:effectLst/>
                <a:ea typeface="Times New Roman" panose="02020603050405020304" pitchFamily="18" charset="0"/>
              </a:rPr>
              <a:t>STRUMENTI DI GESTIONE DEL MAGAZZINO</a:t>
            </a:r>
            <a:r>
              <a:rPr lang="it-IT" sz="1600" dirty="0">
                <a:effectLst/>
                <a:ea typeface="Times New Roman" panose="02020603050405020304" pitchFamily="18" charset="0"/>
              </a:rPr>
              <a:t>: identificazione e sicurezza dei prodotti (part </a:t>
            </a:r>
            <a:r>
              <a:rPr lang="it-IT" sz="1600" dirty="0" err="1">
                <a:effectLst/>
                <a:ea typeface="Times New Roman" panose="02020603050405020304" pitchFamily="18" charset="0"/>
              </a:rPr>
              <a:t>number</a:t>
            </a:r>
            <a:r>
              <a:rPr lang="it-IT" sz="1600" dirty="0">
                <a:effectLst/>
                <a:ea typeface="Times New Roman" panose="02020603050405020304" pitchFamily="18" charset="0"/>
              </a:rPr>
              <a:t>, serial </a:t>
            </a:r>
            <a:r>
              <a:rPr lang="it-IT" sz="1600" dirty="0" err="1">
                <a:effectLst/>
                <a:ea typeface="Times New Roman" panose="02020603050405020304" pitchFamily="18" charset="0"/>
              </a:rPr>
              <a:t>number</a:t>
            </a:r>
            <a:r>
              <a:rPr lang="it-IT" sz="1600" dirty="0">
                <a:effectLst/>
                <a:ea typeface="Times New Roman" panose="02020603050405020304" pitchFamily="18" charset="0"/>
              </a:rPr>
              <a:t>, </a:t>
            </a:r>
            <a:r>
              <a:rPr lang="it-IT" sz="1600" dirty="0" err="1">
                <a:effectLst/>
                <a:ea typeface="Times New Roman" panose="02020603050405020304" pitchFamily="18" charset="0"/>
              </a:rPr>
              <a:t>barcode</a:t>
            </a:r>
            <a:r>
              <a:rPr lang="it-IT" sz="1600" dirty="0">
                <a:effectLst/>
                <a:ea typeface="Times New Roman" panose="02020603050405020304" pitchFamily="18" charset="0"/>
              </a:rPr>
              <a:t>, placche antitaccheggio, ecc.), </a:t>
            </a:r>
            <a:r>
              <a:rPr lang="it-IT" sz="1600" dirty="0">
                <a:ea typeface="Times New Roman" panose="02020603050405020304" pitchFamily="18" charset="0"/>
              </a:rPr>
              <a:t> l’</a:t>
            </a:r>
            <a:r>
              <a:rPr lang="it-IT" sz="1600" dirty="0">
                <a:effectLst/>
                <a:ea typeface="Times New Roman" panose="02020603050405020304" pitchFamily="18" charset="0"/>
              </a:rPr>
              <a:t>inventario periodico e rotativo, </a:t>
            </a:r>
            <a:r>
              <a:rPr lang="it-IT" sz="1600" dirty="0">
                <a:ea typeface="Times New Roman" panose="02020603050405020304" pitchFamily="18" charset="0"/>
              </a:rPr>
              <a:t>la</a:t>
            </a:r>
            <a:r>
              <a:rPr lang="it-IT" sz="1600" dirty="0">
                <a:effectLst/>
                <a:ea typeface="Times New Roman" panose="02020603050405020304" pitchFamily="18" charset="0"/>
              </a:rPr>
              <a:t> stesura e gestione dell’inventario, FIFO, LIFO e indici </a:t>
            </a:r>
            <a:r>
              <a:rPr lang="it-IT" sz="1600" dirty="0" err="1">
                <a:effectLst/>
                <a:ea typeface="Times New Roman" panose="02020603050405020304" pitchFamily="18" charset="0"/>
              </a:rPr>
              <a:t>rotation</a:t>
            </a:r>
            <a:endParaRPr lang="it-IT" sz="1600" dirty="0">
              <a:ea typeface="Times New Roman" panose="02020603050405020304" pitchFamily="18" charset="0"/>
            </a:endParaRPr>
          </a:p>
          <a:p>
            <a:pPr marL="324000" indent="-285750">
              <a:spcBef>
                <a:spcPts val="600"/>
              </a:spcBef>
              <a:buFont typeface="Arial" panose="020B0604020202020204" pitchFamily="34" charset="0"/>
              <a:buChar char="•"/>
            </a:pPr>
            <a:r>
              <a:rPr lang="it-IT" sz="1600" b="1" dirty="0">
                <a:effectLst/>
                <a:ea typeface="Times New Roman" panose="02020603050405020304" pitchFamily="18" charset="0"/>
              </a:rPr>
              <a:t>SPEDIZIONI E TRASPORTI </a:t>
            </a:r>
            <a:r>
              <a:rPr lang="it-IT" sz="1600" dirty="0">
                <a:effectLst/>
                <a:ea typeface="Times New Roman" panose="02020603050405020304" pitchFamily="18" charset="0"/>
              </a:rPr>
              <a:t>:l’organizzazione delle spedizioni,</a:t>
            </a:r>
            <a:r>
              <a:rPr lang="it-IT" sz="1600" dirty="0">
                <a:ea typeface="Times New Roman" panose="02020603050405020304" pitchFamily="18" charset="0"/>
              </a:rPr>
              <a:t> f</a:t>
            </a:r>
            <a:r>
              <a:rPr lang="it-IT" sz="1600" dirty="0">
                <a:effectLst/>
                <a:ea typeface="Times New Roman" panose="02020603050405020304" pitchFamily="18" charset="0"/>
              </a:rPr>
              <a:t>unzioni e tipologie di imballaggio e di packaging per le spedizioni commerciali, i mezzi di trasporto, </a:t>
            </a:r>
            <a:r>
              <a:rPr lang="it-IT" sz="1600" dirty="0">
                <a:ea typeface="Times New Roman" panose="02020603050405020304" pitchFamily="18" charset="0"/>
              </a:rPr>
              <a:t>l</a:t>
            </a:r>
            <a:r>
              <a:rPr lang="it-IT" sz="1600" dirty="0">
                <a:effectLst/>
                <a:ea typeface="Times New Roman" panose="02020603050405020304" pitchFamily="18" charset="0"/>
              </a:rPr>
              <a:t>e procedure amministrative legate alle spedizioni, </a:t>
            </a:r>
            <a:br>
              <a:rPr lang="it-IT" sz="1600" dirty="0">
                <a:effectLst/>
                <a:ea typeface="Times New Roman" panose="02020603050405020304" pitchFamily="18" charset="0"/>
              </a:rPr>
            </a:br>
            <a:r>
              <a:rPr lang="it-IT" sz="1600" dirty="0">
                <a:effectLst/>
                <a:ea typeface="Times New Roman" panose="02020603050405020304" pitchFamily="18" charset="0"/>
              </a:rPr>
              <a:t>la Dogana (cenni e procedure a livello di documenti e bolle Spedizioni internazionale ed accordi Incoterms)</a:t>
            </a:r>
          </a:p>
          <a:p>
            <a:pPr marL="324000" marR="5080">
              <a:spcBef>
                <a:spcPts val="600"/>
              </a:spcBef>
            </a:pPr>
            <a:endParaRPr lang="it-IT" sz="1800" spc="-15" dirty="0">
              <a:solidFill>
                <a:srgbClr val="333333"/>
              </a:solidFill>
            </a:endParaRPr>
          </a:p>
        </p:txBody>
      </p:sp>
      <p:sp>
        <p:nvSpPr>
          <p:cNvPr id="16" name="object 3">
            <a:extLst>
              <a:ext uri="{FF2B5EF4-FFF2-40B4-BE49-F238E27FC236}">
                <a16:creationId xmlns:a16="http://schemas.microsoft.com/office/drawing/2014/main" id="{05ED4223-E72C-4A9B-A365-EBE3A1ADCE44}"/>
              </a:ext>
            </a:extLst>
          </p:cNvPr>
          <p:cNvSpPr txBox="1">
            <a:spLocks/>
          </p:cNvSpPr>
          <p:nvPr/>
        </p:nvSpPr>
        <p:spPr>
          <a:xfrm>
            <a:off x="406910" y="167168"/>
            <a:ext cx="10917349" cy="659155"/>
          </a:xfrm>
          <a:prstGeom prst="rect">
            <a:avLst/>
          </a:prstGeom>
        </p:spPr>
        <p:txBody>
          <a:bodyPr vert="horz" wrap="square" lIns="0" tIns="12700" rIns="0" bIns="0" rtlCol="0" anchor="t" anchorCtr="0">
            <a:spAutoFit/>
          </a:bodyPr>
          <a:lstStyle>
            <a:lvl1pPr algn="l" defTabSz="914400" rtl="0" eaLnBrk="1" latinLnBrk="0" hangingPunct="1">
              <a:lnSpc>
                <a:spcPct val="90000"/>
              </a:lnSpc>
              <a:spcBef>
                <a:spcPct val="0"/>
              </a:spcBef>
              <a:buNone/>
              <a:defRPr sz="4800" b="1" i="0" kern="1200">
                <a:solidFill>
                  <a:schemeClr val="bg1"/>
                </a:solidFill>
                <a:latin typeface="Roboto"/>
                <a:ea typeface="+mj-ea"/>
                <a:cs typeface="Roboto"/>
              </a:defRPr>
            </a:lvl1pPr>
          </a:lstStyle>
          <a:p>
            <a:pPr marL="12700">
              <a:lnSpc>
                <a:spcPct val="100000"/>
              </a:lnSpc>
              <a:spcBef>
                <a:spcPts val="100"/>
              </a:spcBef>
            </a:pPr>
            <a:r>
              <a:rPr lang="it-IT" sz="2800" spc="-15" dirty="0">
                <a:solidFill>
                  <a:schemeClr val="accent1"/>
                </a:solidFill>
                <a:latin typeface="+mn-lt"/>
              </a:rPr>
              <a:t>13. CORSO OPERATORE DELLA LOGISTICA E DEL MAGAZZINO</a:t>
            </a:r>
            <a:br>
              <a:rPr lang="it-IT" sz="2800" spc="-15" dirty="0">
                <a:solidFill>
                  <a:schemeClr val="accent1"/>
                </a:solidFill>
                <a:latin typeface="+mn-lt"/>
              </a:rPr>
            </a:br>
            <a:r>
              <a:rPr lang="it-IT" sz="1400" spc="-15" dirty="0">
                <a:solidFill>
                  <a:schemeClr val="accent1"/>
                </a:solidFill>
                <a:latin typeface="+mn-lt"/>
              </a:rPr>
              <a:t>(OPAL Formazione </a:t>
            </a:r>
            <a:r>
              <a:rPr lang="it-IT" sz="1400" spc="-15" dirty="0" err="1">
                <a:solidFill>
                  <a:schemeClr val="accent1"/>
                </a:solidFill>
                <a:latin typeface="+mn-lt"/>
              </a:rPr>
              <a:t>Upskilling</a:t>
            </a:r>
            <a:r>
              <a:rPr lang="it-IT" sz="1400" spc="-15" dirty="0">
                <a:solidFill>
                  <a:schemeClr val="accent1"/>
                </a:solidFill>
                <a:latin typeface="+mn-lt"/>
              </a:rPr>
              <a:t> (RRSP) mirata al profilo OPERATORE LOGISTICA E DEL MAGAZZINO)</a:t>
            </a:r>
          </a:p>
        </p:txBody>
      </p:sp>
      <p:sp>
        <p:nvSpPr>
          <p:cNvPr id="2" name="object 12">
            <a:extLst>
              <a:ext uri="{FF2B5EF4-FFF2-40B4-BE49-F238E27FC236}">
                <a16:creationId xmlns:a16="http://schemas.microsoft.com/office/drawing/2014/main" id="{4E968648-64F1-0CFD-D3F6-A8BD4F9B429D}"/>
              </a:ext>
            </a:extLst>
          </p:cNvPr>
          <p:cNvSpPr/>
          <p:nvPr/>
        </p:nvSpPr>
        <p:spPr>
          <a:xfrm>
            <a:off x="370927" y="943115"/>
            <a:ext cx="2593435" cy="537585"/>
          </a:xfrm>
          <a:custGeom>
            <a:avLst/>
            <a:gdLst/>
            <a:ahLst/>
            <a:cxnLst/>
            <a:rect l="l" t="t" r="r" b="b"/>
            <a:pathLst>
              <a:path w="1596389" h="472439">
                <a:moveTo>
                  <a:pt x="1554614" y="471899"/>
                </a:moveTo>
                <a:lnTo>
                  <a:pt x="41385" y="471899"/>
                </a:lnTo>
                <a:lnTo>
                  <a:pt x="25276" y="468647"/>
                </a:lnTo>
                <a:lnTo>
                  <a:pt x="12121" y="459778"/>
                </a:lnTo>
                <a:lnTo>
                  <a:pt x="3252" y="446623"/>
                </a:lnTo>
                <a:lnTo>
                  <a:pt x="0" y="430514"/>
                </a:lnTo>
                <a:lnTo>
                  <a:pt x="0" y="41385"/>
                </a:lnTo>
                <a:lnTo>
                  <a:pt x="3252" y="25276"/>
                </a:lnTo>
                <a:lnTo>
                  <a:pt x="12121" y="12121"/>
                </a:lnTo>
                <a:lnTo>
                  <a:pt x="25276" y="3252"/>
                </a:lnTo>
                <a:lnTo>
                  <a:pt x="41385" y="0"/>
                </a:lnTo>
                <a:lnTo>
                  <a:pt x="1554614" y="0"/>
                </a:lnTo>
                <a:lnTo>
                  <a:pt x="1589046" y="18424"/>
                </a:lnTo>
                <a:lnTo>
                  <a:pt x="1595999" y="41385"/>
                </a:lnTo>
                <a:lnTo>
                  <a:pt x="1595999" y="430514"/>
                </a:lnTo>
                <a:lnTo>
                  <a:pt x="1592747" y="446623"/>
                </a:lnTo>
                <a:lnTo>
                  <a:pt x="1583878" y="459778"/>
                </a:lnTo>
                <a:lnTo>
                  <a:pt x="1570723" y="468647"/>
                </a:lnTo>
                <a:lnTo>
                  <a:pt x="1554614" y="471899"/>
                </a:lnTo>
                <a:close/>
              </a:path>
            </a:pathLst>
          </a:custGeom>
          <a:solidFill>
            <a:schemeClr val="accent1"/>
          </a:solidFill>
        </p:spPr>
        <p:txBody>
          <a:bodyPr wrap="square" lIns="0" tIns="0" rIns="0" bIns="0" rtlCol="0"/>
          <a:lstStyle/>
          <a:p>
            <a:endParaRPr/>
          </a:p>
        </p:txBody>
      </p:sp>
      <p:sp>
        <p:nvSpPr>
          <p:cNvPr id="3" name="CasellaDiTesto 2">
            <a:extLst>
              <a:ext uri="{FF2B5EF4-FFF2-40B4-BE49-F238E27FC236}">
                <a16:creationId xmlns:a16="http://schemas.microsoft.com/office/drawing/2014/main" id="{CBAE687D-6399-2173-C6BF-EED26860AD2D}"/>
              </a:ext>
            </a:extLst>
          </p:cNvPr>
          <p:cNvSpPr txBox="1"/>
          <p:nvPr/>
        </p:nvSpPr>
        <p:spPr>
          <a:xfrm>
            <a:off x="435567" y="1011852"/>
            <a:ext cx="2387844" cy="400110"/>
          </a:xfrm>
          <a:prstGeom prst="rect">
            <a:avLst/>
          </a:prstGeom>
          <a:noFill/>
        </p:spPr>
        <p:txBody>
          <a:bodyPr wrap="square">
            <a:spAutoFit/>
          </a:bodyPr>
          <a:lstStyle/>
          <a:p>
            <a:pPr marL="59690">
              <a:lnSpc>
                <a:spcPct val="100000"/>
              </a:lnSpc>
              <a:spcBef>
                <a:spcPts val="1370"/>
              </a:spcBef>
            </a:pPr>
            <a:r>
              <a:rPr lang="it-IT" sz="2000" b="1" i="1" spc="20" dirty="0">
                <a:solidFill>
                  <a:schemeClr val="bg1"/>
                </a:solidFill>
                <a:cs typeface="Roboto"/>
              </a:rPr>
              <a:t>Programma corso:</a:t>
            </a:r>
            <a:endParaRPr lang="it-IT" sz="2000" b="1" spc="20" dirty="0">
              <a:solidFill>
                <a:schemeClr val="bg1"/>
              </a:solidFill>
              <a:cs typeface="Roboto"/>
            </a:endParaRPr>
          </a:p>
        </p:txBody>
      </p:sp>
      <p:sp>
        <p:nvSpPr>
          <p:cNvPr id="4" name="Rettangolo con angoli arrotondati 3">
            <a:extLst>
              <a:ext uri="{FF2B5EF4-FFF2-40B4-BE49-F238E27FC236}">
                <a16:creationId xmlns:a16="http://schemas.microsoft.com/office/drawing/2014/main" id="{45CB4FE1-B1B9-0E94-B516-3513D142BB53}"/>
              </a:ext>
            </a:extLst>
          </p:cNvPr>
          <p:cNvSpPr/>
          <p:nvPr/>
        </p:nvSpPr>
        <p:spPr>
          <a:xfrm>
            <a:off x="10463254" y="4672392"/>
            <a:ext cx="1596390" cy="819725"/>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00"/>
          </a:p>
        </p:txBody>
      </p:sp>
      <p:sp>
        <p:nvSpPr>
          <p:cNvPr id="7" name="CasellaDiTesto 6">
            <a:extLst>
              <a:ext uri="{FF2B5EF4-FFF2-40B4-BE49-F238E27FC236}">
                <a16:creationId xmlns:a16="http://schemas.microsoft.com/office/drawing/2014/main" id="{B3D27C60-5D47-8BBF-8E61-0AF13046412C}"/>
              </a:ext>
            </a:extLst>
          </p:cNvPr>
          <p:cNvSpPr txBox="1"/>
          <p:nvPr/>
        </p:nvSpPr>
        <p:spPr>
          <a:xfrm>
            <a:off x="10558653" y="4789868"/>
            <a:ext cx="1366207" cy="584775"/>
          </a:xfrm>
          <a:prstGeom prst="rect">
            <a:avLst/>
          </a:prstGeom>
          <a:noFill/>
        </p:spPr>
        <p:txBody>
          <a:bodyPr wrap="square" rtlCol="0">
            <a:spAutoFit/>
          </a:bodyPr>
          <a:lstStyle/>
          <a:p>
            <a:pPr algn="ctr"/>
            <a:r>
              <a:rPr lang="it-IT" sz="1600" b="1" dirty="0">
                <a:solidFill>
                  <a:schemeClr val="accent1"/>
                </a:solidFill>
                <a:hlinkClick r:id="rId3" action="ppaction://hlinksldjump"/>
              </a:rPr>
              <a:t>Vedi indice corsi</a:t>
            </a:r>
            <a:endParaRPr lang="it-IT" sz="1600" b="1" dirty="0">
              <a:solidFill>
                <a:schemeClr val="accent1"/>
              </a:solidFill>
            </a:endParaRPr>
          </a:p>
        </p:txBody>
      </p:sp>
      <p:pic>
        <p:nvPicPr>
          <p:cNvPr id="12" name="Immagine 11">
            <a:extLst>
              <a:ext uri="{FF2B5EF4-FFF2-40B4-BE49-F238E27FC236}">
                <a16:creationId xmlns:a16="http://schemas.microsoft.com/office/drawing/2014/main" id="{B8101D87-ECC2-4639-B97C-DB4AD01DC4F6}"/>
              </a:ext>
            </a:extLst>
          </p:cNvPr>
          <p:cNvPicPr>
            <a:picLocks noChangeAspect="1"/>
          </p:cNvPicPr>
          <p:nvPr/>
        </p:nvPicPr>
        <p:blipFill>
          <a:blip r:embed="rId4"/>
          <a:stretch>
            <a:fillRect/>
          </a:stretch>
        </p:blipFill>
        <p:spPr>
          <a:xfrm>
            <a:off x="327484" y="5784507"/>
            <a:ext cx="9567758" cy="1086724"/>
          </a:xfrm>
          <a:prstGeom prst="rect">
            <a:avLst/>
          </a:prstGeom>
        </p:spPr>
      </p:pic>
      <p:pic>
        <p:nvPicPr>
          <p:cNvPr id="13" name="Immagine 12">
            <a:extLst>
              <a:ext uri="{FF2B5EF4-FFF2-40B4-BE49-F238E27FC236}">
                <a16:creationId xmlns:a16="http://schemas.microsoft.com/office/drawing/2014/main" id="{4B4FB60D-3C4A-471A-9A68-3402EF00DBC7}"/>
              </a:ext>
            </a:extLst>
          </p:cNvPr>
          <p:cNvPicPr>
            <a:picLocks noChangeAspect="1"/>
          </p:cNvPicPr>
          <p:nvPr/>
        </p:nvPicPr>
        <p:blipFill>
          <a:blip r:embed="rId5"/>
          <a:stretch>
            <a:fillRect/>
          </a:stretch>
        </p:blipFill>
        <p:spPr>
          <a:xfrm>
            <a:off x="9898769" y="6182710"/>
            <a:ext cx="1378634" cy="340953"/>
          </a:xfrm>
          <a:prstGeom prst="rect">
            <a:avLst/>
          </a:prstGeom>
        </p:spPr>
      </p:pic>
    </p:spTree>
    <p:extLst>
      <p:ext uri="{BB962C8B-B14F-4D97-AF65-F5344CB8AC3E}">
        <p14:creationId xmlns:p14="http://schemas.microsoft.com/office/powerpoint/2010/main" val="283497475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54" y="181376"/>
            <a:ext cx="10917349" cy="659155"/>
          </a:xfrm>
          <a:prstGeom prst="rect">
            <a:avLst/>
          </a:prstGeom>
        </p:spPr>
        <p:txBody>
          <a:bodyPr vert="horz" wrap="square" lIns="0" tIns="12700" rIns="0" bIns="0" rtlCol="0">
            <a:spAutoFit/>
          </a:bodyPr>
          <a:lstStyle/>
          <a:p>
            <a:pPr marL="12700">
              <a:lnSpc>
                <a:spcPct val="100000"/>
              </a:lnSpc>
              <a:spcBef>
                <a:spcPts val="100"/>
              </a:spcBef>
            </a:pPr>
            <a:r>
              <a:rPr lang="it-IT" sz="2800" spc="-15" dirty="0">
                <a:solidFill>
                  <a:schemeClr val="accent1"/>
                </a:solidFill>
                <a:latin typeface="+mn-lt"/>
              </a:rPr>
              <a:t>14. CORSO OPERATORE MECCANICO</a:t>
            </a:r>
            <a:br>
              <a:rPr lang="it-IT" sz="2800" spc="-15" dirty="0">
                <a:solidFill>
                  <a:schemeClr val="accent1"/>
                </a:solidFill>
                <a:highlight>
                  <a:srgbClr val="FFFF00"/>
                </a:highlight>
                <a:latin typeface="+mn-lt"/>
              </a:rPr>
            </a:br>
            <a:r>
              <a:rPr lang="it-IT" sz="1400" spc="-15" dirty="0">
                <a:solidFill>
                  <a:schemeClr val="accent1"/>
                </a:solidFill>
                <a:latin typeface="+mn-lt"/>
              </a:rPr>
              <a:t>(</a:t>
            </a:r>
            <a:r>
              <a:rPr lang="it-IT" sz="1400" i="0" dirty="0">
                <a:solidFill>
                  <a:schemeClr val="accent1"/>
                </a:solidFill>
                <a:effectLst/>
                <a:latin typeface="-apple-system"/>
              </a:rPr>
              <a:t>Formazione </a:t>
            </a:r>
            <a:r>
              <a:rPr lang="it-IT" sz="1400" i="0" dirty="0" err="1">
                <a:solidFill>
                  <a:schemeClr val="accent1"/>
                </a:solidFill>
                <a:effectLst/>
                <a:latin typeface="-apple-system"/>
              </a:rPr>
              <a:t>Upskilling</a:t>
            </a:r>
            <a:r>
              <a:rPr lang="it-IT" sz="1400" i="0" dirty="0">
                <a:solidFill>
                  <a:schemeClr val="accent1"/>
                </a:solidFill>
                <a:effectLst/>
                <a:latin typeface="-apple-system"/>
              </a:rPr>
              <a:t> (RRSP) mirata al profilo OPERATORE MECCANICO DI SISTEMI)</a:t>
            </a:r>
            <a:endParaRPr lang="it-IT" sz="1400" spc="-15" dirty="0">
              <a:solidFill>
                <a:schemeClr val="accent1"/>
              </a:solidFill>
              <a:highlight>
                <a:srgbClr val="FFFF00"/>
              </a:highlight>
              <a:latin typeface="+mn-lt"/>
            </a:endParaRPr>
          </a:p>
        </p:txBody>
      </p:sp>
      <p:sp>
        <p:nvSpPr>
          <p:cNvPr id="5" name="object 5"/>
          <p:cNvSpPr/>
          <p:nvPr/>
        </p:nvSpPr>
        <p:spPr>
          <a:xfrm>
            <a:off x="327484" y="1416949"/>
            <a:ext cx="8889221" cy="1079824"/>
          </a:xfrm>
          <a:custGeom>
            <a:avLst/>
            <a:gdLst/>
            <a:ahLst/>
            <a:cxnLst/>
            <a:rect l="l" t="t" r="r" b="b"/>
            <a:pathLst>
              <a:path w="7729220" h="954405">
                <a:moveTo>
                  <a:pt x="7644907" y="954299"/>
                </a:moveTo>
                <a:lnTo>
                  <a:pt x="83692" y="954299"/>
                </a:lnTo>
                <a:lnTo>
                  <a:pt x="51115" y="947723"/>
                </a:lnTo>
                <a:lnTo>
                  <a:pt x="24512" y="929787"/>
                </a:lnTo>
                <a:lnTo>
                  <a:pt x="6576" y="903184"/>
                </a:lnTo>
                <a:lnTo>
                  <a:pt x="0" y="870607"/>
                </a:lnTo>
                <a:lnTo>
                  <a:pt x="0" y="83692"/>
                </a:lnTo>
                <a:lnTo>
                  <a:pt x="6576" y="51115"/>
                </a:lnTo>
                <a:lnTo>
                  <a:pt x="24512" y="24512"/>
                </a:lnTo>
                <a:lnTo>
                  <a:pt x="51115" y="6576"/>
                </a:lnTo>
                <a:lnTo>
                  <a:pt x="83692" y="0"/>
                </a:lnTo>
                <a:lnTo>
                  <a:pt x="7644907" y="0"/>
                </a:lnTo>
                <a:lnTo>
                  <a:pt x="7691340" y="14061"/>
                </a:lnTo>
                <a:lnTo>
                  <a:pt x="7722229" y="51664"/>
                </a:lnTo>
                <a:lnTo>
                  <a:pt x="7728599" y="83692"/>
                </a:lnTo>
                <a:lnTo>
                  <a:pt x="7728599" y="870607"/>
                </a:lnTo>
                <a:lnTo>
                  <a:pt x="7722023" y="903184"/>
                </a:lnTo>
                <a:lnTo>
                  <a:pt x="7704087" y="929787"/>
                </a:lnTo>
                <a:lnTo>
                  <a:pt x="7677484" y="947723"/>
                </a:lnTo>
                <a:lnTo>
                  <a:pt x="7644907" y="954299"/>
                </a:lnTo>
                <a:close/>
              </a:path>
            </a:pathLst>
          </a:custGeom>
          <a:solidFill>
            <a:schemeClr val="bg2">
              <a:lumMod val="90000"/>
            </a:schemeClr>
          </a:solidFill>
        </p:spPr>
        <p:txBody>
          <a:bodyPr wrap="square" lIns="0" tIns="0" rIns="0" bIns="0" rtlCol="0"/>
          <a:lstStyle/>
          <a:p>
            <a:endParaRPr>
              <a:solidFill>
                <a:srgbClr val="00B050"/>
              </a:solidFill>
            </a:endParaRPr>
          </a:p>
        </p:txBody>
      </p:sp>
      <p:sp>
        <p:nvSpPr>
          <p:cNvPr id="11" name="object 11"/>
          <p:cNvSpPr txBox="1"/>
          <p:nvPr/>
        </p:nvSpPr>
        <p:spPr>
          <a:xfrm>
            <a:off x="11596613" y="154633"/>
            <a:ext cx="302895" cy="604520"/>
          </a:xfrm>
          <a:prstGeom prst="rect">
            <a:avLst/>
          </a:prstGeom>
        </p:spPr>
        <p:txBody>
          <a:bodyPr vert="horz" wrap="square" lIns="0" tIns="12700" rIns="0" bIns="0" rtlCol="0">
            <a:spAutoFit/>
          </a:bodyPr>
          <a:lstStyle/>
          <a:p>
            <a:pPr marL="12700">
              <a:lnSpc>
                <a:spcPct val="100000"/>
              </a:lnSpc>
              <a:spcBef>
                <a:spcPts val="100"/>
              </a:spcBef>
            </a:pPr>
            <a:r>
              <a:rPr lang="it-IT" sz="3800" b="1" dirty="0">
                <a:solidFill>
                  <a:srgbClr val="FFFFFF"/>
                </a:solidFill>
                <a:cs typeface="Roboto"/>
              </a:rPr>
              <a:t>1</a:t>
            </a:r>
            <a:endParaRPr lang="it-IT" sz="3800">
              <a:cs typeface="Roboto"/>
            </a:endParaRPr>
          </a:p>
        </p:txBody>
      </p:sp>
      <p:sp>
        <p:nvSpPr>
          <p:cNvPr id="12" name="object 12"/>
          <p:cNvSpPr/>
          <p:nvPr/>
        </p:nvSpPr>
        <p:spPr>
          <a:xfrm>
            <a:off x="327484" y="3302015"/>
            <a:ext cx="4223608" cy="537585"/>
          </a:xfrm>
          <a:custGeom>
            <a:avLst/>
            <a:gdLst/>
            <a:ahLst/>
            <a:cxnLst/>
            <a:rect l="l" t="t" r="r" b="b"/>
            <a:pathLst>
              <a:path w="1596389" h="472439">
                <a:moveTo>
                  <a:pt x="1554614" y="471899"/>
                </a:moveTo>
                <a:lnTo>
                  <a:pt x="41385" y="471899"/>
                </a:lnTo>
                <a:lnTo>
                  <a:pt x="25276" y="468647"/>
                </a:lnTo>
                <a:lnTo>
                  <a:pt x="12121" y="459778"/>
                </a:lnTo>
                <a:lnTo>
                  <a:pt x="3252" y="446623"/>
                </a:lnTo>
                <a:lnTo>
                  <a:pt x="0" y="430514"/>
                </a:lnTo>
                <a:lnTo>
                  <a:pt x="0" y="41385"/>
                </a:lnTo>
                <a:lnTo>
                  <a:pt x="3252" y="25276"/>
                </a:lnTo>
                <a:lnTo>
                  <a:pt x="12121" y="12121"/>
                </a:lnTo>
                <a:lnTo>
                  <a:pt x="25276" y="3252"/>
                </a:lnTo>
                <a:lnTo>
                  <a:pt x="41385" y="0"/>
                </a:lnTo>
                <a:lnTo>
                  <a:pt x="1554614" y="0"/>
                </a:lnTo>
                <a:lnTo>
                  <a:pt x="1589046" y="18424"/>
                </a:lnTo>
                <a:lnTo>
                  <a:pt x="1595999" y="41385"/>
                </a:lnTo>
                <a:lnTo>
                  <a:pt x="1595999" y="430514"/>
                </a:lnTo>
                <a:lnTo>
                  <a:pt x="1592747" y="446623"/>
                </a:lnTo>
                <a:lnTo>
                  <a:pt x="1583878" y="459778"/>
                </a:lnTo>
                <a:lnTo>
                  <a:pt x="1570723" y="468647"/>
                </a:lnTo>
                <a:lnTo>
                  <a:pt x="1554614" y="471899"/>
                </a:lnTo>
                <a:close/>
              </a:path>
            </a:pathLst>
          </a:custGeom>
          <a:solidFill>
            <a:schemeClr val="accent1"/>
          </a:solidFill>
        </p:spPr>
        <p:txBody>
          <a:bodyPr wrap="square" lIns="0" tIns="0" rIns="0" bIns="0" rtlCol="0"/>
          <a:lstStyle/>
          <a:p>
            <a:endParaRPr/>
          </a:p>
        </p:txBody>
      </p:sp>
      <p:sp>
        <p:nvSpPr>
          <p:cNvPr id="13" name="object 13"/>
          <p:cNvSpPr txBox="1"/>
          <p:nvPr/>
        </p:nvSpPr>
        <p:spPr>
          <a:xfrm>
            <a:off x="379479" y="3410506"/>
            <a:ext cx="8889221" cy="320601"/>
          </a:xfrm>
          <a:prstGeom prst="rect">
            <a:avLst/>
          </a:prstGeom>
        </p:spPr>
        <p:txBody>
          <a:bodyPr vert="horz" wrap="square" lIns="0" tIns="12700" rIns="0" bIns="0" rtlCol="0">
            <a:spAutoFit/>
          </a:bodyPr>
          <a:lstStyle/>
          <a:p>
            <a:pPr marL="12700">
              <a:lnSpc>
                <a:spcPct val="100000"/>
              </a:lnSpc>
              <a:spcBef>
                <a:spcPts val="100"/>
              </a:spcBef>
            </a:pPr>
            <a:r>
              <a:rPr lang="it-IT" sz="2000" b="1" spc="-25" dirty="0">
                <a:solidFill>
                  <a:srgbClr val="FFFFFF"/>
                </a:solidFill>
                <a:cs typeface="Roboto"/>
              </a:rPr>
              <a:t>I partecipanti saranno in grado di:</a:t>
            </a:r>
            <a:endParaRPr lang="it-IT" sz="2000" dirty="0">
              <a:cs typeface="Roboto"/>
            </a:endParaRPr>
          </a:p>
        </p:txBody>
      </p:sp>
      <p:sp>
        <p:nvSpPr>
          <p:cNvPr id="14" name="object 14"/>
          <p:cNvSpPr/>
          <p:nvPr/>
        </p:nvSpPr>
        <p:spPr>
          <a:xfrm>
            <a:off x="9785406" y="1297427"/>
            <a:ext cx="1596390" cy="1531803"/>
          </a:xfrm>
          <a:custGeom>
            <a:avLst/>
            <a:gdLst/>
            <a:ahLst/>
            <a:cxnLst/>
            <a:rect l="l" t="t" r="r" b="b"/>
            <a:pathLst>
              <a:path w="1596390" h="954405">
                <a:moveTo>
                  <a:pt x="1512307" y="954299"/>
                </a:moveTo>
                <a:lnTo>
                  <a:pt x="83692" y="954299"/>
                </a:lnTo>
                <a:lnTo>
                  <a:pt x="51115" y="947723"/>
                </a:lnTo>
                <a:lnTo>
                  <a:pt x="24512" y="929787"/>
                </a:lnTo>
                <a:lnTo>
                  <a:pt x="6576" y="903184"/>
                </a:lnTo>
                <a:lnTo>
                  <a:pt x="0" y="870607"/>
                </a:lnTo>
                <a:lnTo>
                  <a:pt x="0" y="83692"/>
                </a:lnTo>
                <a:lnTo>
                  <a:pt x="6576" y="51115"/>
                </a:lnTo>
                <a:lnTo>
                  <a:pt x="24512" y="24512"/>
                </a:lnTo>
                <a:lnTo>
                  <a:pt x="51115" y="6576"/>
                </a:lnTo>
                <a:lnTo>
                  <a:pt x="83692" y="0"/>
                </a:lnTo>
                <a:lnTo>
                  <a:pt x="1512307" y="0"/>
                </a:lnTo>
                <a:lnTo>
                  <a:pt x="1558740" y="14061"/>
                </a:lnTo>
                <a:lnTo>
                  <a:pt x="1589629" y="51664"/>
                </a:lnTo>
                <a:lnTo>
                  <a:pt x="1595999" y="83692"/>
                </a:lnTo>
                <a:lnTo>
                  <a:pt x="1595999" y="870607"/>
                </a:lnTo>
                <a:lnTo>
                  <a:pt x="1589423" y="903184"/>
                </a:lnTo>
                <a:lnTo>
                  <a:pt x="1571487" y="929787"/>
                </a:lnTo>
                <a:lnTo>
                  <a:pt x="1544884" y="947723"/>
                </a:lnTo>
                <a:lnTo>
                  <a:pt x="1512307" y="954299"/>
                </a:lnTo>
                <a:close/>
              </a:path>
            </a:pathLst>
          </a:custGeom>
          <a:solidFill>
            <a:schemeClr val="accent1"/>
          </a:solidFill>
        </p:spPr>
        <p:txBody>
          <a:bodyPr wrap="square" lIns="0" tIns="0" rIns="0" bIns="0" rtlCol="0"/>
          <a:lstStyle/>
          <a:p>
            <a:endParaRPr/>
          </a:p>
        </p:txBody>
      </p:sp>
      <p:sp>
        <p:nvSpPr>
          <p:cNvPr id="15" name="object 15"/>
          <p:cNvSpPr txBox="1"/>
          <p:nvPr/>
        </p:nvSpPr>
        <p:spPr>
          <a:xfrm>
            <a:off x="10026445" y="1711871"/>
            <a:ext cx="1123282" cy="689932"/>
          </a:xfrm>
          <a:prstGeom prst="rect">
            <a:avLst/>
          </a:prstGeom>
        </p:spPr>
        <p:txBody>
          <a:bodyPr vert="horz" wrap="square" lIns="0" tIns="12700" rIns="0" bIns="0" rtlCol="0">
            <a:spAutoFit/>
          </a:bodyPr>
          <a:lstStyle/>
          <a:p>
            <a:pPr marL="12700">
              <a:lnSpc>
                <a:spcPct val="100000"/>
              </a:lnSpc>
              <a:spcBef>
                <a:spcPts val="100"/>
              </a:spcBef>
            </a:pPr>
            <a:r>
              <a:rPr lang="it-IT" sz="2200" b="1" spc="-5" dirty="0">
                <a:solidFill>
                  <a:srgbClr val="FFFFFF"/>
                </a:solidFill>
                <a:cs typeface="Roboto"/>
              </a:rPr>
              <a:t>Durata:40</a:t>
            </a:r>
            <a:r>
              <a:rPr lang="it-IT" sz="2200" b="1" spc="-80" dirty="0">
                <a:solidFill>
                  <a:srgbClr val="FFFFFF"/>
                </a:solidFill>
                <a:cs typeface="Roboto"/>
              </a:rPr>
              <a:t> </a:t>
            </a:r>
            <a:r>
              <a:rPr lang="it-IT" sz="2200" b="1" dirty="0">
                <a:solidFill>
                  <a:srgbClr val="FFFFFF"/>
                </a:solidFill>
                <a:cs typeface="Roboto"/>
              </a:rPr>
              <a:t>ORE</a:t>
            </a:r>
          </a:p>
        </p:txBody>
      </p:sp>
      <p:sp>
        <p:nvSpPr>
          <p:cNvPr id="19" name="CasellaDiTesto 18">
            <a:extLst>
              <a:ext uri="{FF2B5EF4-FFF2-40B4-BE49-F238E27FC236}">
                <a16:creationId xmlns:a16="http://schemas.microsoft.com/office/drawing/2014/main" id="{AE419993-E428-4926-B9BE-D3A35F84AC1A}"/>
              </a:ext>
            </a:extLst>
          </p:cNvPr>
          <p:cNvSpPr txBox="1"/>
          <p:nvPr/>
        </p:nvSpPr>
        <p:spPr>
          <a:xfrm>
            <a:off x="252831" y="908799"/>
            <a:ext cx="4171748" cy="400110"/>
          </a:xfrm>
          <a:prstGeom prst="rect">
            <a:avLst/>
          </a:prstGeom>
          <a:noFill/>
        </p:spPr>
        <p:txBody>
          <a:bodyPr wrap="square">
            <a:spAutoFit/>
          </a:bodyPr>
          <a:lstStyle/>
          <a:p>
            <a:pPr marL="59690">
              <a:lnSpc>
                <a:spcPct val="100000"/>
              </a:lnSpc>
              <a:spcBef>
                <a:spcPts val="1370"/>
              </a:spcBef>
            </a:pPr>
            <a:r>
              <a:rPr lang="it-IT" sz="2000" b="1" i="1" spc="20" dirty="0">
                <a:solidFill>
                  <a:schemeClr val="tx1">
                    <a:lumMod val="65000"/>
                    <a:lumOff val="35000"/>
                  </a:schemeClr>
                </a:solidFill>
                <a:cs typeface="Roboto"/>
              </a:rPr>
              <a:t>Upskilling</a:t>
            </a:r>
            <a:r>
              <a:rPr lang="it-IT" sz="2000" b="1" spc="20" dirty="0">
                <a:solidFill>
                  <a:schemeClr val="tx1">
                    <a:lumMod val="65000"/>
                    <a:lumOff val="35000"/>
                  </a:schemeClr>
                </a:solidFill>
                <a:cs typeface="Roboto"/>
              </a:rPr>
              <a:t> mirato al profilo di: </a:t>
            </a:r>
          </a:p>
        </p:txBody>
      </p:sp>
      <p:sp>
        <p:nvSpPr>
          <p:cNvPr id="18" name="object 7">
            <a:extLst>
              <a:ext uri="{FF2B5EF4-FFF2-40B4-BE49-F238E27FC236}">
                <a16:creationId xmlns:a16="http://schemas.microsoft.com/office/drawing/2014/main" id="{BCA79126-CD8E-4B74-897D-BAC10847B75A}"/>
              </a:ext>
            </a:extLst>
          </p:cNvPr>
          <p:cNvSpPr txBox="1"/>
          <p:nvPr/>
        </p:nvSpPr>
        <p:spPr>
          <a:xfrm>
            <a:off x="360054" y="1377687"/>
            <a:ext cx="8651262" cy="1011046"/>
          </a:xfrm>
          <a:prstGeom prst="rect">
            <a:avLst/>
          </a:prstGeom>
        </p:spPr>
        <p:txBody>
          <a:bodyPr vert="horz" wrap="square" lIns="0" tIns="173990" rIns="0" bIns="0" rtlCol="0">
            <a:spAutoFit/>
          </a:bodyPr>
          <a:lstStyle/>
          <a:p>
            <a:pPr marL="12700" marR="5080" algn="just">
              <a:lnSpc>
                <a:spcPct val="101600"/>
              </a:lnSpc>
              <a:spcBef>
                <a:spcPts val="985"/>
              </a:spcBef>
            </a:pPr>
            <a:r>
              <a:rPr lang="it-IT" sz="1800" b="1" spc="-15" dirty="0">
                <a:solidFill>
                  <a:srgbClr val="333333"/>
                </a:solidFill>
              </a:rPr>
              <a:t>Operatore meccanico di sistemi: </a:t>
            </a:r>
            <a:r>
              <a:rPr lang="it-IT" sz="1800" spc="-15" dirty="0">
                <a:solidFill>
                  <a:srgbClr val="333333"/>
                </a:solidFill>
              </a:rPr>
              <a:t>si occupa del montaggio di singoli componenti o gruppi meccanici, sulla base di documenti di lavoro e disegni tecnici, degli standard procedurali e di qualità aziendali e nel rispetto della normativa sulla sicurezza.</a:t>
            </a:r>
          </a:p>
        </p:txBody>
      </p:sp>
      <p:sp>
        <p:nvSpPr>
          <p:cNvPr id="22" name="CasellaDiTesto 21">
            <a:extLst>
              <a:ext uri="{FF2B5EF4-FFF2-40B4-BE49-F238E27FC236}">
                <a16:creationId xmlns:a16="http://schemas.microsoft.com/office/drawing/2014/main" id="{6B4B4311-74BF-4D26-8BDA-76B5CEB6FF84}"/>
              </a:ext>
            </a:extLst>
          </p:cNvPr>
          <p:cNvSpPr txBox="1"/>
          <p:nvPr/>
        </p:nvSpPr>
        <p:spPr>
          <a:xfrm>
            <a:off x="-192143" y="3947639"/>
            <a:ext cx="10032467" cy="923330"/>
          </a:xfrm>
          <a:prstGeom prst="rect">
            <a:avLst/>
          </a:prstGeom>
          <a:noFill/>
        </p:spPr>
        <p:txBody>
          <a:bodyPr wrap="square">
            <a:spAutoFit/>
          </a:bodyPr>
          <a:lstStyle/>
          <a:p>
            <a:pPr marL="742950" lvl="1" indent="-285750">
              <a:spcBef>
                <a:spcPts val="10"/>
              </a:spcBef>
              <a:buFont typeface="Wingdings" panose="05000000000000000000" pitchFamily="2" charset="2"/>
              <a:buChar char="v"/>
            </a:pPr>
            <a:r>
              <a:rPr lang="it-IT" spc="-15" dirty="0">
                <a:solidFill>
                  <a:srgbClr val="333333"/>
                </a:solidFill>
              </a:rPr>
              <a:t>Leggere un disegno meccanico </a:t>
            </a:r>
          </a:p>
          <a:p>
            <a:pPr marL="742950" lvl="1" indent="-285750">
              <a:spcBef>
                <a:spcPts val="10"/>
              </a:spcBef>
              <a:buFont typeface="Wingdings" panose="05000000000000000000" pitchFamily="2" charset="2"/>
              <a:buChar char="v"/>
            </a:pPr>
            <a:r>
              <a:rPr lang="it-IT" spc="-15" dirty="0">
                <a:solidFill>
                  <a:srgbClr val="333333"/>
                </a:solidFill>
              </a:rPr>
              <a:t>Utilizzare i principali strumenti da banco </a:t>
            </a:r>
          </a:p>
          <a:p>
            <a:pPr marL="742950" lvl="1" indent="-285750">
              <a:spcBef>
                <a:spcPts val="10"/>
              </a:spcBef>
              <a:buFont typeface="Wingdings" panose="05000000000000000000" pitchFamily="2" charset="2"/>
              <a:buChar char="v"/>
            </a:pPr>
            <a:r>
              <a:rPr lang="it-IT" spc="-15" dirty="0">
                <a:solidFill>
                  <a:srgbClr val="333333"/>
                </a:solidFill>
              </a:rPr>
              <a:t>Eseguire il montaggio/assemblaggio delle parti meccaniche in base alle specifiche tecniche ricevute</a:t>
            </a:r>
          </a:p>
        </p:txBody>
      </p:sp>
      <p:sp>
        <p:nvSpPr>
          <p:cNvPr id="2" name="Rettangolo con angoli arrotondati 1">
            <a:extLst>
              <a:ext uri="{FF2B5EF4-FFF2-40B4-BE49-F238E27FC236}">
                <a16:creationId xmlns:a16="http://schemas.microsoft.com/office/drawing/2014/main" id="{B166622D-77EE-4868-9371-1320853E7860}"/>
              </a:ext>
            </a:extLst>
          </p:cNvPr>
          <p:cNvSpPr/>
          <p:nvPr/>
        </p:nvSpPr>
        <p:spPr>
          <a:xfrm>
            <a:off x="9785406" y="2986616"/>
            <a:ext cx="1596390" cy="1014899"/>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00"/>
          </a:p>
        </p:txBody>
      </p:sp>
      <p:sp>
        <p:nvSpPr>
          <p:cNvPr id="7" name="CasellaDiTesto 6">
            <a:extLst>
              <a:ext uri="{FF2B5EF4-FFF2-40B4-BE49-F238E27FC236}">
                <a16:creationId xmlns:a16="http://schemas.microsoft.com/office/drawing/2014/main" id="{B9D68B4A-5DD5-B388-E408-9B9158EDB161}"/>
              </a:ext>
            </a:extLst>
          </p:cNvPr>
          <p:cNvSpPr txBox="1"/>
          <p:nvPr/>
        </p:nvSpPr>
        <p:spPr>
          <a:xfrm>
            <a:off x="9931807" y="3136939"/>
            <a:ext cx="1303588" cy="830997"/>
          </a:xfrm>
          <a:prstGeom prst="rect">
            <a:avLst/>
          </a:prstGeom>
          <a:noFill/>
        </p:spPr>
        <p:txBody>
          <a:bodyPr wrap="square" rtlCol="0">
            <a:spAutoFit/>
          </a:bodyPr>
          <a:lstStyle/>
          <a:p>
            <a:pPr algn="ctr"/>
            <a:r>
              <a:rPr lang="it-IT" sz="1600" b="1" dirty="0">
                <a:solidFill>
                  <a:schemeClr val="accent1"/>
                </a:solidFill>
                <a:hlinkClick r:id="rId3" action="ppaction://hlinksldjump"/>
              </a:rPr>
              <a:t>Vedi dettagli programma</a:t>
            </a:r>
            <a:endParaRPr lang="it-IT" sz="1600" b="1" dirty="0">
              <a:solidFill>
                <a:schemeClr val="accent1"/>
              </a:solidFill>
            </a:endParaRPr>
          </a:p>
        </p:txBody>
      </p:sp>
      <p:sp>
        <p:nvSpPr>
          <p:cNvPr id="8" name="Rettangolo con angoli arrotondati 7">
            <a:extLst>
              <a:ext uri="{FF2B5EF4-FFF2-40B4-BE49-F238E27FC236}">
                <a16:creationId xmlns:a16="http://schemas.microsoft.com/office/drawing/2014/main" id="{16D04B77-ED57-B4A5-0169-8AE6000C862E}"/>
              </a:ext>
            </a:extLst>
          </p:cNvPr>
          <p:cNvSpPr/>
          <p:nvPr/>
        </p:nvSpPr>
        <p:spPr>
          <a:xfrm>
            <a:off x="9785406" y="4216576"/>
            <a:ext cx="1596390" cy="819725"/>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00"/>
          </a:p>
        </p:txBody>
      </p:sp>
      <p:sp>
        <p:nvSpPr>
          <p:cNvPr id="9" name="CasellaDiTesto 8">
            <a:extLst>
              <a:ext uri="{FF2B5EF4-FFF2-40B4-BE49-F238E27FC236}">
                <a16:creationId xmlns:a16="http://schemas.microsoft.com/office/drawing/2014/main" id="{7974B22E-7CCF-3755-9387-479F6AC4B411}"/>
              </a:ext>
            </a:extLst>
          </p:cNvPr>
          <p:cNvSpPr txBox="1"/>
          <p:nvPr/>
        </p:nvSpPr>
        <p:spPr>
          <a:xfrm>
            <a:off x="9895242" y="4334050"/>
            <a:ext cx="1366207" cy="584775"/>
          </a:xfrm>
          <a:prstGeom prst="rect">
            <a:avLst/>
          </a:prstGeom>
          <a:noFill/>
        </p:spPr>
        <p:txBody>
          <a:bodyPr wrap="square" rtlCol="0">
            <a:spAutoFit/>
          </a:bodyPr>
          <a:lstStyle/>
          <a:p>
            <a:pPr algn="ctr"/>
            <a:r>
              <a:rPr lang="it-IT" sz="1600" b="1" dirty="0">
                <a:solidFill>
                  <a:schemeClr val="accent1"/>
                </a:solidFill>
                <a:hlinkClick r:id="rId4" action="ppaction://hlinksldjump"/>
              </a:rPr>
              <a:t>Vedi indice corsi</a:t>
            </a:r>
            <a:endParaRPr lang="it-IT" sz="1600" b="1" dirty="0">
              <a:solidFill>
                <a:schemeClr val="accent1"/>
              </a:solidFill>
            </a:endParaRPr>
          </a:p>
        </p:txBody>
      </p:sp>
      <p:pic>
        <p:nvPicPr>
          <p:cNvPr id="20" name="Immagine 19">
            <a:extLst>
              <a:ext uri="{FF2B5EF4-FFF2-40B4-BE49-F238E27FC236}">
                <a16:creationId xmlns:a16="http://schemas.microsoft.com/office/drawing/2014/main" id="{D89FF9F9-27E7-4000-A92B-3F4ECC626E7C}"/>
              </a:ext>
            </a:extLst>
          </p:cNvPr>
          <p:cNvPicPr>
            <a:picLocks noChangeAspect="1"/>
          </p:cNvPicPr>
          <p:nvPr/>
        </p:nvPicPr>
        <p:blipFill>
          <a:blip r:embed="rId5"/>
          <a:stretch>
            <a:fillRect/>
          </a:stretch>
        </p:blipFill>
        <p:spPr>
          <a:xfrm>
            <a:off x="327484" y="5784507"/>
            <a:ext cx="9567758" cy="1086724"/>
          </a:xfrm>
          <a:prstGeom prst="rect">
            <a:avLst/>
          </a:prstGeom>
        </p:spPr>
      </p:pic>
      <p:pic>
        <p:nvPicPr>
          <p:cNvPr id="21" name="Immagine 20">
            <a:extLst>
              <a:ext uri="{FF2B5EF4-FFF2-40B4-BE49-F238E27FC236}">
                <a16:creationId xmlns:a16="http://schemas.microsoft.com/office/drawing/2014/main" id="{B90F2541-560F-4D5B-8F8D-848DD6BABA01}"/>
              </a:ext>
            </a:extLst>
          </p:cNvPr>
          <p:cNvPicPr>
            <a:picLocks noChangeAspect="1"/>
          </p:cNvPicPr>
          <p:nvPr/>
        </p:nvPicPr>
        <p:blipFill>
          <a:blip r:embed="rId6"/>
          <a:stretch>
            <a:fillRect/>
          </a:stretch>
        </p:blipFill>
        <p:spPr>
          <a:xfrm>
            <a:off x="9898769" y="6182710"/>
            <a:ext cx="1378634" cy="340953"/>
          </a:xfrm>
          <a:prstGeom prst="rect">
            <a:avLst/>
          </a:prstGeom>
        </p:spPr>
      </p:pic>
    </p:spTree>
    <p:extLst>
      <p:ext uri="{BB962C8B-B14F-4D97-AF65-F5344CB8AC3E}">
        <p14:creationId xmlns:p14="http://schemas.microsoft.com/office/powerpoint/2010/main" val="228415700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asellaDiTesto 4">
            <a:extLst>
              <a:ext uri="{FF2B5EF4-FFF2-40B4-BE49-F238E27FC236}">
                <a16:creationId xmlns:a16="http://schemas.microsoft.com/office/drawing/2014/main" id="{250A24C3-6044-412A-B442-F28906FFC6B0}"/>
              </a:ext>
            </a:extLst>
          </p:cNvPr>
          <p:cNvSpPr txBox="1"/>
          <p:nvPr/>
        </p:nvSpPr>
        <p:spPr>
          <a:xfrm>
            <a:off x="810204" y="796012"/>
            <a:ext cx="6322079" cy="5229573"/>
          </a:xfrm>
          <a:prstGeom prst="rect">
            <a:avLst/>
          </a:prstGeom>
          <a:noFill/>
        </p:spPr>
        <p:txBody>
          <a:bodyPr wrap="square">
            <a:spAutoFit/>
          </a:bodyPr>
          <a:lstStyle/>
          <a:p>
            <a:pPr marL="342900" marR="0" indent="-342900" algn="l" defTabSz="914400" rtl="0" eaLnBrk="1" fontAlgn="auto" latinLnBrk="0" hangingPunct="1">
              <a:lnSpc>
                <a:spcPct val="150000"/>
              </a:lnSpc>
              <a:spcBef>
                <a:spcPts val="0"/>
              </a:spcBef>
              <a:spcAft>
                <a:spcPts val="0"/>
              </a:spcAft>
              <a:buClr>
                <a:srgbClr val="DB4D69"/>
              </a:buClr>
              <a:buSzTx/>
              <a:buFont typeface="+mj-lt"/>
              <a:buAutoNum type="arabicPeriod"/>
              <a:tabLst/>
            </a:pPr>
            <a:r>
              <a:rPr lang="it-IT" sz="1350" spc="-15" dirty="0">
                <a:hlinkClick r:id="rId2" action="ppaction://hlinksldjump">
                  <a:extLst>
                    <a:ext uri="{A12FA001-AC4F-418D-AE19-62706E023703}">
                      <ahyp:hlinkClr xmlns:ahyp="http://schemas.microsoft.com/office/drawing/2018/hyperlinkcolor" val="tx"/>
                    </a:ext>
                  </a:extLst>
                </a:hlinkClick>
              </a:rPr>
              <a:t>CORSO CONFEZIONAMENTO DEI PRODOTTI ALIMENTARI</a:t>
            </a:r>
            <a:endParaRPr lang="it-IT" sz="1350" spc="-15" dirty="0"/>
          </a:p>
          <a:p>
            <a:pPr marL="342900" marR="0" indent="-342900" algn="l" defTabSz="914400" rtl="0" eaLnBrk="1" fontAlgn="auto" latinLnBrk="0" hangingPunct="1">
              <a:lnSpc>
                <a:spcPct val="150000"/>
              </a:lnSpc>
              <a:spcBef>
                <a:spcPts val="0"/>
              </a:spcBef>
              <a:spcAft>
                <a:spcPts val="0"/>
              </a:spcAft>
              <a:buClr>
                <a:srgbClr val="DB4D69"/>
              </a:buClr>
              <a:buSzTx/>
              <a:buFont typeface="+mj-lt"/>
              <a:buAutoNum type="arabicPeriod"/>
              <a:tabLst/>
            </a:pPr>
            <a:r>
              <a:rPr lang="it-IT" sz="1350" spc="-15" dirty="0">
                <a:hlinkClick r:id="rId3" action="ppaction://hlinksldjump">
                  <a:extLst>
                    <a:ext uri="{A12FA001-AC4F-418D-AE19-62706E023703}">
                      <ahyp:hlinkClr xmlns:ahyp="http://schemas.microsoft.com/office/drawing/2018/hyperlinkcolor" val="tx"/>
                    </a:ext>
                  </a:extLst>
                </a:hlinkClick>
              </a:rPr>
              <a:t>CORSO GESTIONE DEL SERVIZIO AI PIANI NELLE STRUTTURE RICETTIVE </a:t>
            </a:r>
            <a:endParaRPr lang="it-IT" sz="1350" spc="-15" dirty="0"/>
          </a:p>
          <a:p>
            <a:pPr marL="342900" marR="0" indent="-342900" algn="l" defTabSz="914400" rtl="0" eaLnBrk="1" fontAlgn="auto" latinLnBrk="0" hangingPunct="1">
              <a:lnSpc>
                <a:spcPct val="150000"/>
              </a:lnSpc>
              <a:spcBef>
                <a:spcPts val="0"/>
              </a:spcBef>
              <a:spcAft>
                <a:spcPts val="0"/>
              </a:spcAft>
              <a:buClr>
                <a:srgbClr val="DB4D69"/>
              </a:buClr>
              <a:buSzTx/>
              <a:buFont typeface="+mj-lt"/>
              <a:buAutoNum type="arabicPeriod"/>
              <a:tabLst/>
            </a:pPr>
            <a:r>
              <a:rPr lang="it-IT" sz="1350" spc="-15" dirty="0">
                <a:hlinkClick r:id="rId4" action="ppaction://hlinksldjump">
                  <a:extLst>
                    <a:ext uri="{A12FA001-AC4F-418D-AE19-62706E023703}">
                      <ahyp:hlinkClr xmlns:ahyp="http://schemas.microsoft.com/office/drawing/2018/hyperlinkcolor" val="tx"/>
                    </a:ext>
                  </a:extLst>
                </a:hlinkClick>
              </a:rPr>
              <a:t>CORSO AMMINISTRAZIONE E CONTABILITÀ</a:t>
            </a:r>
            <a:endParaRPr lang="it-IT" sz="1350" spc="-15" dirty="0"/>
          </a:p>
          <a:p>
            <a:pPr marL="342900" marR="0" indent="-342900" algn="l" defTabSz="914400" rtl="0" eaLnBrk="1" fontAlgn="auto" latinLnBrk="0" hangingPunct="1">
              <a:lnSpc>
                <a:spcPct val="150000"/>
              </a:lnSpc>
              <a:spcBef>
                <a:spcPts val="0"/>
              </a:spcBef>
              <a:spcAft>
                <a:spcPts val="0"/>
              </a:spcAft>
              <a:buClr>
                <a:srgbClr val="DB4D69"/>
              </a:buClr>
              <a:buSzTx/>
              <a:buFont typeface="+mj-lt"/>
              <a:buAutoNum type="arabicPeriod"/>
              <a:tabLst/>
            </a:pPr>
            <a:r>
              <a:rPr lang="it-IT" sz="1350" spc="-15" dirty="0">
                <a:hlinkClick r:id="rId5" action="ppaction://hlinksldjump">
                  <a:extLst>
                    <a:ext uri="{A12FA001-AC4F-418D-AE19-62706E023703}">
                      <ahyp:hlinkClr xmlns:ahyp="http://schemas.microsoft.com/office/drawing/2018/hyperlinkcolor" val="tx"/>
                    </a:ext>
                  </a:extLst>
                </a:hlinkClick>
              </a:rPr>
              <a:t>CORSO CURA E PULIZIA DEGLI SPAZI E AMBIENTI</a:t>
            </a:r>
            <a:endParaRPr lang="it-IT" sz="1350" spc="-15" dirty="0"/>
          </a:p>
          <a:p>
            <a:pPr marL="342900" marR="0" indent="-342900" algn="l" defTabSz="914400" rtl="0" eaLnBrk="1" fontAlgn="auto" latinLnBrk="0" hangingPunct="1">
              <a:lnSpc>
                <a:spcPct val="150000"/>
              </a:lnSpc>
              <a:spcBef>
                <a:spcPts val="0"/>
              </a:spcBef>
              <a:spcAft>
                <a:spcPts val="0"/>
              </a:spcAft>
              <a:buClr>
                <a:srgbClr val="DB4D69"/>
              </a:buClr>
              <a:buSzTx/>
              <a:buFont typeface="+mj-lt"/>
              <a:buAutoNum type="arabicPeriod"/>
              <a:tabLst/>
            </a:pPr>
            <a:r>
              <a:rPr lang="it-IT" sz="1350" spc="-15" dirty="0">
                <a:hlinkClick r:id="rId6" action="ppaction://hlinksldjump">
                  <a:extLst>
                    <a:ext uri="{A12FA001-AC4F-418D-AE19-62706E023703}">
                      <ahyp:hlinkClr xmlns:ahyp="http://schemas.microsoft.com/office/drawing/2018/hyperlinkcolor" val="tx"/>
                    </a:ext>
                  </a:extLst>
                </a:hlinkClick>
              </a:rPr>
              <a:t>CORSO AMMINISTRAZIONE E SEGRETERIA</a:t>
            </a:r>
            <a:endParaRPr lang="it-IT" sz="1350" spc="-15" dirty="0"/>
          </a:p>
          <a:p>
            <a:pPr marL="342900" marR="0" indent="-342900" algn="l" defTabSz="914400" rtl="0" eaLnBrk="1" fontAlgn="auto" latinLnBrk="0" hangingPunct="1">
              <a:lnSpc>
                <a:spcPct val="150000"/>
              </a:lnSpc>
              <a:spcBef>
                <a:spcPts val="0"/>
              </a:spcBef>
              <a:spcAft>
                <a:spcPts val="0"/>
              </a:spcAft>
              <a:buClr>
                <a:srgbClr val="DB4D69"/>
              </a:buClr>
              <a:buSzTx/>
              <a:buFont typeface="+mj-lt"/>
              <a:buAutoNum type="arabicPeriod"/>
              <a:tabLst/>
            </a:pPr>
            <a:r>
              <a:rPr lang="it-IT" sz="1350" spc="-15" dirty="0">
                <a:hlinkClick r:id="rId7" action="ppaction://hlinksldjump">
                  <a:extLst>
                    <a:ext uri="{A12FA001-AC4F-418D-AE19-62706E023703}">
                      <ahyp:hlinkClr xmlns:ahyp="http://schemas.microsoft.com/office/drawing/2018/hyperlinkcolor" val="tx"/>
                    </a:ext>
                  </a:extLst>
                </a:hlinkClick>
              </a:rPr>
              <a:t>CORSO AMMINISTRAZIONE DEL PERSONALE</a:t>
            </a:r>
            <a:endParaRPr lang="it-IT" sz="1350" spc="-15" dirty="0"/>
          </a:p>
          <a:p>
            <a:pPr marL="342900" marR="0" indent="-342900" algn="l" defTabSz="914400" rtl="0" eaLnBrk="1" fontAlgn="auto" latinLnBrk="0" hangingPunct="1">
              <a:lnSpc>
                <a:spcPct val="150000"/>
              </a:lnSpc>
              <a:spcBef>
                <a:spcPts val="0"/>
              </a:spcBef>
              <a:spcAft>
                <a:spcPts val="0"/>
              </a:spcAft>
              <a:buClr>
                <a:srgbClr val="DB4D69"/>
              </a:buClr>
              <a:buSzTx/>
              <a:buFont typeface="+mj-lt"/>
              <a:buAutoNum type="arabicPeriod"/>
              <a:tabLst/>
            </a:pPr>
            <a:r>
              <a:rPr lang="it-IT" sz="1350" spc="-15" dirty="0">
                <a:hlinkClick r:id="rId8" action="ppaction://hlinksldjump">
                  <a:extLst>
                    <a:ext uri="{A12FA001-AC4F-418D-AE19-62706E023703}">
                      <ahyp:hlinkClr xmlns:ahyp="http://schemas.microsoft.com/office/drawing/2018/hyperlinkcolor" val="tx"/>
                    </a:ext>
                  </a:extLst>
                </a:hlinkClick>
              </a:rPr>
              <a:t>CORSO PROGRAMMAZIONE E RECLUTAMENTO DELLE RISORSE UMANE</a:t>
            </a:r>
            <a:endParaRPr lang="it-IT" sz="1350" spc="-15" dirty="0"/>
          </a:p>
          <a:p>
            <a:pPr marL="342900" marR="0" indent="-342900" algn="l" defTabSz="914400" rtl="0" eaLnBrk="1" fontAlgn="auto" latinLnBrk="0" hangingPunct="1">
              <a:lnSpc>
                <a:spcPct val="150000"/>
              </a:lnSpc>
              <a:spcBef>
                <a:spcPts val="0"/>
              </a:spcBef>
              <a:spcAft>
                <a:spcPts val="0"/>
              </a:spcAft>
              <a:buClr>
                <a:srgbClr val="DB4D69"/>
              </a:buClr>
              <a:buSzTx/>
              <a:buFont typeface="+mj-lt"/>
              <a:buAutoNum type="arabicPeriod"/>
              <a:tabLst/>
            </a:pPr>
            <a:r>
              <a:rPr lang="it-IT" sz="1350" spc="-15" dirty="0">
                <a:hlinkClick r:id="rId9" action="ppaction://hlinksldjump">
                  <a:extLst>
                    <a:ext uri="{A12FA001-AC4F-418D-AE19-62706E023703}">
                      <ahyp:hlinkClr xmlns:ahyp="http://schemas.microsoft.com/office/drawing/2018/hyperlinkcolor" val="tx"/>
                    </a:ext>
                  </a:extLst>
                </a:hlinkClick>
              </a:rPr>
              <a:t>CORSO CUSTOMER SERVICE</a:t>
            </a:r>
            <a:endParaRPr lang="it-IT" sz="1350" spc="-15" dirty="0"/>
          </a:p>
          <a:p>
            <a:pPr marL="342900" marR="0" indent="-342900" algn="l" defTabSz="914400" rtl="0" eaLnBrk="1" fontAlgn="auto" latinLnBrk="0" hangingPunct="1">
              <a:lnSpc>
                <a:spcPct val="150000"/>
              </a:lnSpc>
              <a:spcBef>
                <a:spcPts val="0"/>
              </a:spcBef>
              <a:spcAft>
                <a:spcPts val="0"/>
              </a:spcAft>
              <a:buClr>
                <a:srgbClr val="DB4D69"/>
              </a:buClr>
              <a:buSzTx/>
              <a:buFont typeface="+mj-lt"/>
              <a:buAutoNum type="arabicPeriod"/>
              <a:tabLst/>
            </a:pPr>
            <a:r>
              <a:rPr lang="it-IT" sz="1350" spc="-15" dirty="0">
                <a:hlinkClick r:id="rId10" action="ppaction://hlinksldjump">
                  <a:extLst>
                    <a:ext uri="{A12FA001-AC4F-418D-AE19-62706E023703}">
                      <ahyp:hlinkClr xmlns:ahyp="http://schemas.microsoft.com/office/drawing/2018/hyperlinkcolor" val="tx"/>
                    </a:ext>
                  </a:extLst>
                </a:hlinkClick>
              </a:rPr>
              <a:t>CORSO ORGANIZZAZIONE EVENTI</a:t>
            </a:r>
            <a:endParaRPr lang="it-IT" sz="1350" spc="-15" dirty="0"/>
          </a:p>
          <a:p>
            <a:pPr marL="342900" marR="0" indent="-342900" algn="l" defTabSz="914400" rtl="0" eaLnBrk="1" fontAlgn="auto" latinLnBrk="0" hangingPunct="1">
              <a:lnSpc>
                <a:spcPct val="150000"/>
              </a:lnSpc>
              <a:spcBef>
                <a:spcPts val="0"/>
              </a:spcBef>
              <a:spcAft>
                <a:spcPts val="0"/>
              </a:spcAft>
              <a:buClr>
                <a:srgbClr val="DB4D69"/>
              </a:buClr>
              <a:buSzTx/>
              <a:buFont typeface="+mj-lt"/>
              <a:buAutoNum type="arabicPeriod"/>
              <a:tabLst/>
            </a:pPr>
            <a:r>
              <a:rPr lang="it-IT" sz="1350" spc="-15" dirty="0">
                <a:hlinkClick r:id="rId11" action="ppaction://hlinksldjump">
                  <a:extLst>
                    <a:ext uri="{A12FA001-AC4F-418D-AE19-62706E023703}">
                      <ahyp:hlinkClr xmlns:ahyp="http://schemas.microsoft.com/office/drawing/2018/hyperlinkcolor" val="tx"/>
                    </a:ext>
                  </a:extLst>
                </a:hlinkClick>
              </a:rPr>
              <a:t>CORSO E-COMMERCE</a:t>
            </a:r>
            <a:endParaRPr lang="it-IT" sz="1350" spc="-15" dirty="0"/>
          </a:p>
          <a:p>
            <a:pPr marL="342900" marR="0" indent="-342900" algn="l" defTabSz="914400" rtl="0" eaLnBrk="1" fontAlgn="auto" latinLnBrk="0" hangingPunct="1">
              <a:lnSpc>
                <a:spcPct val="150000"/>
              </a:lnSpc>
              <a:spcBef>
                <a:spcPts val="0"/>
              </a:spcBef>
              <a:spcAft>
                <a:spcPts val="0"/>
              </a:spcAft>
              <a:buClr>
                <a:srgbClr val="DB4D69"/>
              </a:buClr>
              <a:buSzTx/>
              <a:buFont typeface="+mj-lt"/>
              <a:buAutoNum type="arabicPeriod"/>
              <a:tabLst/>
            </a:pPr>
            <a:r>
              <a:rPr lang="it-IT" sz="1350" spc="-15" dirty="0">
                <a:hlinkClick r:id="rId12" action="ppaction://hlinksldjump">
                  <a:extLst>
                    <a:ext uri="{A12FA001-AC4F-418D-AE19-62706E023703}">
                      <ahyp:hlinkClr xmlns:ahyp="http://schemas.microsoft.com/office/drawing/2018/hyperlinkcolor" val="tx"/>
                    </a:ext>
                  </a:extLst>
                </a:hlinkClick>
              </a:rPr>
              <a:t>CORSO COMUNICAZIONE E PROMOZIONE</a:t>
            </a:r>
            <a:endParaRPr lang="it-IT" sz="1350" spc="-15" dirty="0"/>
          </a:p>
          <a:p>
            <a:pPr marL="342900" marR="0" indent="-342900" algn="l" defTabSz="914400" rtl="0" eaLnBrk="1" fontAlgn="auto" latinLnBrk="0" hangingPunct="1">
              <a:lnSpc>
                <a:spcPct val="150000"/>
              </a:lnSpc>
              <a:spcBef>
                <a:spcPts val="0"/>
              </a:spcBef>
              <a:spcAft>
                <a:spcPts val="0"/>
              </a:spcAft>
              <a:buClr>
                <a:srgbClr val="DB4D69"/>
              </a:buClr>
              <a:buSzTx/>
              <a:buFont typeface="+mj-lt"/>
              <a:buAutoNum type="arabicPeriod"/>
              <a:tabLst/>
            </a:pPr>
            <a:r>
              <a:rPr lang="it-IT" sz="1350" spc="-15" dirty="0">
                <a:hlinkClick r:id="rId13" action="ppaction://hlinksldjump">
                  <a:extLst>
                    <a:ext uri="{A12FA001-AC4F-418D-AE19-62706E023703}">
                      <ahyp:hlinkClr xmlns:ahyp="http://schemas.microsoft.com/office/drawing/2018/hyperlinkcolor" val="tx"/>
                    </a:ext>
                  </a:extLst>
                </a:hlinkClick>
              </a:rPr>
              <a:t>CORSO OPERATORE DI CALL CENTER</a:t>
            </a:r>
            <a:endParaRPr lang="it-IT" sz="1350" spc="-15" dirty="0"/>
          </a:p>
          <a:p>
            <a:pPr marL="342900" marR="0" indent="-342900" algn="l" defTabSz="914400" rtl="0" eaLnBrk="1" fontAlgn="auto" latinLnBrk="0" hangingPunct="1">
              <a:lnSpc>
                <a:spcPct val="150000"/>
              </a:lnSpc>
              <a:spcBef>
                <a:spcPts val="0"/>
              </a:spcBef>
              <a:spcAft>
                <a:spcPts val="0"/>
              </a:spcAft>
              <a:buClr>
                <a:srgbClr val="DB4D69"/>
              </a:buClr>
              <a:buSzTx/>
              <a:buFont typeface="+mj-lt"/>
              <a:buAutoNum type="arabicPeriod"/>
              <a:tabLst/>
            </a:pPr>
            <a:r>
              <a:rPr lang="it-IT" sz="1350" spc="-15" dirty="0">
                <a:hlinkClick r:id="rId14" action="ppaction://hlinksldjump">
                  <a:extLst>
                    <a:ext uri="{A12FA001-AC4F-418D-AE19-62706E023703}">
                      <ahyp:hlinkClr xmlns:ahyp="http://schemas.microsoft.com/office/drawing/2018/hyperlinkcolor" val="tx"/>
                    </a:ext>
                  </a:extLst>
                </a:hlinkClick>
              </a:rPr>
              <a:t>CORSO OPERATORE LOGISTICA E MAGAZZINO</a:t>
            </a:r>
            <a:endParaRPr lang="it-IT" sz="1350" spc="-15" dirty="0"/>
          </a:p>
          <a:p>
            <a:pPr marL="342900" marR="0" indent="-342900" algn="l" defTabSz="914400" rtl="0" eaLnBrk="1" fontAlgn="auto" latinLnBrk="0" hangingPunct="1">
              <a:lnSpc>
                <a:spcPct val="150000"/>
              </a:lnSpc>
              <a:spcBef>
                <a:spcPts val="0"/>
              </a:spcBef>
              <a:spcAft>
                <a:spcPts val="0"/>
              </a:spcAft>
              <a:buClr>
                <a:srgbClr val="DB4D69"/>
              </a:buClr>
              <a:buSzTx/>
              <a:buFont typeface="+mj-lt"/>
              <a:buAutoNum type="arabicPeriod"/>
              <a:tabLst/>
            </a:pPr>
            <a:r>
              <a:rPr lang="it-IT" sz="1350" spc="-15" dirty="0">
                <a:hlinkClick r:id="rId15" action="ppaction://hlinksldjump">
                  <a:extLst>
                    <a:ext uri="{A12FA001-AC4F-418D-AE19-62706E023703}">
                      <ahyp:hlinkClr xmlns:ahyp="http://schemas.microsoft.com/office/drawing/2018/hyperlinkcolor" val="tx"/>
                    </a:ext>
                  </a:extLst>
                </a:hlinkClick>
              </a:rPr>
              <a:t>CORSO OPERATORE MECCANICO</a:t>
            </a:r>
            <a:endParaRPr lang="it-IT" sz="1350" spc="-15" dirty="0"/>
          </a:p>
          <a:p>
            <a:pPr marL="342900" marR="0" indent="-342900" algn="l" defTabSz="914400" rtl="0" eaLnBrk="1" fontAlgn="auto" latinLnBrk="0" hangingPunct="1">
              <a:lnSpc>
                <a:spcPct val="150000"/>
              </a:lnSpc>
              <a:spcBef>
                <a:spcPts val="0"/>
              </a:spcBef>
              <a:spcAft>
                <a:spcPts val="0"/>
              </a:spcAft>
              <a:buClr>
                <a:srgbClr val="DB4D69"/>
              </a:buClr>
              <a:buSzTx/>
              <a:buFont typeface="+mj-lt"/>
              <a:buAutoNum type="arabicPeriod"/>
              <a:tabLst/>
            </a:pPr>
            <a:r>
              <a:rPr lang="it-IT" sz="1350" spc="-15" dirty="0">
                <a:hlinkClick r:id="rId16" action="ppaction://hlinksldjump">
                  <a:extLst>
                    <a:ext uri="{A12FA001-AC4F-418D-AE19-62706E023703}">
                      <ahyp:hlinkClr xmlns:ahyp="http://schemas.microsoft.com/office/drawing/2018/hyperlinkcolor" val="tx"/>
                    </a:ext>
                  </a:extLst>
                </a:hlinkClick>
              </a:rPr>
              <a:t>CORSO OPERATORE DI SISTEMI ELETTRICI</a:t>
            </a:r>
            <a:endParaRPr lang="it-IT" sz="1350" spc="-15" dirty="0"/>
          </a:p>
          <a:p>
            <a:pPr marL="342900" marR="0" indent="-342900" algn="l" defTabSz="914400" rtl="0" eaLnBrk="1" fontAlgn="auto" latinLnBrk="0" hangingPunct="1">
              <a:lnSpc>
                <a:spcPct val="150000"/>
              </a:lnSpc>
              <a:spcBef>
                <a:spcPts val="0"/>
              </a:spcBef>
              <a:spcAft>
                <a:spcPts val="0"/>
              </a:spcAft>
              <a:buClr>
                <a:srgbClr val="DB4D69"/>
              </a:buClr>
              <a:buSzTx/>
              <a:buFont typeface="+mj-lt"/>
              <a:buAutoNum type="arabicPeriod"/>
              <a:tabLst/>
            </a:pPr>
            <a:r>
              <a:rPr lang="it-IT" sz="1350" spc="-15" dirty="0">
                <a:hlinkClick r:id="rId17" action="ppaction://hlinksldjump">
                  <a:extLst>
                    <a:ext uri="{A12FA001-AC4F-418D-AE19-62706E023703}">
                      <ahyp:hlinkClr xmlns:ahyp="http://schemas.microsoft.com/office/drawing/2018/hyperlinkcolor" val="tx"/>
                    </a:ext>
                  </a:extLst>
                </a:hlinkClick>
              </a:rPr>
              <a:t>CORSO LOGISTICA INTEGRATA</a:t>
            </a:r>
            <a:endParaRPr lang="it-IT" sz="1350" spc="-15" dirty="0"/>
          </a:p>
        </p:txBody>
      </p:sp>
      <p:sp>
        <p:nvSpPr>
          <p:cNvPr id="6" name="CasellaDiTesto 5">
            <a:extLst>
              <a:ext uri="{FF2B5EF4-FFF2-40B4-BE49-F238E27FC236}">
                <a16:creationId xmlns:a16="http://schemas.microsoft.com/office/drawing/2014/main" id="{C385CEB6-4C55-4B40-8AB7-78AF849E2D6E}"/>
              </a:ext>
            </a:extLst>
          </p:cNvPr>
          <p:cNvSpPr txBox="1"/>
          <p:nvPr/>
        </p:nvSpPr>
        <p:spPr>
          <a:xfrm>
            <a:off x="2360041" y="214355"/>
            <a:ext cx="7471917" cy="830997"/>
          </a:xfrm>
          <a:prstGeom prst="rect">
            <a:avLst/>
          </a:prstGeom>
          <a:noFill/>
        </p:spPr>
        <p:txBody>
          <a:bodyPr wrap="none" rtlCol="0">
            <a:spAutoFit/>
          </a:bodyPr>
          <a:lstStyle/>
          <a:p>
            <a:pPr algn="ctr"/>
            <a:r>
              <a:rPr lang="it-IT" sz="2400" b="1" spc="-15" dirty="0">
                <a:solidFill>
                  <a:schemeClr val="accent1"/>
                </a:solidFill>
              </a:rPr>
              <a:t>IL CATALOGO FORMATIVO </a:t>
            </a:r>
            <a:r>
              <a:rPr lang="it-IT" sz="2400" b="1" dirty="0">
                <a:solidFill>
                  <a:schemeClr val="accent1"/>
                </a:solidFill>
                <a:ea typeface="Arial" charset="0"/>
                <a:cs typeface="Arial" charset="0"/>
              </a:rPr>
              <a:t>– Aggiornamento </a:t>
            </a:r>
            <a:r>
              <a:rPr lang="it-IT" sz="2400" b="1" dirty="0">
                <a:solidFill>
                  <a:schemeClr val="accent1"/>
                </a:solidFill>
              </a:rPr>
              <a:t>“</a:t>
            </a:r>
            <a:r>
              <a:rPr lang="it-IT" sz="2400" b="1" i="1" dirty="0" err="1">
                <a:solidFill>
                  <a:schemeClr val="accent1"/>
                </a:solidFill>
              </a:rPr>
              <a:t>Upskilling</a:t>
            </a:r>
            <a:r>
              <a:rPr lang="it-IT" sz="2400" b="1" dirty="0">
                <a:solidFill>
                  <a:schemeClr val="accent1"/>
                </a:solidFill>
              </a:rPr>
              <a:t>”</a:t>
            </a:r>
            <a:endParaRPr lang="it-IT" sz="2400" b="1" dirty="0">
              <a:solidFill>
                <a:schemeClr val="accent1"/>
              </a:solidFill>
              <a:ea typeface="Arial" charset="0"/>
              <a:cs typeface="Arial" charset="0"/>
            </a:endParaRPr>
          </a:p>
          <a:p>
            <a:pPr marL="0" marR="0" indent="0" algn="ctr" defTabSz="914400" rtl="0" eaLnBrk="1" fontAlgn="auto" latinLnBrk="0" hangingPunct="1">
              <a:lnSpc>
                <a:spcPct val="100000"/>
              </a:lnSpc>
              <a:spcBef>
                <a:spcPts val="0"/>
              </a:spcBef>
              <a:spcAft>
                <a:spcPts val="0"/>
              </a:spcAft>
              <a:buClrTx/>
              <a:buSzTx/>
              <a:buFontTx/>
              <a:buNone/>
              <a:tabLst/>
            </a:pPr>
            <a:endParaRPr lang="it-IT" sz="2400" b="1" spc="-15" dirty="0">
              <a:solidFill>
                <a:schemeClr val="accent1"/>
              </a:solidFill>
            </a:endParaRPr>
          </a:p>
        </p:txBody>
      </p:sp>
      <p:pic>
        <p:nvPicPr>
          <p:cNvPr id="9" name="Elemento grafico 8" descr="Aula con riempimento a tinta unita">
            <a:extLst>
              <a:ext uri="{FF2B5EF4-FFF2-40B4-BE49-F238E27FC236}">
                <a16:creationId xmlns:a16="http://schemas.microsoft.com/office/drawing/2014/main" id="{0E3FCA00-F378-4483-9F06-FF0B1E3BFC5D}"/>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7438213" y="1670240"/>
            <a:ext cx="3260479" cy="3260479"/>
          </a:xfrm>
          <a:prstGeom prst="rect">
            <a:avLst/>
          </a:prstGeom>
        </p:spPr>
      </p:pic>
      <p:pic>
        <p:nvPicPr>
          <p:cNvPr id="8" name="Immagine 7">
            <a:extLst>
              <a:ext uri="{FF2B5EF4-FFF2-40B4-BE49-F238E27FC236}">
                <a16:creationId xmlns:a16="http://schemas.microsoft.com/office/drawing/2014/main" id="{8AEBFA79-490B-45F1-A001-E03BC9C87032}"/>
              </a:ext>
            </a:extLst>
          </p:cNvPr>
          <p:cNvPicPr>
            <a:picLocks noChangeAspect="1"/>
          </p:cNvPicPr>
          <p:nvPr/>
        </p:nvPicPr>
        <p:blipFill>
          <a:blip r:embed="rId20"/>
          <a:stretch>
            <a:fillRect/>
          </a:stretch>
        </p:blipFill>
        <p:spPr>
          <a:xfrm>
            <a:off x="327484" y="5784507"/>
            <a:ext cx="9567758" cy="1086724"/>
          </a:xfrm>
          <a:prstGeom prst="rect">
            <a:avLst/>
          </a:prstGeom>
        </p:spPr>
      </p:pic>
      <p:pic>
        <p:nvPicPr>
          <p:cNvPr id="10" name="Immagine 9">
            <a:extLst>
              <a:ext uri="{FF2B5EF4-FFF2-40B4-BE49-F238E27FC236}">
                <a16:creationId xmlns:a16="http://schemas.microsoft.com/office/drawing/2014/main" id="{956CFD32-6DA3-41E6-A3D7-645C4ACEB06D}"/>
              </a:ext>
            </a:extLst>
          </p:cNvPr>
          <p:cNvPicPr>
            <a:picLocks noChangeAspect="1"/>
          </p:cNvPicPr>
          <p:nvPr/>
        </p:nvPicPr>
        <p:blipFill>
          <a:blip r:embed="rId21"/>
          <a:stretch>
            <a:fillRect/>
          </a:stretch>
        </p:blipFill>
        <p:spPr>
          <a:xfrm>
            <a:off x="9898769" y="6182710"/>
            <a:ext cx="1378634" cy="340953"/>
          </a:xfrm>
          <a:prstGeom prst="rect">
            <a:avLst/>
          </a:prstGeom>
        </p:spPr>
      </p:pic>
    </p:spTree>
    <p:extLst>
      <p:ext uri="{BB962C8B-B14F-4D97-AF65-F5344CB8AC3E}">
        <p14:creationId xmlns:p14="http://schemas.microsoft.com/office/powerpoint/2010/main" val="40465056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object 11"/>
          <p:cNvSpPr txBox="1"/>
          <p:nvPr/>
        </p:nvSpPr>
        <p:spPr>
          <a:xfrm>
            <a:off x="11596613" y="154633"/>
            <a:ext cx="302895" cy="604520"/>
          </a:xfrm>
          <a:prstGeom prst="rect">
            <a:avLst/>
          </a:prstGeom>
        </p:spPr>
        <p:txBody>
          <a:bodyPr vert="horz" wrap="square" lIns="0" tIns="12700" rIns="0" bIns="0" rtlCol="0">
            <a:spAutoFit/>
          </a:bodyPr>
          <a:lstStyle/>
          <a:p>
            <a:pPr marL="12700">
              <a:lnSpc>
                <a:spcPct val="100000"/>
              </a:lnSpc>
              <a:spcBef>
                <a:spcPts val="100"/>
              </a:spcBef>
            </a:pPr>
            <a:r>
              <a:rPr lang="it-IT" sz="3800" b="1" dirty="0">
                <a:solidFill>
                  <a:srgbClr val="FFFFFF"/>
                </a:solidFill>
                <a:cs typeface="Roboto"/>
              </a:rPr>
              <a:t>1</a:t>
            </a:r>
            <a:endParaRPr lang="it-IT" sz="3800">
              <a:cs typeface="Roboto"/>
            </a:endParaRPr>
          </a:p>
        </p:txBody>
      </p:sp>
      <p:sp>
        <p:nvSpPr>
          <p:cNvPr id="10" name="object 7">
            <a:extLst>
              <a:ext uri="{FF2B5EF4-FFF2-40B4-BE49-F238E27FC236}">
                <a16:creationId xmlns:a16="http://schemas.microsoft.com/office/drawing/2014/main" id="{3DF44889-C59A-4D21-B235-9B49EAE330A8}"/>
              </a:ext>
            </a:extLst>
          </p:cNvPr>
          <p:cNvSpPr txBox="1"/>
          <p:nvPr/>
        </p:nvSpPr>
        <p:spPr>
          <a:xfrm>
            <a:off x="327484" y="1745582"/>
            <a:ext cx="9663094" cy="4107663"/>
          </a:xfrm>
          <a:prstGeom prst="rect">
            <a:avLst/>
          </a:prstGeom>
        </p:spPr>
        <p:txBody>
          <a:bodyPr vert="horz" wrap="square" lIns="0" tIns="173990" rIns="0" bIns="0" rtlCol="0">
            <a:spAutoFit/>
          </a:bodyPr>
          <a:lstStyle/>
          <a:p>
            <a:pPr marL="342900" marR="5080" indent="-342900">
              <a:lnSpc>
                <a:spcPct val="101600"/>
              </a:lnSpc>
              <a:spcBef>
                <a:spcPts val="985"/>
              </a:spcBef>
              <a:buFont typeface="Arial" panose="020B0604020202020204" pitchFamily="34" charset="0"/>
              <a:buChar char="•"/>
            </a:pPr>
            <a:r>
              <a:rPr lang="it-IT" sz="1600" dirty="0">
                <a:ea typeface="Times New Roman" panose="02020603050405020304" pitchFamily="18" charset="0"/>
                <a:cs typeface="Calibri" panose="020F0502020204030204" pitchFamily="34" charset="0"/>
              </a:rPr>
              <a:t>Lettura e  corretta interpretazione di  un disegno meccanico</a:t>
            </a:r>
          </a:p>
          <a:p>
            <a:pPr marL="342900" marR="5080" indent="-342900">
              <a:lnSpc>
                <a:spcPct val="101600"/>
              </a:lnSpc>
              <a:spcBef>
                <a:spcPts val="985"/>
              </a:spcBef>
              <a:buFont typeface="Arial" panose="020B0604020202020204" pitchFamily="34" charset="0"/>
              <a:buChar char="•"/>
            </a:pPr>
            <a:r>
              <a:rPr lang="it-IT" sz="1600" dirty="0">
                <a:ea typeface="Times New Roman" panose="02020603050405020304" pitchFamily="18" charset="0"/>
                <a:cs typeface="Calibri" panose="020F0502020204030204" pitchFamily="34" charset="0"/>
              </a:rPr>
              <a:t>Utilizzo strumenti di misura</a:t>
            </a:r>
          </a:p>
          <a:p>
            <a:pPr marL="342900" marR="5080" indent="-342900">
              <a:lnSpc>
                <a:spcPct val="101600"/>
              </a:lnSpc>
              <a:spcBef>
                <a:spcPts val="985"/>
              </a:spcBef>
              <a:buFont typeface="Arial" panose="020B0604020202020204" pitchFamily="34" charset="0"/>
              <a:buChar char="•"/>
            </a:pPr>
            <a:r>
              <a:rPr lang="de-DE" sz="1600" dirty="0" err="1">
                <a:ea typeface="Times New Roman" panose="02020603050405020304" pitchFamily="18" charset="0"/>
                <a:cs typeface="Calibri" panose="020F0502020204030204" pitchFamily="34" charset="0"/>
              </a:rPr>
              <a:t>Utilizzo</a:t>
            </a:r>
            <a:r>
              <a:rPr lang="de-DE" sz="1600" dirty="0">
                <a:ea typeface="Times New Roman" panose="02020603050405020304" pitchFamily="18" charset="0"/>
                <a:cs typeface="Calibri" panose="020F0502020204030204" pitchFamily="34" charset="0"/>
              </a:rPr>
              <a:t> </a:t>
            </a:r>
            <a:r>
              <a:rPr lang="de-DE" sz="1600" dirty="0" err="1">
                <a:ea typeface="Times New Roman" panose="02020603050405020304" pitchFamily="18" charset="0"/>
                <a:cs typeface="Calibri" panose="020F0502020204030204" pitchFamily="34" charset="0"/>
              </a:rPr>
              <a:t>utensili</a:t>
            </a:r>
            <a:r>
              <a:rPr lang="de-DE" sz="1600" dirty="0">
                <a:ea typeface="Times New Roman" panose="02020603050405020304" pitchFamily="18" charset="0"/>
                <a:cs typeface="Calibri" panose="020F0502020204030204" pitchFamily="34" charset="0"/>
              </a:rPr>
              <a:t> per </a:t>
            </a:r>
            <a:r>
              <a:rPr lang="de-DE" sz="1600" dirty="0" err="1">
                <a:ea typeface="Times New Roman" panose="02020603050405020304" pitchFamily="18" charset="0"/>
                <a:cs typeface="Calibri" panose="020F0502020204030204" pitchFamily="34" charset="0"/>
              </a:rPr>
              <a:t>il</a:t>
            </a:r>
            <a:r>
              <a:rPr lang="de-DE" sz="1600" dirty="0">
                <a:ea typeface="Times New Roman" panose="02020603050405020304" pitchFamily="18" charset="0"/>
                <a:cs typeface="Calibri" panose="020F0502020204030204" pitchFamily="34" charset="0"/>
              </a:rPr>
              <a:t> </a:t>
            </a:r>
            <a:r>
              <a:rPr lang="de-DE" sz="1600" dirty="0" err="1">
                <a:ea typeface="Times New Roman" panose="02020603050405020304" pitchFamily="18" charset="0"/>
                <a:cs typeface="Calibri" panose="020F0502020204030204" pitchFamily="34" charset="0"/>
              </a:rPr>
              <a:t>taglio</a:t>
            </a:r>
            <a:r>
              <a:rPr lang="de-DE" sz="1600" dirty="0">
                <a:ea typeface="Times New Roman" panose="02020603050405020304" pitchFamily="18" charset="0"/>
                <a:cs typeface="Calibri" panose="020F0502020204030204" pitchFamily="34" charset="0"/>
              </a:rPr>
              <a:t> </a:t>
            </a:r>
            <a:r>
              <a:rPr lang="de-DE" sz="1600" dirty="0" err="1">
                <a:ea typeface="Times New Roman" panose="02020603050405020304" pitchFamily="18" charset="0"/>
                <a:cs typeface="Calibri" panose="020F0502020204030204" pitchFamily="34" charset="0"/>
              </a:rPr>
              <a:t>dei</a:t>
            </a:r>
            <a:r>
              <a:rPr lang="de-DE" sz="1600" dirty="0">
                <a:ea typeface="Times New Roman" panose="02020603050405020304" pitchFamily="18" charset="0"/>
                <a:cs typeface="Calibri" panose="020F0502020204030204" pitchFamily="34" charset="0"/>
              </a:rPr>
              <a:t> </a:t>
            </a:r>
            <a:r>
              <a:rPr lang="de-DE" sz="1600" dirty="0" err="1">
                <a:ea typeface="Times New Roman" panose="02020603050405020304" pitchFamily="18" charset="0"/>
                <a:cs typeface="Calibri" panose="020F0502020204030204" pitchFamily="34" charset="0"/>
              </a:rPr>
              <a:t>metalli</a:t>
            </a:r>
            <a:endParaRPr lang="de-DE" sz="1600" dirty="0">
              <a:ea typeface="Times New Roman" panose="02020603050405020304" pitchFamily="18" charset="0"/>
              <a:cs typeface="Calibri" panose="020F0502020204030204" pitchFamily="34" charset="0"/>
            </a:endParaRPr>
          </a:p>
          <a:p>
            <a:pPr marL="342900" marR="5080" indent="-342900">
              <a:lnSpc>
                <a:spcPct val="101600"/>
              </a:lnSpc>
              <a:spcBef>
                <a:spcPts val="985"/>
              </a:spcBef>
              <a:buFont typeface="Arial" panose="020B0604020202020204" pitchFamily="34" charset="0"/>
              <a:buChar char="•"/>
            </a:pPr>
            <a:r>
              <a:rPr lang="de-DE" sz="1600" dirty="0" err="1">
                <a:ea typeface="Times New Roman" panose="02020603050405020304" pitchFamily="18" charset="0"/>
                <a:cs typeface="Calibri" panose="020F0502020204030204" pitchFamily="34" charset="0"/>
              </a:rPr>
              <a:t>Utilizzo</a:t>
            </a:r>
            <a:r>
              <a:rPr lang="de-DE" sz="1600" dirty="0">
                <a:ea typeface="Times New Roman" panose="02020603050405020304" pitchFamily="18" charset="0"/>
                <a:cs typeface="Calibri" panose="020F0502020204030204" pitchFamily="34" charset="0"/>
              </a:rPr>
              <a:t> </a:t>
            </a:r>
            <a:r>
              <a:rPr lang="de-DE" sz="1600" dirty="0" err="1">
                <a:ea typeface="Times New Roman" panose="02020603050405020304" pitchFamily="18" charset="0"/>
                <a:cs typeface="Calibri" panose="020F0502020204030204" pitchFamily="34" charset="0"/>
              </a:rPr>
              <a:t>attrezzi</a:t>
            </a:r>
            <a:r>
              <a:rPr lang="de-DE" sz="1600" dirty="0">
                <a:ea typeface="Times New Roman" panose="02020603050405020304" pitchFamily="18" charset="0"/>
                <a:cs typeface="Calibri" panose="020F0502020204030204" pitchFamily="34" charset="0"/>
              </a:rPr>
              <a:t> da </a:t>
            </a:r>
            <a:r>
              <a:rPr lang="de-DE" sz="1600" dirty="0" err="1">
                <a:ea typeface="Times New Roman" panose="02020603050405020304" pitchFamily="18" charset="0"/>
                <a:cs typeface="Calibri" panose="020F0502020204030204" pitchFamily="34" charset="0"/>
              </a:rPr>
              <a:t>banco</a:t>
            </a:r>
            <a:r>
              <a:rPr lang="de-DE" sz="1600" dirty="0">
                <a:ea typeface="Times New Roman" panose="02020603050405020304" pitchFamily="18" charset="0"/>
                <a:cs typeface="Calibri" panose="020F0502020204030204" pitchFamily="34" charset="0"/>
              </a:rPr>
              <a:t> : </a:t>
            </a:r>
            <a:r>
              <a:rPr lang="de-DE" sz="1600" dirty="0" err="1">
                <a:ea typeface="Times New Roman" panose="02020603050405020304" pitchFamily="18" charset="0"/>
                <a:cs typeface="Calibri" panose="020F0502020204030204" pitchFamily="34" charset="0"/>
              </a:rPr>
              <a:t>truschino</a:t>
            </a:r>
            <a:r>
              <a:rPr lang="de-DE" sz="1600" dirty="0">
                <a:ea typeface="Times New Roman" panose="02020603050405020304" pitchFamily="18" charset="0"/>
                <a:cs typeface="Calibri" panose="020F0502020204030204" pitchFamily="34" charset="0"/>
              </a:rPr>
              <a:t>, </a:t>
            </a:r>
            <a:r>
              <a:rPr lang="de-DE" sz="1600" dirty="0" err="1">
                <a:ea typeface="Times New Roman" panose="02020603050405020304" pitchFamily="18" charset="0"/>
                <a:cs typeface="Calibri" panose="020F0502020204030204" pitchFamily="34" charset="0"/>
              </a:rPr>
              <a:t>bulino</a:t>
            </a:r>
            <a:r>
              <a:rPr lang="de-DE" sz="1600" dirty="0">
                <a:ea typeface="Times New Roman" panose="02020603050405020304" pitchFamily="18" charset="0"/>
                <a:cs typeface="Calibri" panose="020F0502020204030204" pitchFamily="34" charset="0"/>
              </a:rPr>
              <a:t>, punta a </a:t>
            </a:r>
            <a:r>
              <a:rPr lang="de-DE" sz="1600" dirty="0" err="1">
                <a:ea typeface="Times New Roman" panose="02020603050405020304" pitchFamily="18" charset="0"/>
                <a:cs typeface="Calibri" panose="020F0502020204030204" pitchFamily="34" charset="0"/>
              </a:rPr>
              <a:t>tracciare</a:t>
            </a:r>
            <a:r>
              <a:rPr lang="de-DE" sz="1600" dirty="0">
                <a:ea typeface="Times New Roman" panose="02020603050405020304" pitchFamily="18" charset="0"/>
                <a:cs typeface="Calibri" panose="020F0502020204030204" pitchFamily="34" charset="0"/>
              </a:rPr>
              <a:t>, </a:t>
            </a:r>
            <a:r>
              <a:rPr lang="de-DE" sz="1600" dirty="0" err="1">
                <a:ea typeface="Times New Roman" panose="02020603050405020304" pitchFamily="18" charset="0"/>
                <a:cs typeface="Calibri" panose="020F0502020204030204" pitchFamily="34" charset="0"/>
              </a:rPr>
              <a:t>flessometro</a:t>
            </a:r>
            <a:r>
              <a:rPr lang="de-DE" sz="1600" dirty="0">
                <a:ea typeface="Times New Roman" panose="02020603050405020304" pitchFamily="18" charset="0"/>
                <a:cs typeface="Calibri" panose="020F0502020204030204" pitchFamily="34" charset="0"/>
              </a:rPr>
              <a:t>, </a:t>
            </a:r>
            <a:r>
              <a:rPr lang="de-DE" sz="1600" dirty="0" err="1">
                <a:ea typeface="Times New Roman" panose="02020603050405020304" pitchFamily="18" charset="0"/>
                <a:cs typeface="Calibri" panose="020F0502020204030204" pitchFamily="34" charset="0"/>
              </a:rPr>
              <a:t>calibro</a:t>
            </a:r>
            <a:r>
              <a:rPr lang="de-DE" sz="1600" dirty="0">
                <a:ea typeface="Times New Roman" panose="02020603050405020304" pitchFamily="18" charset="0"/>
                <a:cs typeface="Calibri" panose="020F0502020204030204" pitchFamily="34" charset="0"/>
              </a:rPr>
              <a:t>, </a:t>
            </a:r>
            <a:r>
              <a:rPr lang="de-DE" sz="1600" dirty="0" err="1">
                <a:ea typeface="Times New Roman" panose="02020603050405020304" pitchFamily="18" charset="0"/>
                <a:cs typeface="Calibri" panose="020F0502020204030204" pitchFamily="34" charset="0"/>
              </a:rPr>
              <a:t>lima</a:t>
            </a:r>
            <a:r>
              <a:rPr lang="de-DE" sz="1600" dirty="0">
                <a:ea typeface="Times New Roman" panose="02020603050405020304" pitchFamily="18" charset="0"/>
                <a:cs typeface="Calibri" panose="020F0502020204030204" pitchFamily="34" charset="0"/>
              </a:rPr>
              <a:t>, </a:t>
            </a:r>
            <a:r>
              <a:rPr lang="de-DE" sz="1600" dirty="0" err="1">
                <a:ea typeface="Times New Roman" panose="02020603050405020304" pitchFamily="18" charset="0"/>
                <a:cs typeface="Calibri" panose="020F0502020204030204" pitchFamily="34" charset="0"/>
              </a:rPr>
              <a:t>tondino</a:t>
            </a:r>
            <a:r>
              <a:rPr lang="de-DE" sz="1600" dirty="0">
                <a:ea typeface="Times New Roman" panose="02020603050405020304" pitchFamily="18" charset="0"/>
                <a:cs typeface="Calibri" panose="020F0502020204030204" pitchFamily="34" charset="0"/>
              </a:rPr>
              <a:t>, </a:t>
            </a:r>
            <a:r>
              <a:rPr lang="de-DE" sz="1600" dirty="0" err="1">
                <a:ea typeface="Times New Roman" panose="02020603050405020304" pitchFamily="18" charset="0"/>
                <a:cs typeface="Calibri" panose="020F0502020204030204" pitchFamily="34" charset="0"/>
              </a:rPr>
              <a:t>sega</a:t>
            </a:r>
            <a:r>
              <a:rPr lang="de-DE" sz="1600" dirty="0">
                <a:ea typeface="Times New Roman" panose="02020603050405020304" pitchFamily="18" charset="0"/>
                <a:cs typeface="Calibri" panose="020F0502020204030204" pitchFamily="34" charset="0"/>
              </a:rPr>
              <a:t> , </a:t>
            </a:r>
            <a:r>
              <a:rPr lang="de-DE" sz="1600" dirty="0" err="1">
                <a:ea typeface="Times New Roman" panose="02020603050405020304" pitchFamily="18" charset="0"/>
                <a:cs typeface="Calibri" panose="020F0502020204030204" pitchFamily="34" charset="0"/>
              </a:rPr>
              <a:t>maschi</a:t>
            </a:r>
            <a:r>
              <a:rPr lang="de-DE" sz="1600" dirty="0">
                <a:ea typeface="Times New Roman" panose="02020603050405020304" pitchFamily="18" charset="0"/>
                <a:cs typeface="Calibri" panose="020F0502020204030204" pitchFamily="34" charset="0"/>
              </a:rPr>
              <a:t> e filiere</a:t>
            </a:r>
          </a:p>
          <a:p>
            <a:pPr marL="342900" marR="5080" indent="-342900">
              <a:lnSpc>
                <a:spcPct val="101600"/>
              </a:lnSpc>
              <a:spcBef>
                <a:spcPts val="985"/>
              </a:spcBef>
              <a:buFont typeface="Arial" panose="020B0604020202020204" pitchFamily="34" charset="0"/>
              <a:buChar char="•"/>
            </a:pPr>
            <a:r>
              <a:rPr lang="de-DE" sz="1600" dirty="0" err="1">
                <a:ea typeface="Times New Roman" panose="02020603050405020304" pitchFamily="18" charset="0"/>
                <a:cs typeface="Calibri" panose="020F0502020204030204" pitchFamily="34" charset="0"/>
              </a:rPr>
              <a:t>Gli</a:t>
            </a:r>
            <a:r>
              <a:rPr lang="de-DE" sz="1600" dirty="0">
                <a:ea typeface="Times New Roman" panose="02020603050405020304" pitchFamily="18" charset="0"/>
                <a:cs typeface="Calibri" panose="020F0502020204030204" pitchFamily="34" charset="0"/>
              </a:rPr>
              <a:t> </a:t>
            </a:r>
            <a:r>
              <a:rPr lang="de-DE" sz="1600" dirty="0" err="1">
                <a:ea typeface="Times New Roman" panose="02020603050405020304" pitchFamily="18" charset="0"/>
                <a:cs typeface="Calibri" panose="020F0502020204030204" pitchFamily="34" charset="0"/>
              </a:rPr>
              <a:t>attrezzi</a:t>
            </a:r>
            <a:r>
              <a:rPr lang="de-DE" sz="1600" dirty="0">
                <a:ea typeface="Times New Roman" panose="02020603050405020304" pitchFamily="18" charset="0"/>
                <a:cs typeface="Calibri" panose="020F0502020204030204" pitchFamily="34" charset="0"/>
              </a:rPr>
              <a:t> </a:t>
            </a:r>
            <a:r>
              <a:rPr lang="de-DE" sz="1600" dirty="0" err="1">
                <a:ea typeface="Times New Roman" panose="02020603050405020304" pitchFamily="18" charset="0"/>
                <a:cs typeface="Calibri" panose="020F0502020204030204" pitchFamily="34" charset="0"/>
              </a:rPr>
              <a:t>manuali</a:t>
            </a:r>
            <a:r>
              <a:rPr lang="de-DE" sz="1600" dirty="0">
                <a:ea typeface="Times New Roman" panose="02020603050405020304" pitchFamily="18" charset="0"/>
                <a:cs typeface="Calibri" panose="020F0502020204030204" pitchFamily="34" charset="0"/>
              </a:rPr>
              <a:t> : </a:t>
            </a:r>
            <a:r>
              <a:rPr lang="de-DE" sz="1600" dirty="0" err="1">
                <a:ea typeface="Times New Roman" panose="02020603050405020304" pitchFamily="18" charset="0"/>
                <a:cs typeface="Calibri" panose="020F0502020204030204" pitchFamily="34" charset="0"/>
              </a:rPr>
              <a:t>chiave</a:t>
            </a:r>
            <a:r>
              <a:rPr lang="de-DE" sz="1600" dirty="0">
                <a:ea typeface="Times New Roman" panose="02020603050405020304" pitchFamily="18" charset="0"/>
                <a:cs typeface="Calibri" panose="020F0502020204030204" pitchFamily="34" charset="0"/>
              </a:rPr>
              <a:t> </a:t>
            </a:r>
            <a:r>
              <a:rPr lang="de-DE" sz="1600" dirty="0" err="1">
                <a:ea typeface="Times New Roman" panose="02020603050405020304" pitchFamily="18" charset="0"/>
                <a:cs typeface="Calibri" panose="020F0502020204030204" pitchFamily="34" charset="0"/>
              </a:rPr>
              <a:t>combinata</a:t>
            </a:r>
            <a:r>
              <a:rPr lang="de-DE" sz="1600" dirty="0">
                <a:ea typeface="Times New Roman" panose="02020603050405020304" pitchFamily="18" charset="0"/>
                <a:cs typeface="Calibri" panose="020F0502020204030204" pitchFamily="34" charset="0"/>
              </a:rPr>
              <a:t>, </a:t>
            </a:r>
            <a:r>
              <a:rPr lang="de-DE" sz="1600" dirty="0" err="1">
                <a:ea typeface="Times New Roman" panose="02020603050405020304" pitchFamily="18" charset="0"/>
                <a:cs typeface="Calibri" panose="020F0502020204030204" pitchFamily="34" charset="0"/>
              </a:rPr>
              <a:t>cacciavite</a:t>
            </a:r>
            <a:r>
              <a:rPr lang="de-DE" sz="1600" dirty="0">
                <a:ea typeface="Times New Roman" panose="02020603050405020304" pitchFamily="18" charset="0"/>
                <a:cs typeface="Calibri" panose="020F0502020204030204" pitchFamily="34" charset="0"/>
              </a:rPr>
              <a:t>, </a:t>
            </a:r>
            <a:r>
              <a:rPr lang="de-DE" sz="1600" dirty="0" err="1">
                <a:ea typeface="Times New Roman" panose="02020603050405020304" pitchFamily="18" charset="0"/>
                <a:cs typeface="Calibri" panose="020F0502020204030204" pitchFamily="34" charset="0"/>
              </a:rPr>
              <a:t>chiave</a:t>
            </a:r>
            <a:r>
              <a:rPr lang="de-DE" sz="1600" dirty="0">
                <a:ea typeface="Times New Roman" panose="02020603050405020304" pitchFamily="18" charset="0"/>
                <a:cs typeface="Calibri" panose="020F0502020204030204" pitchFamily="34" charset="0"/>
              </a:rPr>
              <a:t> a </a:t>
            </a:r>
            <a:r>
              <a:rPr lang="de-DE" sz="1600" dirty="0" err="1">
                <a:ea typeface="Times New Roman" panose="02020603050405020304" pitchFamily="18" charset="0"/>
                <a:cs typeface="Calibri" panose="020F0502020204030204" pitchFamily="34" charset="0"/>
              </a:rPr>
              <a:t>brugola</a:t>
            </a:r>
            <a:r>
              <a:rPr lang="de-DE" sz="1600" dirty="0">
                <a:ea typeface="Times New Roman" panose="02020603050405020304" pitchFamily="18" charset="0"/>
                <a:cs typeface="Calibri" panose="020F0502020204030204" pitchFamily="34" charset="0"/>
              </a:rPr>
              <a:t>, </a:t>
            </a:r>
            <a:r>
              <a:rPr lang="de-DE" sz="1600" dirty="0" err="1">
                <a:ea typeface="Times New Roman" panose="02020603050405020304" pitchFamily="18" charset="0"/>
                <a:cs typeface="Calibri" panose="020F0502020204030204" pitchFamily="34" charset="0"/>
              </a:rPr>
              <a:t>martello</a:t>
            </a:r>
            <a:r>
              <a:rPr lang="de-DE" sz="1600" dirty="0">
                <a:ea typeface="Times New Roman" panose="02020603050405020304" pitchFamily="18" charset="0"/>
                <a:cs typeface="Calibri" panose="020F0502020204030204" pitchFamily="34" charset="0"/>
              </a:rPr>
              <a:t>, </a:t>
            </a:r>
            <a:r>
              <a:rPr lang="de-DE" sz="1600" dirty="0" err="1">
                <a:ea typeface="Times New Roman" panose="02020603050405020304" pitchFamily="18" charset="0"/>
                <a:cs typeface="Calibri" panose="020F0502020204030204" pitchFamily="34" charset="0"/>
              </a:rPr>
              <a:t>mazzuolo</a:t>
            </a:r>
            <a:r>
              <a:rPr lang="de-DE" sz="1600" dirty="0">
                <a:ea typeface="Times New Roman" panose="02020603050405020304" pitchFamily="18" charset="0"/>
                <a:cs typeface="Calibri" panose="020F0502020204030204" pitchFamily="34" charset="0"/>
              </a:rPr>
              <a:t>, </a:t>
            </a:r>
            <a:r>
              <a:rPr lang="de-DE" sz="1600" dirty="0" err="1">
                <a:ea typeface="Times New Roman" panose="02020603050405020304" pitchFamily="18" charset="0"/>
                <a:cs typeface="Calibri" panose="020F0502020204030204" pitchFamily="34" charset="0"/>
              </a:rPr>
              <a:t>cacciaspine</a:t>
            </a:r>
            <a:r>
              <a:rPr lang="de-DE" sz="1600" dirty="0">
                <a:ea typeface="Times New Roman" panose="02020603050405020304" pitchFamily="18" charset="0"/>
                <a:cs typeface="Calibri" panose="020F0502020204030204" pitchFamily="34" charset="0"/>
              </a:rPr>
              <a:t>, </a:t>
            </a:r>
            <a:r>
              <a:rPr lang="de-DE" sz="1600" dirty="0" err="1">
                <a:ea typeface="Times New Roman" panose="02020603050405020304" pitchFamily="18" charset="0"/>
                <a:cs typeface="Calibri" panose="020F0502020204030204" pitchFamily="34" charset="0"/>
              </a:rPr>
              <a:t>estrattore</a:t>
            </a:r>
            <a:r>
              <a:rPr lang="de-DE" sz="1600" dirty="0">
                <a:ea typeface="Times New Roman" panose="02020603050405020304" pitchFamily="18" charset="0"/>
                <a:cs typeface="Calibri" panose="020F0502020204030204" pitchFamily="34" charset="0"/>
              </a:rPr>
              <a:t> </a:t>
            </a:r>
            <a:r>
              <a:rPr lang="de-DE" sz="1600" dirty="0" err="1">
                <a:ea typeface="Times New Roman" panose="02020603050405020304" pitchFamily="18" charset="0"/>
                <a:cs typeface="Calibri" panose="020F0502020204030204" pitchFamily="34" charset="0"/>
              </a:rPr>
              <a:t>cuscinetti</a:t>
            </a:r>
            <a:r>
              <a:rPr lang="de-DE" sz="1600" dirty="0">
                <a:ea typeface="Times New Roman" panose="02020603050405020304" pitchFamily="18" charset="0"/>
                <a:cs typeface="Calibri" panose="020F0502020204030204" pitchFamily="34" charset="0"/>
              </a:rPr>
              <a:t>, </a:t>
            </a:r>
            <a:r>
              <a:rPr lang="de-DE" sz="1600" dirty="0" err="1">
                <a:ea typeface="Times New Roman" panose="02020603050405020304" pitchFamily="18" charset="0"/>
                <a:cs typeface="Calibri" panose="020F0502020204030204" pitchFamily="34" charset="0"/>
              </a:rPr>
              <a:t>pinza</a:t>
            </a:r>
            <a:r>
              <a:rPr lang="de-DE" sz="1600" dirty="0">
                <a:ea typeface="Times New Roman" panose="02020603050405020304" pitchFamily="18" charset="0"/>
                <a:cs typeface="Calibri" panose="020F0502020204030204" pitchFamily="34" charset="0"/>
              </a:rPr>
              <a:t> “</a:t>
            </a:r>
            <a:r>
              <a:rPr lang="de-DE" sz="1600" dirty="0" err="1">
                <a:ea typeface="Times New Roman" panose="02020603050405020304" pitchFamily="18" charset="0"/>
                <a:cs typeface="Calibri" panose="020F0502020204030204" pitchFamily="34" charset="0"/>
              </a:rPr>
              <a:t>seeger</a:t>
            </a:r>
            <a:r>
              <a:rPr lang="de-DE" sz="1600" dirty="0">
                <a:ea typeface="Times New Roman" panose="02020603050405020304" pitchFamily="18" charset="0"/>
                <a:cs typeface="Calibri" panose="020F0502020204030204" pitchFamily="34" charset="0"/>
              </a:rPr>
              <a:t>”, </a:t>
            </a:r>
            <a:r>
              <a:rPr lang="de-DE" sz="1600" dirty="0" err="1">
                <a:ea typeface="Times New Roman" panose="02020603050405020304" pitchFamily="18" charset="0"/>
                <a:cs typeface="Calibri" panose="020F0502020204030204" pitchFamily="34" charset="0"/>
              </a:rPr>
              <a:t>spelafili</a:t>
            </a:r>
            <a:r>
              <a:rPr lang="de-DE" sz="1600" dirty="0">
                <a:ea typeface="Times New Roman" panose="02020603050405020304" pitchFamily="18" charset="0"/>
                <a:cs typeface="Calibri" panose="020F0502020204030204" pitchFamily="34" charset="0"/>
              </a:rPr>
              <a:t>, </a:t>
            </a:r>
            <a:r>
              <a:rPr lang="de-DE" sz="1600" dirty="0" err="1">
                <a:ea typeface="Times New Roman" panose="02020603050405020304" pitchFamily="18" charset="0"/>
                <a:cs typeface="Calibri" panose="020F0502020204030204" pitchFamily="34" charset="0"/>
              </a:rPr>
              <a:t>pinza</a:t>
            </a:r>
            <a:r>
              <a:rPr lang="de-DE" sz="1600" dirty="0">
                <a:ea typeface="Times New Roman" panose="02020603050405020304" pitchFamily="18" charset="0"/>
                <a:cs typeface="Calibri" panose="020F0502020204030204" pitchFamily="34" charset="0"/>
              </a:rPr>
              <a:t> per </a:t>
            </a:r>
            <a:r>
              <a:rPr lang="de-DE" sz="1600" dirty="0" err="1">
                <a:ea typeface="Times New Roman" panose="02020603050405020304" pitchFamily="18" charset="0"/>
                <a:cs typeface="Calibri" panose="020F0502020204030204" pitchFamily="34" charset="0"/>
              </a:rPr>
              <a:t>capicorda</a:t>
            </a:r>
            <a:endParaRPr lang="it-IT" sz="1600" dirty="0">
              <a:ea typeface="Times New Roman" panose="02020603050405020304" pitchFamily="18" charset="0"/>
              <a:cs typeface="Calibri" panose="020F0502020204030204" pitchFamily="34" charset="0"/>
            </a:endParaRPr>
          </a:p>
          <a:p>
            <a:pPr marL="342900" marR="5080" indent="-342900">
              <a:lnSpc>
                <a:spcPct val="101600"/>
              </a:lnSpc>
              <a:spcBef>
                <a:spcPts val="985"/>
              </a:spcBef>
              <a:buFont typeface="Arial" panose="020B0604020202020204" pitchFamily="34" charset="0"/>
              <a:buChar char="•"/>
            </a:pPr>
            <a:r>
              <a:rPr lang="de-DE" sz="1600" dirty="0" err="1">
                <a:ea typeface="Times New Roman" panose="02020603050405020304" pitchFamily="18" charset="0"/>
                <a:cs typeface="Calibri" panose="020F0502020204030204" pitchFamily="34" charset="0"/>
              </a:rPr>
              <a:t>Gli</a:t>
            </a:r>
            <a:r>
              <a:rPr lang="de-DE" sz="1600" dirty="0">
                <a:ea typeface="Times New Roman" panose="02020603050405020304" pitchFamily="18" charset="0"/>
                <a:cs typeface="Calibri" panose="020F0502020204030204" pitchFamily="34" charset="0"/>
              </a:rPr>
              <a:t> </a:t>
            </a:r>
            <a:r>
              <a:rPr lang="de-DE" sz="1600" dirty="0" err="1">
                <a:ea typeface="Times New Roman" panose="02020603050405020304" pitchFamily="18" charset="0"/>
                <a:cs typeface="Calibri" panose="020F0502020204030204" pitchFamily="34" charset="0"/>
              </a:rPr>
              <a:t>attrezzi</a:t>
            </a:r>
            <a:r>
              <a:rPr lang="de-DE" sz="1600" dirty="0">
                <a:ea typeface="Times New Roman" panose="02020603050405020304" pitchFamily="18" charset="0"/>
                <a:cs typeface="Calibri" panose="020F0502020204030204" pitchFamily="34" charset="0"/>
              </a:rPr>
              <a:t> semi-</a:t>
            </a:r>
            <a:r>
              <a:rPr lang="de-DE" sz="1600" dirty="0" err="1">
                <a:ea typeface="Times New Roman" panose="02020603050405020304" pitchFamily="18" charset="0"/>
                <a:cs typeface="Calibri" panose="020F0502020204030204" pitchFamily="34" charset="0"/>
              </a:rPr>
              <a:t>automatici</a:t>
            </a:r>
            <a:r>
              <a:rPr lang="de-DE" sz="1600" dirty="0">
                <a:ea typeface="Times New Roman" panose="02020603050405020304" pitchFamily="18" charset="0"/>
                <a:cs typeface="Calibri" panose="020F0502020204030204" pitchFamily="34" charset="0"/>
              </a:rPr>
              <a:t>: </a:t>
            </a:r>
            <a:r>
              <a:rPr lang="de-DE" sz="1600" dirty="0" err="1">
                <a:ea typeface="Times New Roman" panose="02020603050405020304" pitchFamily="18" charset="0"/>
                <a:cs typeface="Calibri" panose="020F0502020204030204" pitchFamily="34" charset="0"/>
              </a:rPr>
              <a:t>avvitatori</a:t>
            </a:r>
            <a:r>
              <a:rPr lang="de-DE" sz="1600" dirty="0">
                <a:ea typeface="Times New Roman" panose="02020603050405020304" pitchFamily="18" charset="0"/>
                <a:cs typeface="Calibri" panose="020F0502020204030204" pitchFamily="34" charset="0"/>
              </a:rPr>
              <a:t> </a:t>
            </a:r>
            <a:r>
              <a:rPr lang="de-DE" sz="1600" dirty="0" err="1">
                <a:ea typeface="Times New Roman" panose="02020603050405020304" pitchFamily="18" charset="0"/>
                <a:cs typeface="Calibri" panose="020F0502020204030204" pitchFamily="34" charset="0"/>
              </a:rPr>
              <a:t>elettrici</a:t>
            </a:r>
            <a:endParaRPr lang="de-DE" sz="1600" dirty="0">
              <a:ea typeface="Times New Roman" panose="02020603050405020304" pitchFamily="18" charset="0"/>
              <a:cs typeface="Calibri" panose="020F0502020204030204" pitchFamily="34" charset="0"/>
            </a:endParaRPr>
          </a:p>
          <a:p>
            <a:pPr marL="342900" marR="5080" indent="-342900">
              <a:lnSpc>
                <a:spcPct val="101600"/>
              </a:lnSpc>
              <a:spcBef>
                <a:spcPts val="985"/>
              </a:spcBef>
              <a:buFont typeface="Arial" panose="020B0604020202020204" pitchFamily="34" charset="0"/>
              <a:buChar char="•"/>
            </a:pPr>
            <a:r>
              <a:rPr lang="it-IT" sz="1600" dirty="0">
                <a:ea typeface="Times New Roman" panose="02020603050405020304" pitchFamily="18" charset="0"/>
                <a:cs typeface="Calibri" panose="020F0502020204030204" pitchFamily="34" charset="0"/>
              </a:rPr>
              <a:t>Predisporre e curare gli spazi di lavoro</a:t>
            </a:r>
          </a:p>
          <a:p>
            <a:pPr marL="342900" marR="5080" indent="-342900">
              <a:lnSpc>
                <a:spcPct val="101600"/>
              </a:lnSpc>
              <a:spcBef>
                <a:spcPts val="985"/>
              </a:spcBef>
              <a:buFont typeface="Arial" panose="020B0604020202020204" pitchFamily="34" charset="0"/>
              <a:buChar char="•"/>
            </a:pPr>
            <a:r>
              <a:rPr lang="de-DE" sz="1600" dirty="0" err="1">
                <a:ea typeface="Times New Roman" panose="02020603050405020304" pitchFamily="18" charset="0"/>
                <a:cs typeface="Calibri" panose="020F0502020204030204" pitchFamily="34" charset="0"/>
              </a:rPr>
              <a:t>Esercitazioni</a:t>
            </a:r>
            <a:r>
              <a:rPr lang="de-DE" sz="1600" dirty="0">
                <a:ea typeface="Times New Roman" panose="02020603050405020304" pitchFamily="18" charset="0"/>
                <a:cs typeface="Calibri" panose="020F0502020204030204" pitchFamily="34" charset="0"/>
              </a:rPr>
              <a:t> </a:t>
            </a:r>
            <a:r>
              <a:rPr lang="de-DE" sz="1600" dirty="0" err="1">
                <a:ea typeface="Times New Roman" panose="02020603050405020304" pitchFamily="18" charset="0"/>
                <a:cs typeface="Calibri" panose="020F0502020204030204" pitchFamily="34" charset="0"/>
              </a:rPr>
              <a:t>pratiche</a:t>
            </a:r>
            <a:r>
              <a:rPr lang="de-DE" sz="1600" dirty="0">
                <a:ea typeface="Times New Roman" panose="02020603050405020304" pitchFamily="18" charset="0"/>
                <a:cs typeface="Calibri" panose="020F0502020204030204" pitchFamily="34" charset="0"/>
              </a:rPr>
              <a:t>: </a:t>
            </a:r>
            <a:r>
              <a:rPr lang="de-DE" sz="1600" dirty="0" err="1">
                <a:ea typeface="Times New Roman" panose="02020603050405020304" pitchFamily="18" charset="0"/>
                <a:cs typeface="Calibri" panose="020F0502020204030204" pitchFamily="34" charset="0"/>
              </a:rPr>
              <a:t>prove</a:t>
            </a:r>
            <a:r>
              <a:rPr lang="de-DE" sz="1600" dirty="0">
                <a:ea typeface="Times New Roman" panose="02020603050405020304" pitchFamily="18" charset="0"/>
                <a:cs typeface="Calibri" panose="020F0502020204030204" pitchFamily="34" charset="0"/>
              </a:rPr>
              <a:t> di </a:t>
            </a:r>
            <a:r>
              <a:rPr lang="de-DE" sz="1600" dirty="0" err="1">
                <a:ea typeface="Times New Roman" panose="02020603050405020304" pitchFamily="18" charset="0"/>
                <a:cs typeface="Calibri" panose="020F0502020204030204" pitchFamily="34" charset="0"/>
              </a:rPr>
              <a:t>montaggio</a:t>
            </a:r>
            <a:r>
              <a:rPr lang="de-DE" sz="1600" dirty="0">
                <a:ea typeface="Times New Roman" panose="02020603050405020304" pitchFamily="18" charset="0"/>
                <a:cs typeface="Calibri" panose="020F0502020204030204" pitchFamily="34" charset="0"/>
              </a:rPr>
              <a:t> al </a:t>
            </a:r>
            <a:r>
              <a:rPr lang="de-DE" sz="1600" dirty="0" err="1">
                <a:ea typeface="Times New Roman" panose="02020603050405020304" pitchFamily="18" charset="0"/>
                <a:cs typeface="Calibri" panose="020F0502020204030204" pitchFamily="34" charset="0"/>
              </a:rPr>
              <a:t>banco</a:t>
            </a:r>
            <a:r>
              <a:rPr lang="de-DE" sz="1600" dirty="0">
                <a:ea typeface="Times New Roman" panose="02020603050405020304" pitchFamily="18" charset="0"/>
                <a:cs typeface="Calibri" panose="020F0502020204030204" pitchFamily="34" charset="0"/>
              </a:rPr>
              <a:t> e </a:t>
            </a:r>
            <a:r>
              <a:rPr lang="de-DE" sz="1600" dirty="0" err="1">
                <a:ea typeface="Times New Roman" panose="02020603050405020304" pitchFamily="18" charset="0"/>
                <a:cs typeface="Calibri" panose="020F0502020204030204" pitchFamily="34" charset="0"/>
              </a:rPr>
              <a:t>misurazione</a:t>
            </a:r>
            <a:r>
              <a:rPr lang="de-DE" sz="1600" dirty="0">
                <a:ea typeface="Times New Roman" panose="02020603050405020304" pitchFamily="18" charset="0"/>
                <a:cs typeface="Calibri" panose="020F0502020204030204" pitchFamily="34" charset="0"/>
              </a:rPr>
              <a:t> </a:t>
            </a:r>
            <a:r>
              <a:rPr lang="de-DE" sz="1600" dirty="0" err="1">
                <a:ea typeface="Times New Roman" panose="02020603050405020304" pitchFamily="18" charset="0"/>
                <a:cs typeface="Calibri" panose="020F0502020204030204" pitchFamily="34" charset="0"/>
              </a:rPr>
              <a:t>con</a:t>
            </a:r>
            <a:r>
              <a:rPr lang="de-DE" sz="1600" dirty="0">
                <a:ea typeface="Times New Roman" panose="02020603050405020304" pitchFamily="18" charset="0"/>
                <a:cs typeface="Calibri" panose="020F0502020204030204" pitchFamily="34" charset="0"/>
              </a:rPr>
              <a:t> i </a:t>
            </a:r>
            <a:r>
              <a:rPr lang="de-DE" sz="1600" dirty="0" err="1">
                <a:ea typeface="Times New Roman" panose="02020603050405020304" pitchFamily="18" charset="0"/>
                <a:cs typeface="Calibri" panose="020F0502020204030204" pitchFamily="34" charset="0"/>
              </a:rPr>
              <a:t>vari</a:t>
            </a:r>
            <a:r>
              <a:rPr lang="de-DE" sz="1600" dirty="0">
                <a:ea typeface="Times New Roman" panose="02020603050405020304" pitchFamily="18" charset="0"/>
                <a:cs typeface="Calibri" panose="020F0502020204030204" pitchFamily="34" charset="0"/>
              </a:rPr>
              <a:t> </a:t>
            </a:r>
            <a:r>
              <a:rPr lang="de-DE" sz="1600" dirty="0" err="1">
                <a:ea typeface="Times New Roman" panose="02020603050405020304" pitchFamily="18" charset="0"/>
                <a:cs typeface="Calibri" panose="020F0502020204030204" pitchFamily="34" charset="0"/>
              </a:rPr>
              <a:t>strumenti</a:t>
            </a:r>
            <a:endParaRPr lang="it-IT" sz="1600" b="0" i="0" dirty="0">
              <a:effectLst/>
            </a:endParaRPr>
          </a:p>
          <a:p>
            <a:pPr marR="5080" algn="just">
              <a:lnSpc>
                <a:spcPct val="101600"/>
              </a:lnSpc>
              <a:spcBef>
                <a:spcPts val="985"/>
              </a:spcBef>
            </a:pPr>
            <a:endParaRPr lang="it-IT" sz="2000" dirty="0">
              <a:solidFill>
                <a:srgbClr val="212121"/>
              </a:solidFill>
              <a:latin typeface="Myriad Pro Light" panose="020B0403030403020204" pitchFamily="34" charset="0"/>
            </a:endParaRPr>
          </a:p>
        </p:txBody>
      </p:sp>
      <p:sp>
        <p:nvSpPr>
          <p:cNvPr id="2" name="object 12">
            <a:extLst>
              <a:ext uri="{FF2B5EF4-FFF2-40B4-BE49-F238E27FC236}">
                <a16:creationId xmlns:a16="http://schemas.microsoft.com/office/drawing/2014/main" id="{C5490F55-A6A2-7152-27EF-5DAF18FF3805}"/>
              </a:ext>
            </a:extLst>
          </p:cNvPr>
          <p:cNvSpPr/>
          <p:nvPr/>
        </p:nvSpPr>
        <p:spPr>
          <a:xfrm>
            <a:off x="327484" y="1116144"/>
            <a:ext cx="2593435" cy="537585"/>
          </a:xfrm>
          <a:custGeom>
            <a:avLst/>
            <a:gdLst/>
            <a:ahLst/>
            <a:cxnLst/>
            <a:rect l="l" t="t" r="r" b="b"/>
            <a:pathLst>
              <a:path w="1596389" h="472439">
                <a:moveTo>
                  <a:pt x="1554614" y="471899"/>
                </a:moveTo>
                <a:lnTo>
                  <a:pt x="41385" y="471899"/>
                </a:lnTo>
                <a:lnTo>
                  <a:pt x="25276" y="468647"/>
                </a:lnTo>
                <a:lnTo>
                  <a:pt x="12121" y="459778"/>
                </a:lnTo>
                <a:lnTo>
                  <a:pt x="3252" y="446623"/>
                </a:lnTo>
                <a:lnTo>
                  <a:pt x="0" y="430514"/>
                </a:lnTo>
                <a:lnTo>
                  <a:pt x="0" y="41385"/>
                </a:lnTo>
                <a:lnTo>
                  <a:pt x="3252" y="25276"/>
                </a:lnTo>
                <a:lnTo>
                  <a:pt x="12121" y="12121"/>
                </a:lnTo>
                <a:lnTo>
                  <a:pt x="25276" y="3252"/>
                </a:lnTo>
                <a:lnTo>
                  <a:pt x="41385" y="0"/>
                </a:lnTo>
                <a:lnTo>
                  <a:pt x="1554614" y="0"/>
                </a:lnTo>
                <a:lnTo>
                  <a:pt x="1589046" y="18424"/>
                </a:lnTo>
                <a:lnTo>
                  <a:pt x="1595999" y="41385"/>
                </a:lnTo>
                <a:lnTo>
                  <a:pt x="1595999" y="430514"/>
                </a:lnTo>
                <a:lnTo>
                  <a:pt x="1592747" y="446623"/>
                </a:lnTo>
                <a:lnTo>
                  <a:pt x="1583878" y="459778"/>
                </a:lnTo>
                <a:lnTo>
                  <a:pt x="1570723" y="468647"/>
                </a:lnTo>
                <a:lnTo>
                  <a:pt x="1554614" y="471899"/>
                </a:lnTo>
                <a:close/>
              </a:path>
            </a:pathLst>
          </a:custGeom>
          <a:solidFill>
            <a:schemeClr val="accent1"/>
          </a:solidFill>
        </p:spPr>
        <p:txBody>
          <a:bodyPr wrap="square" lIns="0" tIns="0" rIns="0" bIns="0" rtlCol="0"/>
          <a:lstStyle/>
          <a:p>
            <a:endParaRPr/>
          </a:p>
        </p:txBody>
      </p:sp>
      <p:sp>
        <p:nvSpPr>
          <p:cNvPr id="4" name="CasellaDiTesto 3">
            <a:extLst>
              <a:ext uri="{FF2B5EF4-FFF2-40B4-BE49-F238E27FC236}">
                <a16:creationId xmlns:a16="http://schemas.microsoft.com/office/drawing/2014/main" id="{D5D6E251-E945-9341-9135-4BF1ADD599F8}"/>
              </a:ext>
            </a:extLst>
          </p:cNvPr>
          <p:cNvSpPr txBox="1"/>
          <p:nvPr/>
        </p:nvSpPr>
        <p:spPr>
          <a:xfrm>
            <a:off x="378223" y="1184881"/>
            <a:ext cx="2491955" cy="400110"/>
          </a:xfrm>
          <a:prstGeom prst="rect">
            <a:avLst/>
          </a:prstGeom>
          <a:noFill/>
        </p:spPr>
        <p:txBody>
          <a:bodyPr wrap="square">
            <a:spAutoFit/>
          </a:bodyPr>
          <a:lstStyle/>
          <a:p>
            <a:pPr marL="59690">
              <a:lnSpc>
                <a:spcPct val="100000"/>
              </a:lnSpc>
              <a:spcBef>
                <a:spcPts val="1370"/>
              </a:spcBef>
            </a:pPr>
            <a:r>
              <a:rPr lang="it-IT" sz="2000" b="1" i="1" spc="20" dirty="0">
                <a:solidFill>
                  <a:schemeClr val="bg1"/>
                </a:solidFill>
                <a:cs typeface="Roboto"/>
              </a:rPr>
              <a:t>Programma corso:</a:t>
            </a:r>
            <a:endParaRPr lang="it-IT" sz="2000" b="1" spc="20" dirty="0">
              <a:solidFill>
                <a:schemeClr val="bg1"/>
              </a:solidFill>
              <a:cs typeface="Roboto"/>
            </a:endParaRPr>
          </a:p>
        </p:txBody>
      </p:sp>
      <p:sp>
        <p:nvSpPr>
          <p:cNvPr id="5" name="Rettangolo con angoli arrotondati 4">
            <a:extLst>
              <a:ext uri="{FF2B5EF4-FFF2-40B4-BE49-F238E27FC236}">
                <a16:creationId xmlns:a16="http://schemas.microsoft.com/office/drawing/2014/main" id="{4B518885-11E0-ED45-8456-00153356E8F9}"/>
              </a:ext>
            </a:extLst>
          </p:cNvPr>
          <p:cNvSpPr/>
          <p:nvPr/>
        </p:nvSpPr>
        <p:spPr>
          <a:xfrm>
            <a:off x="9785406" y="4365602"/>
            <a:ext cx="1596390" cy="819725"/>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00"/>
          </a:p>
        </p:txBody>
      </p:sp>
      <p:sp>
        <p:nvSpPr>
          <p:cNvPr id="6" name="CasellaDiTesto 5">
            <a:extLst>
              <a:ext uri="{FF2B5EF4-FFF2-40B4-BE49-F238E27FC236}">
                <a16:creationId xmlns:a16="http://schemas.microsoft.com/office/drawing/2014/main" id="{6500ADDB-20F7-6C42-7F46-5D858E357867}"/>
              </a:ext>
            </a:extLst>
          </p:cNvPr>
          <p:cNvSpPr txBox="1"/>
          <p:nvPr/>
        </p:nvSpPr>
        <p:spPr>
          <a:xfrm>
            <a:off x="9895242" y="4483076"/>
            <a:ext cx="1366207" cy="584775"/>
          </a:xfrm>
          <a:prstGeom prst="rect">
            <a:avLst/>
          </a:prstGeom>
          <a:noFill/>
        </p:spPr>
        <p:txBody>
          <a:bodyPr wrap="square" rtlCol="0">
            <a:spAutoFit/>
          </a:bodyPr>
          <a:lstStyle/>
          <a:p>
            <a:pPr algn="ctr"/>
            <a:r>
              <a:rPr lang="it-IT" sz="1600" b="1" dirty="0">
                <a:solidFill>
                  <a:schemeClr val="accent1"/>
                </a:solidFill>
                <a:hlinkClick r:id="rId3" action="ppaction://hlinksldjump"/>
              </a:rPr>
              <a:t>Vedi indice corsi</a:t>
            </a:r>
            <a:endParaRPr lang="it-IT" sz="1600" b="1" dirty="0">
              <a:solidFill>
                <a:schemeClr val="accent1"/>
              </a:solidFill>
            </a:endParaRPr>
          </a:p>
        </p:txBody>
      </p:sp>
      <p:sp>
        <p:nvSpPr>
          <p:cNvPr id="17" name="object 3">
            <a:extLst>
              <a:ext uri="{FF2B5EF4-FFF2-40B4-BE49-F238E27FC236}">
                <a16:creationId xmlns:a16="http://schemas.microsoft.com/office/drawing/2014/main" id="{5006474E-16B2-961B-3D88-4E7A97524626}"/>
              </a:ext>
            </a:extLst>
          </p:cNvPr>
          <p:cNvSpPr txBox="1">
            <a:spLocks noGrp="1"/>
          </p:cNvSpPr>
          <p:nvPr>
            <p:ph type="title"/>
          </p:nvPr>
        </p:nvSpPr>
        <p:spPr>
          <a:xfrm>
            <a:off x="344100" y="226136"/>
            <a:ext cx="10917349" cy="659155"/>
          </a:xfrm>
          <a:prstGeom prst="rect">
            <a:avLst/>
          </a:prstGeom>
        </p:spPr>
        <p:txBody>
          <a:bodyPr vert="horz" wrap="square" lIns="0" tIns="12700" rIns="0" bIns="0" rtlCol="0">
            <a:spAutoFit/>
          </a:bodyPr>
          <a:lstStyle/>
          <a:p>
            <a:pPr marL="12700">
              <a:lnSpc>
                <a:spcPct val="100000"/>
              </a:lnSpc>
              <a:spcBef>
                <a:spcPts val="100"/>
              </a:spcBef>
            </a:pPr>
            <a:r>
              <a:rPr lang="it-IT" sz="2800" spc="-15" dirty="0">
                <a:solidFill>
                  <a:schemeClr val="accent1"/>
                </a:solidFill>
                <a:latin typeface="+mn-lt"/>
              </a:rPr>
              <a:t>14. CORSO OPERATORE MECCANICO</a:t>
            </a:r>
            <a:br>
              <a:rPr lang="it-IT" sz="2800" spc="-15" dirty="0">
                <a:solidFill>
                  <a:schemeClr val="accent1"/>
                </a:solidFill>
                <a:highlight>
                  <a:srgbClr val="FFFF00"/>
                </a:highlight>
                <a:latin typeface="+mn-lt"/>
              </a:rPr>
            </a:br>
            <a:r>
              <a:rPr lang="it-IT" sz="1400" spc="-15" dirty="0">
                <a:solidFill>
                  <a:schemeClr val="accent1"/>
                </a:solidFill>
                <a:latin typeface="+mn-lt"/>
              </a:rPr>
              <a:t>(</a:t>
            </a:r>
            <a:r>
              <a:rPr lang="it-IT" sz="1400" i="0" dirty="0">
                <a:solidFill>
                  <a:schemeClr val="accent1"/>
                </a:solidFill>
                <a:effectLst/>
                <a:latin typeface="-apple-system"/>
              </a:rPr>
              <a:t>Formazione </a:t>
            </a:r>
            <a:r>
              <a:rPr lang="it-IT" sz="1400" i="0" dirty="0" err="1">
                <a:solidFill>
                  <a:schemeClr val="accent1"/>
                </a:solidFill>
                <a:effectLst/>
                <a:latin typeface="-apple-system"/>
              </a:rPr>
              <a:t>Upskilling</a:t>
            </a:r>
            <a:r>
              <a:rPr lang="it-IT" sz="1400" i="0" dirty="0">
                <a:solidFill>
                  <a:schemeClr val="accent1"/>
                </a:solidFill>
                <a:effectLst/>
                <a:latin typeface="-apple-system"/>
              </a:rPr>
              <a:t> (RRSP) mirata al profilo OPERATORE MECCANICO DI SISTEMI)</a:t>
            </a:r>
            <a:endParaRPr lang="it-IT" sz="1400" spc="-15" dirty="0">
              <a:solidFill>
                <a:schemeClr val="accent1"/>
              </a:solidFill>
              <a:highlight>
                <a:srgbClr val="FFFF00"/>
              </a:highlight>
              <a:latin typeface="+mn-lt"/>
            </a:endParaRPr>
          </a:p>
        </p:txBody>
      </p:sp>
      <p:pic>
        <p:nvPicPr>
          <p:cNvPr id="14" name="Immagine 13">
            <a:extLst>
              <a:ext uri="{FF2B5EF4-FFF2-40B4-BE49-F238E27FC236}">
                <a16:creationId xmlns:a16="http://schemas.microsoft.com/office/drawing/2014/main" id="{6958C3AE-2D7A-4CF3-80DD-C961AAA5570E}"/>
              </a:ext>
            </a:extLst>
          </p:cNvPr>
          <p:cNvPicPr>
            <a:picLocks noChangeAspect="1"/>
          </p:cNvPicPr>
          <p:nvPr/>
        </p:nvPicPr>
        <p:blipFill>
          <a:blip r:embed="rId4"/>
          <a:stretch>
            <a:fillRect/>
          </a:stretch>
        </p:blipFill>
        <p:spPr>
          <a:xfrm>
            <a:off x="327484" y="5784507"/>
            <a:ext cx="9567758" cy="1086724"/>
          </a:xfrm>
          <a:prstGeom prst="rect">
            <a:avLst/>
          </a:prstGeom>
        </p:spPr>
      </p:pic>
      <p:pic>
        <p:nvPicPr>
          <p:cNvPr id="15" name="Immagine 14">
            <a:extLst>
              <a:ext uri="{FF2B5EF4-FFF2-40B4-BE49-F238E27FC236}">
                <a16:creationId xmlns:a16="http://schemas.microsoft.com/office/drawing/2014/main" id="{A4BBED6B-016E-46F3-9408-D3FE93EB5981}"/>
              </a:ext>
            </a:extLst>
          </p:cNvPr>
          <p:cNvPicPr>
            <a:picLocks noChangeAspect="1"/>
          </p:cNvPicPr>
          <p:nvPr/>
        </p:nvPicPr>
        <p:blipFill>
          <a:blip r:embed="rId5"/>
          <a:stretch>
            <a:fillRect/>
          </a:stretch>
        </p:blipFill>
        <p:spPr>
          <a:xfrm>
            <a:off x="9898769" y="6182710"/>
            <a:ext cx="1378634" cy="340953"/>
          </a:xfrm>
          <a:prstGeom prst="rect">
            <a:avLst/>
          </a:prstGeom>
        </p:spPr>
      </p:pic>
    </p:spTree>
    <p:extLst>
      <p:ext uri="{BB962C8B-B14F-4D97-AF65-F5344CB8AC3E}">
        <p14:creationId xmlns:p14="http://schemas.microsoft.com/office/powerpoint/2010/main" val="143044929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93200" y="185951"/>
            <a:ext cx="10917349" cy="659155"/>
          </a:xfrm>
          <a:prstGeom prst="rect">
            <a:avLst/>
          </a:prstGeom>
        </p:spPr>
        <p:txBody>
          <a:bodyPr vert="horz" wrap="square" lIns="0" tIns="12700" rIns="0" bIns="0" rtlCol="0">
            <a:spAutoFit/>
          </a:bodyPr>
          <a:lstStyle/>
          <a:p>
            <a:pPr marL="12700">
              <a:lnSpc>
                <a:spcPct val="100000"/>
              </a:lnSpc>
              <a:spcBef>
                <a:spcPts val="100"/>
              </a:spcBef>
            </a:pPr>
            <a:r>
              <a:rPr lang="it-IT" sz="2800" spc="-15" dirty="0">
                <a:solidFill>
                  <a:schemeClr val="accent1"/>
                </a:solidFill>
                <a:latin typeface="+mn-lt"/>
              </a:rPr>
              <a:t>15. CORSO OPERATORE DI SISTEMI ELETTRICI</a:t>
            </a:r>
            <a:br>
              <a:rPr lang="it-IT" sz="2800" spc="-15" dirty="0">
                <a:solidFill>
                  <a:schemeClr val="accent1"/>
                </a:solidFill>
                <a:latin typeface="+mn-lt"/>
              </a:rPr>
            </a:br>
            <a:r>
              <a:rPr lang="it-IT" sz="1400" spc="-15" dirty="0">
                <a:solidFill>
                  <a:schemeClr val="accent1"/>
                </a:solidFill>
                <a:latin typeface="+mn-lt"/>
              </a:rPr>
              <a:t>(O</a:t>
            </a:r>
            <a:r>
              <a:rPr lang="it-IT" sz="1400" dirty="0">
                <a:solidFill>
                  <a:schemeClr val="accent1"/>
                </a:solidFill>
                <a:effectLst/>
                <a:latin typeface="+mn-lt"/>
              </a:rPr>
              <a:t>PAL Formazione </a:t>
            </a:r>
            <a:r>
              <a:rPr lang="it-IT" sz="1400" dirty="0" err="1">
                <a:solidFill>
                  <a:schemeClr val="accent1"/>
                </a:solidFill>
                <a:effectLst/>
                <a:latin typeface="+mn-lt"/>
              </a:rPr>
              <a:t>Upskilling</a:t>
            </a:r>
            <a:r>
              <a:rPr lang="it-IT" sz="1400" dirty="0">
                <a:solidFill>
                  <a:schemeClr val="accent1"/>
                </a:solidFill>
                <a:effectLst/>
                <a:latin typeface="+mn-lt"/>
              </a:rPr>
              <a:t> (RRSP) mirata al profilo OPERATORE DI SISTEMI ELETTRICO-ELETTRONICI)</a:t>
            </a:r>
            <a:endParaRPr lang="it-IT" sz="1400" spc="-15" dirty="0">
              <a:solidFill>
                <a:schemeClr val="accent1"/>
              </a:solidFill>
              <a:latin typeface="+mn-lt"/>
            </a:endParaRPr>
          </a:p>
        </p:txBody>
      </p:sp>
      <p:sp>
        <p:nvSpPr>
          <p:cNvPr id="5" name="object 5"/>
          <p:cNvSpPr/>
          <p:nvPr/>
        </p:nvSpPr>
        <p:spPr>
          <a:xfrm>
            <a:off x="327484" y="1444286"/>
            <a:ext cx="8889221" cy="1039942"/>
          </a:xfrm>
          <a:custGeom>
            <a:avLst/>
            <a:gdLst/>
            <a:ahLst/>
            <a:cxnLst/>
            <a:rect l="l" t="t" r="r" b="b"/>
            <a:pathLst>
              <a:path w="7729220" h="954405">
                <a:moveTo>
                  <a:pt x="7644907" y="954299"/>
                </a:moveTo>
                <a:lnTo>
                  <a:pt x="83692" y="954299"/>
                </a:lnTo>
                <a:lnTo>
                  <a:pt x="51115" y="947723"/>
                </a:lnTo>
                <a:lnTo>
                  <a:pt x="24512" y="929787"/>
                </a:lnTo>
                <a:lnTo>
                  <a:pt x="6576" y="903184"/>
                </a:lnTo>
                <a:lnTo>
                  <a:pt x="0" y="870607"/>
                </a:lnTo>
                <a:lnTo>
                  <a:pt x="0" y="83692"/>
                </a:lnTo>
                <a:lnTo>
                  <a:pt x="6576" y="51115"/>
                </a:lnTo>
                <a:lnTo>
                  <a:pt x="24512" y="24512"/>
                </a:lnTo>
                <a:lnTo>
                  <a:pt x="51115" y="6576"/>
                </a:lnTo>
                <a:lnTo>
                  <a:pt x="83692" y="0"/>
                </a:lnTo>
                <a:lnTo>
                  <a:pt x="7644907" y="0"/>
                </a:lnTo>
                <a:lnTo>
                  <a:pt x="7691340" y="14061"/>
                </a:lnTo>
                <a:lnTo>
                  <a:pt x="7722229" y="51664"/>
                </a:lnTo>
                <a:lnTo>
                  <a:pt x="7728599" y="83692"/>
                </a:lnTo>
                <a:lnTo>
                  <a:pt x="7728599" y="870607"/>
                </a:lnTo>
                <a:lnTo>
                  <a:pt x="7722023" y="903184"/>
                </a:lnTo>
                <a:lnTo>
                  <a:pt x="7704087" y="929787"/>
                </a:lnTo>
                <a:lnTo>
                  <a:pt x="7677484" y="947723"/>
                </a:lnTo>
                <a:lnTo>
                  <a:pt x="7644907" y="954299"/>
                </a:lnTo>
                <a:close/>
              </a:path>
            </a:pathLst>
          </a:custGeom>
          <a:solidFill>
            <a:schemeClr val="bg2">
              <a:lumMod val="90000"/>
            </a:schemeClr>
          </a:solidFill>
        </p:spPr>
        <p:txBody>
          <a:bodyPr wrap="square" lIns="0" tIns="0" rIns="0" bIns="0" rtlCol="0"/>
          <a:lstStyle/>
          <a:p>
            <a:endParaRPr>
              <a:solidFill>
                <a:srgbClr val="00B050"/>
              </a:solidFill>
            </a:endParaRPr>
          </a:p>
        </p:txBody>
      </p:sp>
      <p:sp>
        <p:nvSpPr>
          <p:cNvPr id="11" name="object 11"/>
          <p:cNvSpPr txBox="1"/>
          <p:nvPr/>
        </p:nvSpPr>
        <p:spPr>
          <a:xfrm>
            <a:off x="11596613" y="154633"/>
            <a:ext cx="302895" cy="604520"/>
          </a:xfrm>
          <a:prstGeom prst="rect">
            <a:avLst/>
          </a:prstGeom>
        </p:spPr>
        <p:txBody>
          <a:bodyPr vert="horz" wrap="square" lIns="0" tIns="12700" rIns="0" bIns="0" rtlCol="0">
            <a:spAutoFit/>
          </a:bodyPr>
          <a:lstStyle/>
          <a:p>
            <a:pPr marL="12700">
              <a:lnSpc>
                <a:spcPct val="100000"/>
              </a:lnSpc>
              <a:spcBef>
                <a:spcPts val="100"/>
              </a:spcBef>
            </a:pPr>
            <a:r>
              <a:rPr lang="it-IT" sz="3800" b="1" dirty="0">
                <a:solidFill>
                  <a:srgbClr val="FFFFFF"/>
                </a:solidFill>
                <a:cs typeface="Roboto"/>
              </a:rPr>
              <a:t>1</a:t>
            </a:r>
            <a:endParaRPr lang="it-IT" sz="3800">
              <a:cs typeface="Roboto"/>
            </a:endParaRPr>
          </a:p>
        </p:txBody>
      </p:sp>
      <p:sp>
        <p:nvSpPr>
          <p:cNvPr id="12" name="object 12"/>
          <p:cNvSpPr/>
          <p:nvPr/>
        </p:nvSpPr>
        <p:spPr>
          <a:xfrm>
            <a:off x="327484" y="2883371"/>
            <a:ext cx="4117904" cy="537585"/>
          </a:xfrm>
          <a:custGeom>
            <a:avLst/>
            <a:gdLst/>
            <a:ahLst/>
            <a:cxnLst/>
            <a:rect l="l" t="t" r="r" b="b"/>
            <a:pathLst>
              <a:path w="1596389" h="472439">
                <a:moveTo>
                  <a:pt x="1554614" y="471899"/>
                </a:moveTo>
                <a:lnTo>
                  <a:pt x="41385" y="471899"/>
                </a:lnTo>
                <a:lnTo>
                  <a:pt x="25276" y="468647"/>
                </a:lnTo>
                <a:lnTo>
                  <a:pt x="12121" y="459778"/>
                </a:lnTo>
                <a:lnTo>
                  <a:pt x="3252" y="446623"/>
                </a:lnTo>
                <a:lnTo>
                  <a:pt x="0" y="430514"/>
                </a:lnTo>
                <a:lnTo>
                  <a:pt x="0" y="41385"/>
                </a:lnTo>
                <a:lnTo>
                  <a:pt x="3252" y="25276"/>
                </a:lnTo>
                <a:lnTo>
                  <a:pt x="12121" y="12121"/>
                </a:lnTo>
                <a:lnTo>
                  <a:pt x="25276" y="3252"/>
                </a:lnTo>
                <a:lnTo>
                  <a:pt x="41385" y="0"/>
                </a:lnTo>
                <a:lnTo>
                  <a:pt x="1554614" y="0"/>
                </a:lnTo>
                <a:lnTo>
                  <a:pt x="1589046" y="18424"/>
                </a:lnTo>
                <a:lnTo>
                  <a:pt x="1595999" y="41385"/>
                </a:lnTo>
                <a:lnTo>
                  <a:pt x="1595999" y="430514"/>
                </a:lnTo>
                <a:lnTo>
                  <a:pt x="1592747" y="446623"/>
                </a:lnTo>
                <a:lnTo>
                  <a:pt x="1583878" y="459778"/>
                </a:lnTo>
                <a:lnTo>
                  <a:pt x="1570723" y="468647"/>
                </a:lnTo>
                <a:lnTo>
                  <a:pt x="1554614" y="471899"/>
                </a:lnTo>
                <a:close/>
              </a:path>
            </a:pathLst>
          </a:custGeom>
          <a:solidFill>
            <a:schemeClr val="accent1"/>
          </a:solidFill>
        </p:spPr>
        <p:txBody>
          <a:bodyPr wrap="square" lIns="0" tIns="0" rIns="0" bIns="0" rtlCol="0"/>
          <a:lstStyle/>
          <a:p>
            <a:endParaRPr/>
          </a:p>
        </p:txBody>
      </p:sp>
      <p:sp>
        <p:nvSpPr>
          <p:cNvPr id="13" name="object 13"/>
          <p:cNvSpPr txBox="1"/>
          <p:nvPr/>
        </p:nvSpPr>
        <p:spPr>
          <a:xfrm>
            <a:off x="393200" y="2999627"/>
            <a:ext cx="8889221" cy="320601"/>
          </a:xfrm>
          <a:prstGeom prst="rect">
            <a:avLst/>
          </a:prstGeom>
        </p:spPr>
        <p:txBody>
          <a:bodyPr vert="horz" wrap="square" lIns="0" tIns="12700" rIns="0" bIns="0" rtlCol="0">
            <a:spAutoFit/>
          </a:bodyPr>
          <a:lstStyle/>
          <a:p>
            <a:pPr marL="12700">
              <a:lnSpc>
                <a:spcPct val="100000"/>
              </a:lnSpc>
              <a:spcBef>
                <a:spcPts val="100"/>
              </a:spcBef>
            </a:pPr>
            <a:r>
              <a:rPr lang="it-IT" sz="2000" b="1" spc="-25" dirty="0">
                <a:solidFill>
                  <a:srgbClr val="FFFFFF"/>
                </a:solidFill>
                <a:cs typeface="Roboto"/>
              </a:rPr>
              <a:t>I partecipanti saranno in grado di:</a:t>
            </a:r>
            <a:endParaRPr lang="it-IT" sz="2000" dirty="0">
              <a:cs typeface="Roboto"/>
            </a:endParaRPr>
          </a:p>
        </p:txBody>
      </p:sp>
      <p:sp>
        <p:nvSpPr>
          <p:cNvPr id="14" name="object 14"/>
          <p:cNvSpPr/>
          <p:nvPr/>
        </p:nvSpPr>
        <p:spPr>
          <a:xfrm>
            <a:off x="9900498" y="1375418"/>
            <a:ext cx="1596390" cy="1531803"/>
          </a:xfrm>
          <a:custGeom>
            <a:avLst/>
            <a:gdLst/>
            <a:ahLst/>
            <a:cxnLst/>
            <a:rect l="l" t="t" r="r" b="b"/>
            <a:pathLst>
              <a:path w="1596390" h="954405">
                <a:moveTo>
                  <a:pt x="1512307" y="954299"/>
                </a:moveTo>
                <a:lnTo>
                  <a:pt x="83692" y="954299"/>
                </a:lnTo>
                <a:lnTo>
                  <a:pt x="51115" y="947723"/>
                </a:lnTo>
                <a:lnTo>
                  <a:pt x="24512" y="929787"/>
                </a:lnTo>
                <a:lnTo>
                  <a:pt x="6576" y="903184"/>
                </a:lnTo>
                <a:lnTo>
                  <a:pt x="0" y="870607"/>
                </a:lnTo>
                <a:lnTo>
                  <a:pt x="0" y="83692"/>
                </a:lnTo>
                <a:lnTo>
                  <a:pt x="6576" y="51115"/>
                </a:lnTo>
                <a:lnTo>
                  <a:pt x="24512" y="24512"/>
                </a:lnTo>
                <a:lnTo>
                  <a:pt x="51115" y="6576"/>
                </a:lnTo>
                <a:lnTo>
                  <a:pt x="83692" y="0"/>
                </a:lnTo>
                <a:lnTo>
                  <a:pt x="1512307" y="0"/>
                </a:lnTo>
                <a:lnTo>
                  <a:pt x="1558740" y="14061"/>
                </a:lnTo>
                <a:lnTo>
                  <a:pt x="1589629" y="51664"/>
                </a:lnTo>
                <a:lnTo>
                  <a:pt x="1595999" y="83692"/>
                </a:lnTo>
                <a:lnTo>
                  <a:pt x="1595999" y="870607"/>
                </a:lnTo>
                <a:lnTo>
                  <a:pt x="1589423" y="903184"/>
                </a:lnTo>
                <a:lnTo>
                  <a:pt x="1571487" y="929787"/>
                </a:lnTo>
                <a:lnTo>
                  <a:pt x="1544884" y="947723"/>
                </a:lnTo>
                <a:lnTo>
                  <a:pt x="1512307" y="954299"/>
                </a:lnTo>
                <a:close/>
              </a:path>
            </a:pathLst>
          </a:custGeom>
          <a:solidFill>
            <a:schemeClr val="accent1"/>
          </a:solidFill>
        </p:spPr>
        <p:txBody>
          <a:bodyPr wrap="square" lIns="0" tIns="0" rIns="0" bIns="0" rtlCol="0"/>
          <a:lstStyle/>
          <a:p>
            <a:endParaRPr/>
          </a:p>
        </p:txBody>
      </p:sp>
      <p:sp>
        <p:nvSpPr>
          <p:cNvPr id="15" name="object 15"/>
          <p:cNvSpPr txBox="1"/>
          <p:nvPr/>
        </p:nvSpPr>
        <p:spPr>
          <a:xfrm>
            <a:off x="10227205" y="1776888"/>
            <a:ext cx="1083344" cy="689932"/>
          </a:xfrm>
          <a:prstGeom prst="rect">
            <a:avLst/>
          </a:prstGeom>
        </p:spPr>
        <p:txBody>
          <a:bodyPr vert="horz" wrap="square" lIns="0" tIns="12700" rIns="0" bIns="0" rtlCol="0">
            <a:spAutoFit/>
          </a:bodyPr>
          <a:lstStyle/>
          <a:p>
            <a:pPr marL="12700">
              <a:lnSpc>
                <a:spcPct val="100000"/>
              </a:lnSpc>
              <a:spcBef>
                <a:spcPts val="100"/>
              </a:spcBef>
            </a:pPr>
            <a:r>
              <a:rPr lang="it-IT" sz="2200" b="1" spc="-5" dirty="0">
                <a:solidFill>
                  <a:srgbClr val="FFFFFF"/>
                </a:solidFill>
                <a:cs typeface="Roboto"/>
              </a:rPr>
              <a:t>Durata:40</a:t>
            </a:r>
            <a:r>
              <a:rPr lang="it-IT" sz="2200" b="1" spc="-80" dirty="0">
                <a:solidFill>
                  <a:srgbClr val="FFFFFF"/>
                </a:solidFill>
                <a:cs typeface="Roboto"/>
              </a:rPr>
              <a:t> </a:t>
            </a:r>
            <a:r>
              <a:rPr lang="it-IT" sz="2200" b="1" dirty="0">
                <a:solidFill>
                  <a:srgbClr val="FFFFFF"/>
                </a:solidFill>
                <a:cs typeface="Roboto"/>
              </a:rPr>
              <a:t>ORE</a:t>
            </a:r>
          </a:p>
        </p:txBody>
      </p:sp>
      <p:sp>
        <p:nvSpPr>
          <p:cNvPr id="19" name="CasellaDiTesto 18">
            <a:extLst>
              <a:ext uri="{FF2B5EF4-FFF2-40B4-BE49-F238E27FC236}">
                <a16:creationId xmlns:a16="http://schemas.microsoft.com/office/drawing/2014/main" id="{AE419993-E428-4926-B9BE-D3A35F84AC1A}"/>
              </a:ext>
            </a:extLst>
          </p:cNvPr>
          <p:cNvSpPr txBox="1"/>
          <p:nvPr/>
        </p:nvSpPr>
        <p:spPr>
          <a:xfrm>
            <a:off x="273640" y="993406"/>
            <a:ext cx="4171748" cy="400110"/>
          </a:xfrm>
          <a:prstGeom prst="rect">
            <a:avLst/>
          </a:prstGeom>
          <a:noFill/>
        </p:spPr>
        <p:txBody>
          <a:bodyPr wrap="square">
            <a:spAutoFit/>
          </a:bodyPr>
          <a:lstStyle/>
          <a:p>
            <a:pPr marL="59690">
              <a:lnSpc>
                <a:spcPct val="100000"/>
              </a:lnSpc>
              <a:spcBef>
                <a:spcPts val="1370"/>
              </a:spcBef>
            </a:pPr>
            <a:r>
              <a:rPr lang="it-IT" sz="2000" b="1" i="1" spc="20" dirty="0">
                <a:solidFill>
                  <a:schemeClr val="tx1">
                    <a:lumMod val="65000"/>
                    <a:lumOff val="35000"/>
                  </a:schemeClr>
                </a:solidFill>
                <a:cs typeface="Roboto"/>
              </a:rPr>
              <a:t>Upskilling</a:t>
            </a:r>
            <a:r>
              <a:rPr lang="it-IT" sz="2000" b="1" spc="20" dirty="0">
                <a:solidFill>
                  <a:schemeClr val="tx1">
                    <a:lumMod val="65000"/>
                    <a:lumOff val="35000"/>
                  </a:schemeClr>
                </a:solidFill>
                <a:cs typeface="Roboto"/>
              </a:rPr>
              <a:t> mirato al profilo di: </a:t>
            </a:r>
          </a:p>
        </p:txBody>
      </p:sp>
      <p:sp>
        <p:nvSpPr>
          <p:cNvPr id="18" name="object 7">
            <a:extLst>
              <a:ext uri="{FF2B5EF4-FFF2-40B4-BE49-F238E27FC236}">
                <a16:creationId xmlns:a16="http://schemas.microsoft.com/office/drawing/2014/main" id="{BCA79126-CD8E-4B74-897D-BAC10847B75A}"/>
              </a:ext>
            </a:extLst>
          </p:cNvPr>
          <p:cNvSpPr txBox="1"/>
          <p:nvPr/>
        </p:nvSpPr>
        <p:spPr>
          <a:xfrm>
            <a:off x="446798" y="1496480"/>
            <a:ext cx="8651262" cy="1139286"/>
          </a:xfrm>
          <a:prstGeom prst="rect">
            <a:avLst/>
          </a:prstGeom>
        </p:spPr>
        <p:txBody>
          <a:bodyPr vert="horz" wrap="square" lIns="0" tIns="173990" rIns="0" bIns="0" rtlCol="0">
            <a:spAutoFit/>
          </a:bodyPr>
          <a:lstStyle/>
          <a:p>
            <a:pPr marL="12700" marR="5080" algn="just">
              <a:lnSpc>
                <a:spcPct val="101600"/>
              </a:lnSpc>
              <a:spcBef>
                <a:spcPts val="985"/>
              </a:spcBef>
            </a:pPr>
            <a:r>
              <a:rPr lang="it-IT" b="1" spc="-15" dirty="0">
                <a:solidFill>
                  <a:srgbClr val="333333"/>
                </a:solidFill>
              </a:rPr>
              <a:t>Operatore di sistemi  elettrici: </a:t>
            </a:r>
            <a:r>
              <a:rPr lang="it-IT" spc="-15" dirty="0">
                <a:solidFill>
                  <a:srgbClr val="333333"/>
                </a:solidFill>
              </a:rPr>
              <a:t>si occupa di assemblare e montare parti e componenti elettriche di macchine, attrezzature e impianti sulla base di disegni e schemi tecnici.</a:t>
            </a:r>
          </a:p>
          <a:p>
            <a:pPr marL="12700" marR="5080" algn="just">
              <a:lnSpc>
                <a:spcPct val="101600"/>
              </a:lnSpc>
              <a:spcBef>
                <a:spcPts val="985"/>
              </a:spcBef>
            </a:pPr>
            <a:endParaRPr lang="it-IT" sz="1800" spc="-15" dirty="0">
              <a:solidFill>
                <a:srgbClr val="333333"/>
              </a:solidFill>
            </a:endParaRPr>
          </a:p>
        </p:txBody>
      </p:sp>
      <p:sp>
        <p:nvSpPr>
          <p:cNvPr id="25" name="CasellaDiTesto 24">
            <a:extLst>
              <a:ext uri="{FF2B5EF4-FFF2-40B4-BE49-F238E27FC236}">
                <a16:creationId xmlns:a16="http://schemas.microsoft.com/office/drawing/2014/main" id="{1EE8DD90-8A7D-478E-AA46-785E62A53140}"/>
              </a:ext>
            </a:extLst>
          </p:cNvPr>
          <p:cNvSpPr txBox="1"/>
          <p:nvPr/>
        </p:nvSpPr>
        <p:spPr>
          <a:xfrm>
            <a:off x="-247061" y="3583066"/>
            <a:ext cx="10032467" cy="646331"/>
          </a:xfrm>
          <a:prstGeom prst="rect">
            <a:avLst/>
          </a:prstGeom>
          <a:noFill/>
        </p:spPr>
        <p:txBody>
          <a:bodyPr wrap="square">
            <a:spAutoFit/>
          </a:bodyPr>
          <a:lstStyle/>
          <a:p>
            <a:pPr marL="742950" lvl="1" indent="-285750">
              <a:spcBef>
                <a:spcPts val="10"/>
              </a:spcBef>
              <a:buFont typeface="Wingdings" panose="05000000000000000000" pitchFamily="2" charset="2"/>
              <a:buChar char="v"/>
            </a:pPr>
            <a:r>
              <a:rPr lang="it-IT" spc="-15" dirty="0">
                <a:solidFill>
                  <a:srgbClr val="333333"/>
                </a:solidFill>
              </a:rPr>
              <a:t>Leggere e interpretare disegni tecnici</a:t>
            </a:r>
          </a:p>
          <a:p>
            <a:pPr marL="742950" lvl="1" indent="-285750">
              <a:spcBef>
                <a:spcPts val="10"/>
              </a:spcBef>
              <a:buFont typeface="Wingdings" panose="05000000000000000000" pitchFamily="2" charset="2"/>
              <a:buChar char="v"/>
            </a:pPr>
            <a:r>
              <a:rPr lang="it-IT" spc="-15" dirty="0">
                <a:solidFill>
                  <a:srgbClr val="333333"/>
                </a:solidFill>
              </a:rPr>
              <a:t>Conoscere le principali fasi di assemblaggio di componenti elettriche-elettroniche</a:t>
            </a:r>
          </a:p>
        </p:txBody>
      </p:sp>
      <p:sp>
        <p:nvSpPr>
          <p:cNvPr id="2" name="Rettangolo con angoli arrotondati 1">
            <a:extLst>
              <a:ext uri="{FF2B5EF4-FFF2-40B4-BE49-F238E27FC236}">
                <a16:creationId xmlns:a16="http://schemas.microsoft.com/office/drawing/2014/main" id="{705ADBB1-D753-C970-CC20-E426FE5FBD5F}"/>
              </a:ext>
            </a:extLst>
          </p:cNvPr>
          <p:cNvSpPr/>
          <p:nvPr/>
        </p:nvSpPr>
        <p:spPr>
          <a:xfrm>
            <a:off x="9905873" y="3232697"/>
            <a:ext cx="1596390" cy="1014899"/>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00"/>
          </a:p>
        </p:txBody>
      </p:sp>
      <p:sp>
        <p:nvSpPr>
          <p:cNvPr id="4" name="CasellaDiTesto 3">
            <a:extLst>
              <a:ext uri="{FF2B5EF4-FFF2-40B4-BE49-F238E27FC236}">
                <a16:creationId xmlns:a16="http://schemas.microsoft.com/office/drawing/2014/main" id="{57932D71-DA70-58EF-5FEA-7D3896180B5C}"/>
              </a:ext>
            </a:extLst>
          </p:cNvPr>
          <p:cNvSpPr txBox="1"/>
          <p:nvPr/>
        </p:nvSpPr>
        <p:spPr>
          <a:xfrm>
            <a:off x="10052274" y="3367474"/>
            <a:ext cx="1303588" cy="830997"/>
          </a:xfrm>
          <a:prstGeom prst="rect">
            <a:avLst/>
          </a:prstGeom>
          <a:noFill/>
        </p:spPr>
        <p:txBody>
          <a:bodyPr wrap="square" rtlCol="0">
            <a:spAutoFit/>
          </a:bodyPr>
          <a:lstStyle/>
          <a:p>
            <a:pPr algn="ctr"/>
            <a:r>
              <a:rPr lang="it-IT" sz="1600" b="1" dirty="0">
                <a:solidFill>
                  <a:schemeClr val="accent1"/>
                </a:solidFill>
                <a:hlinkClick r:id="rId3" action="ppaction://hlinksldjump"/>
              </a:rPr>
              <a:t>Vedi dettagli programma</a:t>
            </a:r>
            <a:endParaRPr lang="it-IT" sz="1600" b="1" dirty="0">
              <a:solidFill>
                <a:schemeClr val="accent1"/>
              </a:solidFill>
            </a:endParaRPr>
          </a:p>
        </p:txBody>
      </p:sp>
      <p:sp>
        <p:nvSpPr>
          <p:cNvPr id="6" name="Rettangolo con angoli arrotondati 5">
            <a:extLst>
              <a:ext uri="{FF2B5EF4-FFF2-40B4-BE49-F238E27FC236}">
                <a16:creationId xmlns:a16="http://schemas.microsoft.com/office/drawing/2014/main" id="{0E58C566-B02C-94FA-ABEC-F0ED3A21834A}"/>
              </a:ext>
            </a:extLst>
          </p:cNvPr>
          <p:cNvSpPr/>
          <p:nvPr/>
        </p:nvSpPr>
        <p:spPr>
          <a:xfrm>
            <a:off x="9895242" y="4462331"/>
            <a:ext cx="1596390" cy="819725"/>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00"/>
          </a:p>
        </p:txBody>
      </p:sp>
      <p:sp>
        <p:nvSpPr>
          <p:cNvPr id="7" name="CasellaDiTesto 6">
            <a:extLst>
              <a:ext uri="{FF2B5EF4-FFF2-40B4-BE49-F238E27FC236}">
                <a16:creationId xmlns:a16="http://schemas.microsoft.com/office/drawing/2014/main" id="{CD113137-59BA-139A-46A9-73EF294F8E9D}"/>
              </a:ext>
            </a:extLst>
          </p:cNvPr>
          <p:cNvSpPr txBox="1"/>
          <p:nvPr/>
        </p:nvSpPr>
        <p:spPr>
          <a:xfrm>
            <a:off x="9989655" y="4563475"/>
            <a:ext cx="1366207" cy="584775"/>
          </a:xfrm>
          <a:prstGeom prst="rect">
            <a:avLst/>
          </a:prstGeom>
          <a:noFill/>
        </p:spPr>
        <p:txBody>
          <a:bodyPr wrap="square" rtlCol="0">
            <a:spAutoFit/>
          </a:bodyPr>
          <a:lstStyle/>
          <a:p>
            <a:pPr algn="ctr"/>
            <a:r>
              <a:rPr lang="it-IT" sz="1600" b="1" dirty="0">
                <a:solidFill>
                  <a:schemeClr val="accent1"/>
                </a:solidFill>
                <a:hlinkClick r:id="rId4" action="ppaction://hlinksldjump"/>
              </a:rPr>
              <a:t>Vedi indice corsi</a:t>
            </a:r>
            <a:endParaRPr lang="it-IT" sz="1600" b="1" dirty="0">
              <a:solidFill>
                <a:schemeClr val="accent1"/>
              </a:solidFill>
            </a:endParaRPr>
          </a:p>
        </p:txBody>
      </p:sp>
      <p:pic>
        <p:nvPicPr>
          <p:cNvPr id="20" name="Immagine 19">
            <a:extLst>
              <a:ext uri="{FF2B5EF4-FFF2-40B4-BE49-F238E27FC236}">
                <a16:creationId xmlns:a16="http://schemas.microsoft.com/office/drawing/2014/main" id="{E25A4885-A1F9-4939-B001-1B6828D77D5A}"/>
              </a:ext>
            </a:extLst>
          </p:cNvPr>
          <p:cNvPicPr>
            <a:picLocks noChangeAspect="1"/>
          </p:cNvPicPr>
          <p:nvPr/>
        </p:nvPicPr>
        <p:blipFill>
          <a:blip r:embed="rId5"/>
          <a:stretch>
            <a:fillRect/>
          </a:stretch>
        </p:blipFill>
        <p:spPr>
          <a:xfrm>
            <a:off x="327484" y="5784507"/>
            <a:ext cx="9567758" cy="1086724"/>
          </a:xfrm>
          <a:prstGeom prst="rect">
            <a:avLst/>
          </a:prstGeom>
        </p:spPr>
      </p:pic>
      <p:pic>
        <p:nvPicPr>
          <p:cNvPr id="21" name="Immagine 20">
            <a:extLst>
              <a:ext uri="{FF2B5EF4-FFF2-40B4-BE49-F238E27FC236}">
                <a16:creationId xmlns:a16="http://schemas.microsoft.com/office/drawing/2014/main" id="{2016909D-8454-40C0-9486-764728915C2C}"/>
              </a:ext>
            </a:extLst>
          </p:cNvPr>
          <p:cNvPicPr>
            <a:picLocks noChangeAspect="1"/>
          </p:cNvPicPr>
          <p:nvPr/>
        </p:nvPicPr>
        <p:blipFill>
          <a:blip r:embed="rId6"/>
          <a:stretch>
            <a:fillRect/>
          </a:stretch>
        </p:blipFill>
        <p:spPr>
          <a:xfrm>
            <a:off x="9898769" y="6182710"/>
            <a:ext cx="1378634" cy="340953"/>
          </a:xfrm>
          <a:prstGeom prst="rect">
            <a:avLst/>
          </a:prstGeom>
        </p:spPr>
      </p:pic>
    </p:spTree>
    <p:extLst>
      <p:ext uri="{BB962C8B-B14F-4D97-AF65-F5344CB8AC3E}">
        <p14:creationId xmlns:p14="http://schemas.microsoft.com/office/powerpoint/2010/main" val="240868693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object 11"/>
          <p:cNvSpPr txBox="1"/>
          <p:nvPr/>
        </p:nvSpPr>
        <p:spPr>
          <a:xfrm>
            <a:off x="11596613" y="154633"/>
            <a:ext cx="302895" cy="604520"/>
          </a:xfrm>
          <a:prstGeom prst="rect">
            <a:avLst/>
          </a:prstGeom>
        </p:spPr>
        <p:txBody>
          <a:bodyPr vert="horz" wrap="square" lIns="0" tIns="12700" rIns="0" bIns="0" rtlCol="0">
            <a:spAutoFit/>
          </a:bodyPr>
          <a:lstStyle/>
          <a:p>
            <a:pPr marL="12700">
              <a:lnSpc>
                <a:spcPct val="100000"/>
              </a:lnSpc>
              <a:spcBef>
                <a:spcPts val="100"/>
              </a:spcBef>
            </a:pPr>
            <a:r>
              <a:rPr sz="3800" b="1" dirty="0">
                <a:solidFill>
                  <a:srgbClr val="FFFFFF"/>
                </a:solidFill>
                <a:latin typeface="Roboto"/>
                <a:cs typeface="Roboto"/>
              </a:rPr>
              <a:t>1</a:t>
            </a:r>
            <a:endParaRPr sz="3800">
              <a:latin typeface="Roboto"/>
              <a:cs typeface="Roboto"/>
            </a:endParaRPr>
          </a:p>
        </p:txBody>
      </p:sp>
      <p:sp>
        <p:nvSpPr>
          <p:cNvPr id="13" name="object 13"/>
          <p:cNvSpPr txBox="1"/>
          <p:nvPr/>
        </p:nvSpPr>
        <p:spPr>
          <a:xfrm>
            <a:off x="665119" y="2730294"/>
            <a:ext cx="8889221" cy="320601"/>
          </a:xfrm>
          <a:prstGeom prst="rect">
            <a:avLst/>
          </a:prstGeom>
        </p:spPr>
        <p:txBody>
          <a:bodyPr vert="horz" wrap="square" lIns="0" tIns="12700" rIns="0" bIns="0" rtlCol="0">
            <a:spAutoFit/>
          </a:bodyPr>
          <a:lstStyle/>
          <a:p>
            <a:pPr marL="12700">
              <a:lnSpc>
                <a:spcPct val="100000"/>
              </a:lnSpc>
              <a:spcBef>
                <a:spcPts val="100"/>
              </a:spcBef>
            </a:pPr>
            <a:r>
              <a:rPr lang="it-IT" sz="2000" b="1" spc="-25" dirty="0">
                <a:solidFill>
                  <a:srgbClr val="FFFFFF"/>
                </a:solidFill>
                <a:latin typeface="Myriad Pro Light" panose="020B0403030403020204" pitchFamily="34" charset="0"/>
                <a:cs typeface="Roboto"/>
              </a:rPr>
              <a:t>I partecipanti saranno in grado di:</a:t>
            </a:r>
            <a:endParaRPr sz="2000" dirty="0">
              <a:latin typeface="Myriad Pro Light" panose="020B0403030403020204" pitchFamily="34" charset="0"/>
              <a:cs typeface="Roboto"/>
            </a:endParaRPr>
          </a:p>
        </p:txBody>
      </p:sp>
      <p:sp>
        <p:nvSpPr>
          <p:cNvPr id="15" name="object 15"/>
          <p:cNvSpPr txBox="1"/>
          <p:nvPr/>
        </p:nvSpPr>
        <p:spPr>
          <a:xfrm>
            <a:off x="10227205" y="1985879"/>
            <a:ext cx="942975" cy="689932"/>
          </a:xfrm>
          <a:prstGeom prst="rect">
            <a:avLst/>
          </a:prstGeom>
        </p:spPr>
        <p:txBody>
          <a:bodyPr vert="horz" wrap="square" lIns="0" tIns="12700" rIns="0" bIns="0" rtlCol="0">
            <a:spAutoFit/>
          </a:bodyPr>
          <a:lstStyle/>
          <a:p>
            <a:pPr marL="12700">
              <a:lnSpc>
                <a:spcPct val="100000"/>
              </a:lnSpc>
              <a:spcBef>
                <a:spcPts val="100"/>
              </a:spcBef>
            </a:pPr>
            <a:r>
              <a:rPr lang="it-IT" sz="2200" b="1" spc="-5" dirty="0">
                <a:solidFill>
                  <a:srgbClr val="FFFFFF"/>
                </a:solidFill>
                <a:latin typeface="Roboto"/>
                <a:cs typeface="Roboto"/>
              </a:rPr>
              <a:t>Durata:40</a:t>
            </a:r>
            <a:r>
              <a:rPr sz="2200" b="1" spc="-80" dirty="0">
                <a:solidFill>
                  <a:srgbClr val="FFFFFF"/>
                </a:solidFill>
                <a:latin typeface="Roboto"/>
                <a:cs typeface="Roboto"/>
              </a:rPr>
              <a:t> </a:t>
            </a:r>
            <a:r>
              <a:rPr sz="2200" b="1" dirty="0">
                <a:solidFill>
                  <a:srgbClr val="FFFFFF"/>
                </a:solidFill>
                <a:latin typeface="Roboto"/>
                <a:cs typeface="Roboto"/>
              </a:rPr>
              <a:t>ORE</a:t>
            </a:r>
            <a:endParaRPr lang="it-IT" sz="2200" b="1" dirty="0">
              <a:solidFill>
                <a:srgbClr val="FFFFFF"/>
              </a:solidFill>
              <a:latin typeface="Roboto"/>
              <a:cs typeface="Roboto"/>
            </a:endParaRPr>
          </a:p>
        </p:txBody>
      </p:sp>
      <p:sp>
        <p:nvSpPr>
          <p:cNvPr id="21" name="object 7">
            <a:extLst>
              <a:ext uri="{FF2B5EF4-FFF2-40B4-BE49-F238E27FC236}">
                <a16:creationId xmlns:a16="http://schemas.microsoft.com/office/drawing/2014/main" id="{B326519F-15E6-47F8-8476-62CB87243C34}"/>
              </a:ext>
            </a:extLst>
          </p:cNvPr>
          <p:cNvSpPr txBox="1"/>
          <p:nvPr/>
        </p:nvSpPr>
        <p:spPr>
          <a:xfrm>
            <a:off x="509193" y="1733117"/>
            <a:ext cx="9663094" cy="3254545"/>
          </a:xfrm>
          <a:prstGeom prst="rect">
            <a:avLst/>
          </a:prstGeom>
        </p:spPr>
        <p:txBody>
          <a:bodyPr vert="horz" wrap="square" lIns="0" tIns="173990" rIns="0" bIns="0" rtlCol="0">
            <a:spAutoFit/>
          </a:bodyPr>
          <a:lstStyle/>
          <a:p>
            <a:pPr marL="342900" marR="5080" indent="-342900" algn="just">
              <a:lnSpc>
                <a:spcPct val="101600"/>
              </a:lnSpc>
              <a:spcBef>
                <a:spcPts val="985"/>
              </a:spcBef>
              <a:buFont typeface="Arial" panose="020B0604020202020204" pitchFamily="34" charset="0"/>
              <a:buChar char="•"/>
            </a:pPr>
            <a:r>
              <a:rPr lang="it-IT" b="0" i="0" dirty="0">
                <a:effectLst/>
              </a:rPr>
              <a:t>Elementi di disegno elettrico-elettronico: particolari e complessivi, segni, simboli, scale e metodi di rappresentazione</a:t>
            </a:r>
          </a:p>
          <a:p>
            <a:pPr marL="342900" marR="5080" indent="-342900" algn="just">
              <a:lnSpc>
                <a:spcPct val="101600"/>
              </a:lnSpc>
              <a:spcBef>
                <a:spcPts val="985"/>
              </a:spcBef>
              <a:buFont typeface="Arial" panose="020B0604020202020204" pitchFamily="34" charset="0"/>
              <a:buChar char="•"/>
            </a:pPr>
            <a:r>
              <a:rPr lang="it-IT" b="0" i="0" dirty="0">
                <a:effectLst/>
              </a:rPr>
              <a:t> Metodologie di lettura cataloghi componenti elettrici-elettronici e fluidici e manuali tecnici</a:t>
            </a:r>
          </a:p>
          <a:p>
            <a:pPr marL="342900" marR="5080" indent="-342900" algn="just">
              <a:lnSpc>
                <a:spcPct val="101600"/>
              </a:lnSpc>
              <a:spcBef>
                <a:spcPts val="985"/>
              </a:spcBef>
              <a:buFont typeface="Arial" panose="020B0604020202020204" pitchFamily="34" charset="0"/>
              <a:buChar char="•"/>
            </a:pPr>
            <a:r>
              <a:rPr lang="it-IT" b="0" i="0" dirty="0">
                <a:effectLst/>
              </a:rPr>
              <a:t>Principali strumenti, apparecchiature e attrezzature di lavoro e relative modalità di utilizzo</a:t>
            </a:r>
          </a:p>
          <a:p>
            <a:pPr marL="342900" marR="5080" indent="-342900" algn="just">
              <a:lnSpc>
                <a:spcPct val="101600"/>
              </a:lnSpc>
              <a:spcBef>
                <a:spcPts val="985"/>
              </a:spcBef>
              <a:buFont typeface="Arial" panose="020B0604020202020204" pitchFamily="34" charset="0"/>
              <a:buChar char="•"/>
            </a:pPr>
            <a:r>
              <a:rPr lang="it-IT" b="0" i="0" dirty="0">
                <a:effectLst/>
              </a:rPr>
              <a:t>Fasi del processo di assemblaggio e cablaggio di componenti elettrico-elettroniche</a:t>
            </a:r>
          </a:p>
          <a:p>
            <a:pPr marL="342900" marR="5080" indent="-342900" algn="just">
              <a:lnSpc>
                <a:spcPct val="101600"/>
              </a:lnSpc>
              <a:spcBef>
                <a:spcPts val="985"/>
              </a:spcBef>
              <a:buFont typeface="Arial" panose="020B0604020202020204" pitchFamily="34" charset="0"/>
              <a:buChar char="•"/>
            </a:pPr>
            <a:r>
              <a:rPr lang="it-IT" b="0" i="0" dirty="0">
                <a:effectLst/>
              </a:rPr>
              <a:t>Procedure di manutenzione e pulizia ordinaria di macchinari e attrezzature</a:t>
            </a:r>
            <a:endParaRPr lang="it-IT" dirty="0"/>
          </a:p>
          <a:p>
            <a:pPr marL="285750" marR="5080" indent="-285750" algn="just">
              <a:lnSpc>
                <a:spcPct val="101600"/>
              </a:lnSpc>
              <a:spcBef>
                <a:spcPts val="985"/>
              </a:spcBef>
              <a:buFont typeface="Wingdings" panose="05000000000000000000" pitchFamily="2" charset="2"/>
              <a:buChar char="§"/>
            </a:pPr>
            <a:endParaRPr lang="it-IT" sz="2000" b="0" i="0" dirty="0">
              <a:effectLst/>
              <a:latin typeface="Myriad Pro Light" panose="020B0403030403020204" pitchFamily="34" charset="0"/>
            </a:endParaRPr>
          </a:p>
          <a:p>
            <a:pPr marL="285750" marR="5080" indent="-285750" algn="just">
              <a:lnSpc>
                <a:spcPct val="101600"/>
              </a:lnSpc>
              <a:spcBef>
                <a:spcPts val="985"/>
              </a:spcBef>
              <a:buFont typeface="Wingdings" panose="05000000000000000000" pitchFamily="2" charset="2"/>
              <a:buChar char="§"/>
            </a:pPr>
            <a:endParaRPr lang="it-IT" sz="2000" dirty="0">
              <a:solidFill>
                <a:srgbClr val="212121"/>
              </a:solidFill>
              <a:latin typeface="Myriad Pro Light" panose="020B0403030403020204" pitchFamily="34" charset="0"/>
            </a:endParaRPr>
          </a:p>
        </p:txBody>
      </p:sp>
      <p:sp>
        <p:nvSpPr>
          <p:cNvPr id="2" name="object 12">
            <a:extLst>
              <a:ext uri="{FF2B5EF4-FFF2-40B4-BE49-F238E27FC236}">
                <a16:creationId xmlns:a16="http://schemas.microsoft.com/office/drawing/2014/main" id="{98220350-5982-5833-384E-E7845B13119E}"/>
              </a:ext>
            </a:extLst>
          </p:cNvPr>
          <p:cNvSpPr/>
          <p:nvPr/>
        </p:nvSpPr>
        <p:spPr>
          <a:xfrm>
            <a:off x="509166" y="1089263"/>
            <a:ext cx="2593435" cy="537585"/>
          </a:xfrm>
          <a:custGeom>
            <a:avLst/>
            <a:gdLst/>
            <a:ahLst/>
            <a:cxnLst/>
            <a:rect l="l" t="t" r="r" b="b"/>
            <a:pathLst>
              <a:path w="1596389" h="472439">
                <a:moveTo>
                  <a:pt x="1554614" y="471899"/>
                </a:moveTo>
                <a:lnTo>
                  <a:pt x="41385" y="471899"/>
                </a:lnTo>
                <a:lnTo>
                  <a:pt x="25276" y="468647"/>
                </a:lnTo>
                <a:lnTo>
                  <a:pt x="12121" y="459778"/>
                </a:lnTo>
                <a:lnTo>
                  <a:pt x="3252" y="446623"/>
                </a:lnTo>
                <a:lnTo>
                  <a:pt x="0" y="430514"/>
                </a:lnTo>
                <a:lnTo>
                  <a:pt x="0" y="41385"/>
                </a:lnTo>
                <a:lnTo>
                  <a:pt x="3252" y="25276"/>
                </a:lnTo>
                <a:lnTo>
                  <a:pt x="12121" y="12121"/>
                </a:lnTo>
                <a:lnTo>
                  <a:pt x="25276" y="3252"/>
                </a:lnTo>
                <a:lnTo>
                  <a:pt x="41385" y="0"/>
                </a:lnTo>
                <a:lnTo>
                  <a:pt x="1554614" y="0"/>
                </a:lnTo>
                <a:lnTo>
                  <a:pt x="1589046" y="18424"/>
                </a:lnTo>
                <a:lnTo>
                  <a:pt x="1595999" y="41385"/>
                </a:lnTo>
                <a:lnTo>
                  <a:pt x="1595999" y="430514"/>
                </a:lnTo>
                <a:lnTo>
                  <a:pt x="1592747" y="446623"/>
                </a:lnTo>
                <a:lnTo>
                  <a:pt x="1583878" y="459778"/>
                </a:lnTo>
                <a:lnTo>
                  <a:pt x="1570723" y="468647"/>
                </a:lnTo>
                <a:lnTo>
                  <a:pt x="1554614" y="471899"/>
                </a:lnTo>
                <a:close/>
              </a:path>
            </a:pathLst>
          </a:custGeom>
          <a:solidFill>
            <a:schemeClr val="accent1"/>
          </a:solidFill>
        </p:spPr>
        <p:txBody>
          <a:bodyPr wrap="square" lIns="0" tIns="0" rIns="0" bIns="0" rtlCol="0"/>
          <a:lstStyle/>
          <a:p>
            <a:endParaRPr/>
          </a:p>
        </p:txBody>
      </p:sp>
      <p:sp>
        <p:nvSpPr>
          <p:cNvPr id="4" name="CasellaDiTesto 3">
            <a:extLst>
              <a:ext uri="{FF2B5EF4-FFF2-40B4-BE49-F238E27FC236}">
                <a16:creationId xmlns:a16="http://schemas.microsoft.com/office/drawing/2014/main" id="{F5F6326E-58A4-8448-D71D-02AE1F038A27}"/>
              </a:ext>
            </a:extLst>
          </p:cNvPr>
          <p:cNvSpPr txBox="1"/>
          <p:nvPr/>
        </p:nvSpPr>
        <p:spPr>
          <a:xfrm>
            <a:off x="509166" y="1158000"/>
            <a:ext cx="4171748" cy="400110"/>
          </a:xfrm>
          <a:prstGeom prst="rect">
            <a:avLst/>
          </a:prstGeom>
          <a:noFill/>
        </p:spPr>
        <p:txBody>
          <a:bodyPr wrap="square">
            <a:spAutoFit/>
          </a:bodyPr>
          <a:lstStyle/>
          <a:p>
            <a:pPr marL="59690">
              <a:lnSpc>
                <a:spcPct val="100000"/>
              </a:lnSpc>
              <a:spcBef>
                <a:spcPts val="1370"/>
              </a:spcBef>
            </a:pPr>
            <a:r>
              <a:rPr lang="it-IT" sz="2000" b="1" i="1" spc="20" dirty="0">
                <a:solidFill>
                  <a:schemeClr val="bg1"/>
                </a:solidFill>
                <a:cs typeface="Roboto"/>
              </a:rPr>
              <a:t>Programma corso:</a:t>
            </a:r>
            <a:endParaRPr lang="it-IT" sz="2000" b="1" spc="20" dirty="0">
              <a:solidFill>
                <a:schemeClr val="bg1"/>
              </a:solidFill>
              <a:cs typeface="Roboto"/>
            </a:endParaRPr>
          </a:p>
        </p:txBody>
      </p:sp>
      <p:sp>
        <p:nvSpPr>
          <p:cNvPr id="5" name="Rettangolo con angoli arrotondati 4">
            <a:extLst>
              <a:ext uri="{FF2B5EF4-FFF2-40B4-BE49-F238E27FC236}">
                <a16:creationId xmlns:a16="http://schemas.microsoft.com/office/drawing/2014/main" id="{B290250C-9686-4E96-A03E-50539B955CE9}"/>
              </a:ext>
            </a:extLst>
          </p:cNvPr>
          <p:cNvSpPr/>
          <p:nvPr/>
        </p:nvSpPr>
        <p:spPr>
          <a:xfrm>
            <a:off x="9785406" y="4365602"/>
            <a:ext cx="1596390" cy="819725"/>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00"/>
          </a:p>
        </p:txBody>
      </p:sp>
      <p:sp>
        <p:nvSpPr>
          <p:cNvPr id="6" name="CasellaDiTesto 5">
            <a:extLst>
              <a:ext uri="{FF2B5EF4-FFF2-40B4-BE49-F238E27FC236}">
                <a16:creationId xmlns:a16="http://schemas.microsoft.com/office/drawing/2014/main" id="{0DCB7853-4485-C0C0-1AC4-848F1B53F664}"/>
              </a:ext>
            </a:extLst>
          </p:cNvPr>
          <p:cNvSpPr txBox="1"/>
          <p:nvPr/>
        </p:nvSpPr>
        <p:spPr>
          <a:xfrm>
            <a:off x="9895242" y="4483076"/>
            <a:ext cx="1366207" cy="584775"/>
          </a:xfrm>
          <a:prstGeom prst="rect">
            <a:avLst/>
          </a:prstGeom>
          <a:noFill/>
        </p:spPr>
        <p:txBody>
          <a:bodyPr wrap="square" rtlCol="0">
            <a:spAutoFit/>
          </a:bodyPr>
          <a:lstStyle/>
          <a:p>
            <a:pPr algn="ctr"/>
            <a:r>
              <a:rPr lang="it-IT" sz="1600" b="1" dirty="0">
                <a:solidFill>
                  <a:schemeClr val="accent1"/>
                </a:solidFill>
                <a:hlinkClick r:id="rId3" action="ppaction://hlinksldjump"/>
              </a:rPr>
              <a:t>Vedi indice corsi</a:t>
            </a:r>
            <a:endParaRPr lang="it-IT" sz="1600" b="1" dirty="0">
              <a:solidFill>
                <a:schemeClr val="accent1"/>
              </a:solidFill>
            </a:endParaRPr>
          </a:p>
        </p:txBody>
      </p:sp>
      <p:sp>
        <p:nvSpPr>
          <p:cNvPr id="19" name="CasellaDiTesto 18">
            <a:extLst>
              <a:ext uri="{FF2B5EF4-FFF2-40B4-BE49-F238E27FC236}">
                <a16:creationId xmlns:a16="http://schemas.microsoft.com/office/drawing/2014/main" id="{6045998B-EFA9-4798-BFA0-A2EA8B1EB36A}"/>
              </a:ext>
            </a:extLst>
          </p:cNvPr>
          <p:cNvSpPr txBox="1"/>
          <p:nvPr/>
        </p:nvSpPr>
        <p:spPr>
          <a:xfrm>
            <a:off x="327484" y="163848"/>
            <a:ext cx="11364465" cy="738664"/>
          </a:xfrm>
          <a:prstGeom prst="rect">
            <a:avLst/>
          </a:prstGeom>
          <a:noFill/>
        </p:spPr>
        <p:txBody>
          <a:bodyPr wrap="square">
            <a:spAutoFit/>
          </a:bodyPr>
          <a:lstStyle/>
          <a:p>
            <a:r>
              <a:rPr lang="it-IT" sz="2800" b="1" spc="-15" dirty="0">
                <a:solidFill>
                  <a:schemeClr val="accent1"/>
                </a:solidFill>
              </a:rPr>
              <a:t>15. CORSO OPERATORE DI SISTEMI ELETTRICI</a:t>
            </a:r>
            <a:br>
              <a:rPr lang="it-IT" sz="2800" b="1" spc="-15" dirty="0">
                <a:solidFill>
                  <a:schemeClr val="accent1"/>
                </a:solidFill>
              </a:rPr>
            </a:br>
            <a:r>
              <a:rPr lang="it-IT" sz="1400" b="1" spc="-15" dirty="0">
                <a:solidFill>
                  <a:schemeClr val="accent1"/>
                </a:solidFill>
              </a:rPr>
              <a:t>(O</a:t>
            </a:r>
            <a:r>
              <a:rPr lang="it-IT" sz="1400" b="1" dirty="0">
                <a:solidFill>
                  <a:schemeClr val="accent1"/>
                </a:solidFill>
                <a:effectLst/>
              </a:rPr>
              <a:t>PAL Formazione </a:t>
            </a:r>
            <a:r>
              <a:rPr lang="it-IT" sz="1400" b="1" dirty="0" err="1">
                <a:solidFill>
                  <a:schemeClr val="accent1"/>
                </a:solidFill>
                <a:effectLst/>
              </a:rPr>
              <a:t>Upskilling</a:t>
            </a:r>
            <a:r>
              <a:rPr lang="it-IT" sz="1400" b="1" dirty="0">
                <a:solidFill>
                  <a:schemeClr val="accent1"/>
                </a:solidFill>
                <a:effectLst/>
              </a:rPr>
              <a:t> (RRSP) mirata al profilo OPERATORE DI SISTEMI ELETTRICO-ELETTRONICI)</a:t>
            </a:r>
            <a:endParaRPr lang="it-IT" sz="1400" b="1" dirty="0"/>
          </a:p>
        </p:txBody>
      </p:sp>
      <p:pic>
        <p:nvPicPr>
          <p:cNvPr id="14" name="Immagine 13">
            <a:extLst>
              <a:ext uri="{FF2B5EF4-FFF2-40B4-BE49-F238E27FC236}">
                <a16:creationId xmlns:a16="http://schemas.microsoft.com/office/drawing/2014/main" id="{7272AF4F-E7DC-456A-AFFC-072BF9558AAD}"/>
              </a:ext>
            </a:extLst>
          </p:cNvPr>
          <p:cNvPicPr>
            <a:picLocks noChangeAspect="1"/>
          </p:cNvPicPr>
          <p:nvPr/>
        </p:nvPicPr>
        <p:blipFill>
          <a:blip r:embed="rId4"/>
          <a:stretch>
            <a:fillRect/>
          </a:stretch>
        </p:blipFill>
        <p:spPr>
          <a:xfrm>
            <a:off x="327484" y="5784507"/>
            <a:ext cx="9567758" cy="1086724"/>
          </a:xfrm>
          <a:prstGeom prst="rect">
            <a:avLst/>
          </a:prstGeom>
        </p:spPr>
      </p:pic>
      <p:pic>
        <p:nvPicPr>
          <p:cNvPr id="17" name="Immagine 16">
            <a:extLst>
              <a:ext uri="{FF2B5EF4-FFF2-40B4-BE49-F238E27FC236}">
                <a16:creationId xmlns:a16="http://schemas.microsoft.com/office/drawing/2014/main" id="{BAF99646-75E2-4E0E-B4C0-C8EFEA228C0A}"/>
              </a:ext>
            </a:extLst>
          </p:cNvPr>
          <p:cNvPicPr>
            <a:picLocks noChangeAspect="1"/>
          </p:cNvPicPr>
          <p:nvPr/>
        </p:nvPicPr>
        <p:blipFill>
          <a:blip r:embed="rId5"/>
          <a:stretch>
            <a:fillRect/>
          </a:stretch>
        </p:blipFill>
        <p:spPr>
          <a:xfrm>
            <a:off x="9898769" y="6182710"/>
            <a:ext cx="1378634" cy="340953"/>
          </a:xfrm>
          <a:prstGeom prst="rect">
            <a:avLst/>
          </a:prstGeom>
        </p:spPr>
      </p:pic>
    </p:spTree>
    <p:extLst>
      <p:ext uri="{BB962C8B-B14F-4D97-AF65-F5344CB8AC3E}">
        <p14:creationId xmlns:p14="http://schemas.microsoft.com/office/powerpoint/2010/main" val="95452286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object 5">
            <a:extLst>
              <a:ext uri="{FF2B5EF4-FFF2-40B4-BE49-F238E27FC236}">
                <a16:creationId xmlns:a16="http://schemas.microsoft.com/office/drawing/2014/main" id="{ABD1E4BD-6535-4527-BDB3-84DFEAD2F6FB}"/>
              </a:ext>
            </a:extLst>
          </p:cNvPr>
          <p:cNvSpPr/>
          <p:nvPr/>
        </p:nvSpPr>
        <p:spPr>
          <a:xfrm>
            <a:off x="304154" y="1343816"/>
            <a:ext cx="8889221" cy="1877383"/>
          </a:xfrm>
          <a:custGeom>
            <a:avLst/>
            <a:gdLst/>
            <a:ahLst/>
            <a:cxnLst/>
            <a:rect l="l" t="t" r="r" b="b"/>
            <a:pathLst>
              <a:path w="7729220" h="954405">
                <a:moveTo>
                  <a:pt x="7644907" y="954299"/>
                </a:moveTo>
                <a:lnTo>
                  <a:pt x="83692" y="954299"/>
                </a:lnTo>
                <a:lnTo>
                  <a:pt x="51115" y="947723"/>
                </a:lnTo>
                <a:lnTo>
                  <a:pt x="24512" y="929787"/>
                </a:lnTo>
                <a:lnTo>
                  <a:pt x="6576" y="903184"/>
                </a:lnTo>
                <a:lnTo>
                  <a:pt x="0" y="870607"/>
                </a:lnTo>
                <a:lnTo>
                  <a:pt x="0" y="83692"/>
                </a:lnTo>
                <a:lnTo>
                  <a:pt x="6576" y="51115"/>
                </a:lnTo>
                <a:lnTo>
                  <a:pt x="24512" y="24512"/>
                </a:lnTo>
                <a:lnTo>
                  <a:pt x="51115" y="6576"/>
                </a:lnTo>
                <a:lnTo>
                  <a:pt x="83692" y="0"/>
                </a:lnTo>
                <a:lnTo>
                  <a:pt x="7644907" y="0"/>
                </a:lnTo>
                <a:lnTo>
                  <a:pt x="7691340" y="14061"/>
                </a:lnTo>
                <a:lnTo>
                  <a:pt x="7722229" y="51664"/>
                </a:lnTo>
                <a:lnTo>
                  <a:pt x="7728599" y="83692"/>
                </a:lnTo>
                <a:lnTo>
                  <a:pt x="7728599" y="870607"/>
                </a:lnTo>
                <a:lnTo>
                  <a:pt x="7722023" y="903184"/>
                </a:lnTo>
                <a:lnTo>
                  <a:pt x="7704087" y="929787"/>
                </a:lnTo>
                <a:lnTo>
                  <a:pt x="7677484" y="947723"/>
                </a:lnTo>
                <a:lnTo>
                  <a:pt x="7644907" y="954299"/>
                </a:lnTo>
                <a:close/>
              </a:path>
            </a:pathLst>
          </a:custGeom>
          <a:solidFill>
            <a:schemeClr val="bg2">
              <a:lumMod val="90000"/>
            </a:schemeClr>
          </a:solidFill>
        </p:spPr>
        <p:txBody>
          <a:bodyPr wrap="square" lIns="0" tIns="0" rIns="0" bIns="0" rtlCol="0"/>
          <a:lstStyle/>
          <a:p>
            <a:endParaRPr>
              <a:solidFill>
                <a:srgbClr val="00B050"/>
              </a:solidFill>
            </a:endParaRPr>
          </a:p>
        </p:txBody>
      </p:sp>
      <p:sp>
        <p:nvSpPr>
          <p:cNvPr id="11" name="object 11"/>
          <p:cNvSpPr txBox="1"/>
          <p:nvPr/>
        </p:nvSpPr>
        <p:spPr>
          <a:xfrm>
            <a:off x="11596613" y="154633"/>
            <a:ext cx="302895" cy="604520"/>
          </a:xfrm>
          <a:prstGeom prst="rect">
            <a:avLst/>
          </a:prstGeom>
        </p:spPr>
        <p:txBody>
          <a:bodyPr vert="horz" wrap="square" lIns="0" tIns="12700" rIns="0" bIns="0" rtlCol="0">
            <a:spAutoFit/>
          </a:bodyPr>
          <a:lstStyle/>
          <a:p>
            <a:pPr marL="12700">
              <a:lnSpc>
                <a:spcPct val="100000"/>
              </a:lnSpc>
              <a:spcBef>
                <a:spcPts val="100"/>
              </a:spcBef>
            </a:pPr>
            <a:r>
              <a:rPr lang="it-IT" sz="3800" b="1" dirty="0">
                <a:solidFill>
                  <a:srgbClr val="FFFFFF"/>
                </a:solidFill>
                <a:cs typeface="Roboto"/>
              </a:rPr>
              <a:t>1</a:t>
            </a:r>
            <a:endParaRPr lang="it-IT" sz="3800">
              <a:cs typeface="Roboto"/>
            </a:endParaRPr>
          </a:p>
        </p:txBody>
      </p:sp>
      <p:sp>
        <p:nvSpPr>
          <p:cNvPr id="12" name="object 12"/>
          <p:cNvSpPr/>
          <p:nvPr/>
        </p:nvSpPr>
        <p:spPr>
          <a:xfrm>
            <a:off x="353475" y="3415535"/>
            <a:ext cx="4108269" cy="537585"/>
          </a:xfrm>
          <a:custGeom>
            <a:avLst/>
            <a:gdLst/>
            <a:ahLst/>
            <a:cxnLst/>
            <a:rect l="l" t="t" r="r" b="b"/>
            <a:pathLst>
              <a:path w="1596389" h="472439">
                <a:moveTo>
                  <a:pt x="1554614" y="471899"/>
                </a:moveTo>
                <a:lnTo>
                  <a:pt x="41385" y="471899"/>
                </a:lnTo>
                <a:lnTo>
                  <a:pt x="25276" y="468647"/>
                </a:lnTo>
                <a:lnTo>
                  <a:pt x="12121" y="459778"/>
                </a:lnTo>
                <a:lnTo>
                  <a:pt x="3252" y="446623"/>
                </a:lnTo>
                <a:lnTo>
                  <a:pt x="0" y="430514"/>
                </a:lnTo>
                <a:lnTo>
                  <a:pt x="0" y="41385"/>
                </a:lnTo>
                <a:lnTo>
                  <a:pt x="3252" y="25276"/>
                </a:lnTo>
                <a:lnTo>
                  <a:pt x="12121" y="12121"/>
                </a:lnTo>
                <a:lnTo>
                  <a:pt x="25276" y="3252"/>
                </a:lnTo>
                <a:lnTo>
                  <a:pt x="41385" y="0"/>
                </a:lnTo>
                <a:lnTo>
                  <a:pt x="1554614" y="0"/>
                </a:lnTo>
                <a:lnTo>
                  <a:pt x="1589046" y="18424"/>
                </a:lnTo>
                <a:lnTo>
                  <a:pt x="1595999" y="41385"/>
                </a:lnTo>
                <a:lnTo>
                  <a:pt x="1595999" y="430514"/>
                </a:lnTo>
                <a:lnTo>
                  <a:pt x="1592747" y="446623"/>
                </a:lnTo>
                <a:lnTo>
                  <a:pt x="1583878" y="459778"/>
                </a:lnTo>
                <a:lnTo>
                  <a:pt x="1570723" y="468647"/>
                </a:lnTo>
                <a:lnTo>
                  <a:pt x="1554614" y="471899"/>
                </a:lnTo>
                <a:close/>
              </a:path>
            </a:pathLst>
          </a:custGeom>
          <a:solidFill>
            <a:schemeClr val="accent1"/>
          </a:solidFill>
        </p:spPr>
        <p:txBody>
          <a:bodyPr wrap="square" lIns="0" tIns="0" rIns="0" bIns="0" rtlCol="0"/>
          <a:lstStyle/>
          <a:p>
            <a:endParaRPr/>
          </a:p>
        </p:txBody>
      </p:sp>
      <p:sp>
        <p:nvSpPr>
          <p:cNvPr id="13" name="object 13"/>
          <p:cNvSpPr txBox="1"/>
          <p:nvPr/>
        </p:nvSpPr>
        <p:spPr>
          <a:xfrm>
            <a:off x="419320" y="3502673"/>
            <a:ext cx="9559521" cy="320601"/>
          </a:xfrm>
          <a:prstGeom prst="rect">
            <a:avLst/>
          </a:prstGeom>
        </p:spPr>
        <p:txBody>
          <a:bodyPr vert="horz" wrap="square" lIns="0" tIns="12700" rIns="0" bIns="0" rtlCol="0">
            <a:spAutoFit/>
          </a:bodyPr>
          <a:lstStyle/>
          <a:p>
            <a:pPr marL="12700">
              <a:lnSpc>
                <a:spcPct val="100000"/>
              </a:lnSpc>
              <a:spcBef>
                <a:spcPts val="100"/>
              </a:spcBef>
            </a:pPr>
            <a:r>
              <a:rPr lang="it-IT" sz="2000" b="1" spc="-25" dirty="0">
                <a:solidFill>
                  <a:srgbClr val="FFFFFF"/>
                </a:solidFill>
                <a:cs typeface="Roboto"/>
              </a:rPr>
              <a:t>I partecipanti saranno in grado di:</a:t>
            </a:r>
            <a:endParaRPr lang="it-IT" sz="2000" dirty="0">
              <a:cs typeface="Roboto"/>
            </a:endParaRPr>
          </a:p>
        </p:txBody>
      </p:sp>
      <p:sp>
        <p:nvSpPr>
          <p:cNvPr id="14" name="object 14"/>
          <p:cNvSpPr/>
          <p:nvPr/>
        </p:nvSpPr>
        <p:spPr>
          <a:xfrm>
            <a:off x="9785406" y="1561867"/>
            <a:ext cx="1596390" cy="1531803"/>
          </a:xfrm>
          <a:custGeom>
            <a:avLst/>
            <a:gdLst/>
            <a:ahLst/>
            <a:cxnLst/>
            <a:rect l="l" t="t" r="r" b="b"/>
            <a:pathLst>
              <a:path w="1596390" h="954405">
                <a:moveTo>
                  <a:pt x="1512307" y="954299"/>
                </a:moveTo>
                <a:lnTo>
                  <a:pt x="83692" y="954299"/>
                </a:lnTo>
                <a:lnTo>
                  <a:pt x="51115" y="947723"/>
                </a:lnTo>
                <a:lnTo>
                  <a:pt x="24512" y="929787"/>
                </a:lnTo>
                <a:lnTo>
                  <a:pt x="6576" y="903184"/>
                </a:lnTo>
                <a:lnTo>
                  <a:pt x="0" y="870607"/>
                </a:lnTo>
                <a:lnTo>
                  <a:pt x="0" y="83692"/>
                </a:lnTo>
                <a:lnTo>
                  <a:pt x="6576" y="51115"/>
                </a:lnTo>
                <a:lnTo>
                  <a:pt x="24512" y="24512"/>
                </a:lnTo>
                <a:lnTo>
                  <a:pt x="51115" y="6576"/>
                </a:lnTo>
                <a:lnTo>
                  <a:pt x="83692" y="0"/>
                </a:lnTo>
                <a:lnTo>
                  <a:pt x="1512307" y="0"/>
                </a:lnTo>
                <a:lnTo>
                  <a:pt x="1558740" y="14061"/>
                </a:lnTo>
                <a:lnTo>
                  <a:pt x="1589629" y="51664"/>
                </a:lnTo>
                <a:lnTo>
                  <a:pt x="1595999" y="83692"/>
                </a:lnTo>
                <a:lnTo>
                  <a:pt x="1595999" y="870607"/>
                </a:lnTo>
                <a:lnTo>
                  <a:pt x="1589423" y="903184"/>
                </a:lnTo>
                <a:lnTo>
                  <a:pt x="1571487" y="929787"/>
                </a:lnTo>
                <a:lnTo>
                  <a:pt x="1544884" y="947723"/>
                </a:lnTo>
                <a:lnTo>
                  <a:pt x="1512307" y="954299"/>
                </a:lnTo>
                <a:close/>
              </a:path>
            </a:pathLst>
          </a:custGeom>
          <a:solidFill>
            <a:schemeClr val="accent1"/>
          </a:solidFill>
        </p:spPr>
        <p:txBody>
          <a:bodyPr wrap="square" lIns="0" tIns="0" rIns="0" bIns="0" rtlCol="0"/>
          <a:lstStyle/>
          <a:p>
            <a:endParaRPr/>
          </a:p>
        </p:txBody>
      </p:sp>
      <p:sp>
        <p:nvSpPr>
          <p:cNvPr id="15" name="object 15"/>
          <p:cNvSpPr txBox="1"/>
          <p:nvPr/>
        </p:nvSpPr>
        <p:spPr>
          <a:xfrm>
            <a:off x="10016704" y="1966449"/>
            <a:ext cx="1123281" cy="689932"/>
          </a:xfrm>
          <a:prstGeom prst="rect">
            <a:avLst/>
          </a:prstGeom>
        </p:spPr>
        <p:txBody>
          <a:bodyPr vert="horz" wrap="square" lIns="0" tIns="12700" rIns="0" bIns="0" rtlCol="0">
            <a:spAutoFit/>
          </a:bodyPr>
          <a:lstStyle/>
          <a:p>
            <a:pPr marL="12700" algn="ctr">
              <a:lnSpc>
                <a:spcPct val="100000"/>
              </a:lnSpc>
              <a:spcBef>
                <a:spcPts val="100"/>
              </a:spcBef>
            </a:pPr>
            <a:r>
              <a:rPr lang="it-IT" sz="2200" b="1" spc="-5" dirty="0">
                <a:solidFill>
                  <a:srgbClr val="FFFFFF"/>
                </a:solidFill>
                <a:cs typeface="Roboto"/>
              </a:rPr>
              <a:t>Durata:40</a:t>
            </a:r>
            <a:r>
              <a:rPr lang="it-IT" sz="2200" b="1" spc="-80" dirty="0">
                <a:solidFill>
                  <a:srgbClr val="FFFFFF"/>
                </a:solidFill>
                <a:cs typeface="Roboto"/>
              </a:rPr>
              <a:t> </a:t>
            </a:r>
            <a:r>
              <a:rPr lang="it-IT" sz="2200" b="1" dirty="0">
                <a:solidFill>
                  <a:srgbClr val="FFFFFF"/>
                </a:solidFill>
                <a:cs typeface="Roboto"/>
              </a:rPr>
              <a:t>ORE</a:t>
            </a:r>
          </a:p>
        </p:txBody>
      </p:sp>
      <p:sp>
        <p:nvSpPr>
          <p:cNvPr id="19" name="CasellaDiTesto 18">
            <a:extLst>
              <a:ext uri="{FF2B5EF4-FFF2-40B4-BE49-F238E27FC236}">
                <a16:creationId xmlns:a16="http://schemas.microsoft.com/office/drawing/2014/main" id="{AE419993-E428-4926-B9BE-D3A35F84AC1A}"/>
              </a:ext>
            </a:extLst>
          </p:cNvPr>
          <p:cNvSpPr txBox="1"/>
          <p:nvPr/>
        </p:nvSpPr>
        <p:spPr>
          <a:xfrm>
            <a:off x="289996" y="930016"/>
            <a:ext cx="4171748" cy="400110"/>
          </a:xfrm>
          <a:prstGeom prst="rect">
            <a:avLst/>
          </a:prstGeom>
          <a:noFill/>
        </p:spPr>
        <p:txBody>
          <a:bodyPr wrap="square">
            <a:spAutoFit/>
          </a:bodyPr>
          <a:lstStyle/>
          <a:p>
            <a:pPr marL="59690">
              <a:lnSpc>
                <a:spcPct val="100000"/>
              </a:lnSpc>
              <a:spcBef>
                <a:spcPts val="1370"/>
              </a:spcBef>
            </a:pPr>
            <a:r>
              <a:rPr lang="it-IT" sz="2000" b="1" i="1" spc="20" dirty="0">
                <a:solidFill>
                  <a:schemeClr val="tx1">
                    <a:lumMod val="65000"/>
                    <a:lumOff val="35000"/>
                  </a:schemeClr>
                </a:solidFill>
                <a:cs typeface="Roboto"/>
              </a:rPr>
              <a:t>Up </a:t>
            </a:r>
            <a:r>
              <a:rPr lang="it-IT" sz="2000" b="1" i="1" spc="20" dirty="0" err="1">
                <a:solidFill>
                  <a:schemeClr val="tx1">
                    <a:lumMod val="65000"/>
                    <a:lumOff val="35000"/>
                  </a:schemeClr>
                </a:solidFill>
                <a:cs typeface="Roboto"/>
              </a:rPr>
              <a:t>skilling</a:t>
            </a:r>
            <a:r>
              <a:rPr lang="it-IT" sz="2000" b="1" i="1" spc="20" dirty="0">
                <a:solidFill>
                  <a:schemeClr val="tx1">
                    <a:lumMod val="65000"/>
                    <a:lumOff val="35000"/>
                  </a:schemeClr>
                </a:solidFill>
                <a:cs typeface="Roboto"/>
              </a:rPr>
              <a:t>  </a:t>
            </a:r>
            <a:r>
              <a:rPr lang="it-IT" sz="2000" b="1" spc="20" dirty="0">
                <a:solidFill>
                  <a:schemeClr val="tx1">
                    <a:lumMod val="65000"/>
                    <a:lumOff val="35000"/>
                  </a:schemeClr>
                </a:solidFill>
                <a:cs typeface="Roboto"/>
              </a:rPr>
              <a:t>mirato al profilo di: </a:t>
            </a:r>
          </a:p>
        </p:txBody>
      </p:sp>
      <p:sp>
        <p:nvSpPr>
          <p:cNvPr id="24" name="object 3">
            <a:extLst>
              <a:ext uri="{FF2B5EF4-FFF2-40B4-BE49-F238E27FC236}">
                <a16:creationId xmlns:a16="http://schemas.microsoft.com/office/drawing/2014/main" id="{57BDE964-3D05-47E5-80A1-C225D05046AB}"/>
              </a:ext>
            </a:extLst>
          </p:cNvPr>
          <p:cNvSpPr txBox="1">
            <a:spLocks/>
          </p:cNvSpPr>
          <p:nvPr/>
        </p:nvSpPr>
        <p:spPr>
          <a:xfrm>
            <a:off x="327484" y="175974"/>
            <a:ext cx="10917349" cy="874598"/>
          </a:xfrm>
          <a:prstGeom prst="rect">
            <a:avLst/>
          </a:prstGeom>
        </p:spPr>
        <p:txBody>
          <a:bodyPr vert="horz" wrap="square" lIns="0" tIns="12700" rIns="0" bIns="0" rtlCol="0" anchor="t" anchorCtr="0">
            <a:spAutoFit/>
          </a:bodyPr>
          <a:lstStyle>
            <a:lvl1pPr algn="l" defTabSz="914400" rtl="0" eaLnBrk="1" latinLnBrk="0" hangingPunct="1">
              <a:lnSpc>
                <a:spcPct val="90000"/>
              </a:lnSpc>
              <a:spcBef>
                <a:spcPct val="0"/>
              </a:spcBef>
              <a:buNone/>
              <a:defRPr sz="4800" b="1" i="0" kern="1200">
                <a:solidFill>
                  <a:schemeClr val="bg1"/>
                </a:solidFill>
                <a:latin typeface="Roboto"/>
                <a:ea typeface="+mj-ea"/>
                <a:cs typeface="Roboto"/>
              </a:defRPr>
            </a:lvl1pPr>
          </a:lstStyle>
          <a:p>
            <a:pPr marL="12700">
              <a:lnSpc>
                <a:spcPct val="100000"/>
              </a:lnSpc>
              <a:spcBef>
                <a:spcPts val="100"/>
              </a:spcBef>
            </a:pPr>
            <a:r>
              <a:rPr lang="it-IT" sz="2800" spc="-15" dirty="0">
                <a:solidFill>
                  <a:schemeClr val="accent1"/>
                </a:solidFill>
                <a:latin typeface="+mn-lt"/>
              </a:rPr>
              <a:t>13. CORSO LOGISTICA INTEGRATA</a:t>
            </a:r>
            <a:br>
              <a:rPr lang="it-IT" sz="2800" spc="-15" dirty="0">
                <a:solidFill>
                  <a:schemeClr val="accent1"/>
                </a:solidFill>
                <a:latin typeface="+mn-lt"/>
              </a:rPr>
            </a:br>
            <a:r>
              <a:rPr lang="it-IT" sz="1400" spc="-15" dirty="0">
                <a:solidFill>
                  <a:schemeClr val="accent1"/>
                </a:solidFill>
                <a:latin typeface="+mn-lt"/>
              </a:rPr>
              <a:t>(Formazione </a:t>
            </a:r>
            <a:r>
              <a:rPr lang="it-IT" sz="1400" spc="-15" dirty="0" err="1">
                <a:solidFill>
                  <a:schemeClr val="accent1"/>
                </a:solidFill>
                <a:latin typeface="+mn-lt"/>
              </a:rPr>
              <a:t>Upskilling</a:t>
            </a:r>
            <a:r>
              <a:rPr lang="it-IT" sz="1400" spc="-15" dirty="0">
                <a:solidFill>
                  <a:schemeClr val="accent1"/>
                </a:solidFill>
                <a:latin typeface="+mn-lt"/>
              </a:rPr>
              <a:t> (RRSP) mirata al profilo TECNICO SPECIALIZZATO IN GESTIONE MAGAZZINO)</a:t>
            </a:r>
            <a:br>
              <a:rPr lang="it-IT" sz="2800" spc="-15" dirty="0">
                <a:solidFill>
                  <a:schemeClr val="accent1"/>
                </a:solidFill>
                <a:latin typeface="+mn-lt"/>
              </a:rPr>
            </a:br>
            <a:endParaRPr lang="it-IT" sz="1400" spc="-15" dirty="0">
              <a:solidFill>
                <a:schemeClr val="accent1"/>
              </a:solidFill>
              <a:highlight>
                <a:srgbClr val="FFFF00"/>
              </a:highlight>
              <a:latin typeface="+mn-lt"/>
            </a:endParaRPr>
          </a:p>
        </p:txBody>
      </p:sp>
      <p:sp>
        <p:nvSpPr>
          <p:cNvPr id="25" name="CasellaDiTesto 24">
            <a:extLst>
              <a:ext uri="{FF2B5EF4-FFF2-40B4-BE49-F238E27FC236}">
                <a16:creationId xmlns:a16="http://schemas.microsoft.com/office/drawing/2014/main" id="{A974AE7B-E2DC-4B12-ABEE-C52CFD1CB793}"/>
              </a:ext>
            </a:extLst>
          </p:cNvPr>
          <p:cNvSpPr txBox="1"/>
          <p:nvPr/>
        </p:nvSpPr>
        <p:spPr>
          <a:xfrm>
            <a:off x="-192143" y="3823274"/>
            <a:ext cx="10032467" cy="2031325"/>
          </a:xfrm>
          <a:prstGeom prst="rect">
            <a:avLst/>
          </a:prstGeom>
          <a:noFill/>
        </p:spPr>
        <p:txBody>
          <a:bodyPr wrap="square">
            <a:spAutoFit/>
          </a:bodyPr>
          <a:lstStyle/>
          <a:p>
            <a:pPr marL="742950" lvl="1" indent="-285750">
              <a:spcBef>
                <a:spcPts val="10"/>
              </a:spcBef>
              <a:buFont typeface="Wingdings" panose="05000000000000000000" pitchFamily="2" charset="2"/>
              <a:buChar char="v"/>
            </a:pPr>
            <a:endParaRPr lang="it-IT" spc="-15" dirty="0">
              <a:solidFill>
                <a:srgbClr val="333333"/>
              </a:solidFill>
              <a:latin typeface="Myriad Pro Light" panose="020B0403030403020204" pitchFamily="34" charset="0"/>
            </a:endParaRPr>
          </a:p>
          <a:p>
            <a:pPr marL="742950" lvl="1" indent="-285750">
              <a:spcBef>
                <a:spcPts val="10"/>
              </a:spcBef>
              <a:buFont typeface="Wingdings" panose="05000000000000000000" pitchFamily="2" charset="2"/>
              <a:buChar char="v"/>
            </a:pPr>
            <a:r>
              <a:rPr lang="it-IT" spc="-15" dirty="0">
                <a:solidFill>
                  <a:srgbClr val="333333"/>
                </a:solidFill>
              </a:rPr>
              <a:t>Utilizzare tecniche di gestione amministrativo contabile delle operazioni di magazzino</a:t>
            </a:r>
          </a:p>
          <a:p>
            <a:pPr marL="742950" lvl="1" indent="-285750">
              <a:spcBef>
                <a:spcPts val="10"/>
              </a:spcBef>
              <a:buFont typeface="Wingdings" panose="05000000000000000000" pitchFamily="2" charset="2"/>
              <a:buChar char="v"/>
            </a:pPr>
            <a:r>
              <a:rPr lang="it-IT" spc="-15" dirty="0">
                <a:solidFill>
                  <a:srgbClr val="333333"/>
                </a:solidFill>
              </a:rPr>
              <a:t>Utilizzare procedure di inventariazione di magazzino che consentano di verificare la corrispondenza tra giacenza fisica e contabile dei prodotti</a:t>
            </a:r>
          </a:p>
          <a:p>
            <a:pPr marL="742950" lvl="1" indent="-285750">
              <a:spcBef>
                <a:spcPts val="10"/>
              </a:spcBef>
              <a:buFont typeface="Wingdings" panose="05000000000000000000" pitchFamily="2" charset="2"/>
              <a:buChar char="v"/>
            </a:pPr>
            <a:r>
              <a:rPr lang="it-IT" spc="-15" dirty="0">
                <a:solidFill>
                  <a:srgbClr val="333333"/>
                </a:solidFill>
              </a:rPr>
              <a:t>Archiviare la documentazione </a:t>
            </a:r>
          </a:p>
          <a:p>
            <a:pPr lvl="1">
              <a:spcBef>
                <a:spcPts val="10"/>
              </a:spcBef>
            </a:pPr>
            <a:endParaRPr lang="it-IT" sz="1800" b="0" i="0" u="none" strike="noStrike" dirty="0">
              <a:solidFill>
                <a:srgbClr val="212121"/>
              </a:solidFill>
              <a:effectLst/>
              <a:latin typeface="Segoe UI" panose="020B0502040204020203" pitchFamily="34" charset="0"/>
            </a:endParaRPr>
          </a:p>
          <a:p>
            <a:pPr marL="742950" lvl="1" indent="-285750">
              <a:spcBef>
                <a:spcPts val="10"/>
              </a:spcBef>
              <a:buFont typeface="Wingdings" panose="05000000000000000000" pitchFamily="2" charset="2"/>
              <a:buChar char="v"/>
            </a:pPr>
            <a:endParaRPr lang="it-IT" spc="-15" dirty="0">
              <a:solidFill>
                <a:srgbClr val="333333"/>
              </a:solidFill>
              <a:latin typeface="Myriad Pro Light" panose="020B0403030403020204" pitchFamily="34" charset="0"/>
            </a:endParaRPr>
          </a:p>
        </p:txBody>
      </p:sp>
      <p:sp>
        <p:nvSpPr>
          <p:cNvPr id="7" name="CasellaDiTesto 6">
            <a:extLst>
              <a:ext uri="{FF2B5EF4-FFF2-40B4-BE49-F238E27FC236}">
                <a16:creationId xmlns:a16="http://schemas.microsoft.com/office/drawing/2014/main" id="{B4D37C3D-29E2-402F-8EEA-80D8451178F3}"/>
              </a:ext>
            </a:extLst>
          </p:cNvPr>
          <p:cNvSpPr txBox="1"/>
          <p:nvPr/>
        </p:nvSpPr>
        <p:spPr>
          <a:xfrm>
            <a:off x="387236" y="1436605"/>
            <a:ext cx="8484048" cy="1815882"/>
          </a:xfrm>
          <a:prstGeom prst="rect">
            <a:avLst/>
          </a:prstGeom>
          <a:noFill/>
        </p:spPr>
        <p:txBody>
          <a:bodyPr wrap="square" rtlCol="0">
            <a:spAutoFit/>
          </a:bodyPr>
          <a:lstStyle/>
          <a:p>
            <a:r>
              <a:rPr lang="it-IT" sz="1600" b="1" spc="-15" dirty="0">
                <a:solidFill>
                  <a:srgbClr val="333333"/>
                </a:solidFill>
              </a:rPr>
              <a:t>Tecnico specializzato in gestione del magazzino: </a:t>
            </a:r>
            <a:r>
              <a:rPr lang="it-IT" sz="1600" spc="-15" dirty="0">
                <a:solidFill>
                  <a:srgbClr val="333333"/>
                </a:solidFill>
              </a:rPr>
              <a:t>si occupa della pianificazione, dell’organizzazione, del coordinamento e del controllo delle procedure e delle risorse necessarie per il ricevimento, il magazzinaggio e la spedizione di merci. Organizza, coordina e supervisiona le attività del personale, si occupa della gestione amministrativa del magazzino, pianifica la gestione degli spazi di stoccaggio. Si relaziona con le funzioni di gestione acquisti, vendite e logistica e, all’esterno, con i fornitori dei servizi di spedizione, trasporto e distribuzione, clienti e fornitori.</a:t>
            </a:r>
          </a:p>
        </p:txBody>
      </p:sp>
      <p:sp>
        <p:nvSpPr>
          <p:cNvPr id="2" name="Rettangolo con angoli arrotondati 1">
            <a:extLst>
              <a:ext uri="{FF2B5EF4-FFF2-40B4-BE49-F238E27FC236}">
                <a16:creationId xmlns:a16="http://schemas.microsoft.com/office/drawing/2014/main" id="{B7C5B14E-C1FF-9194-B649-5E467384424F}"/>
              </a:ext>
            </a:extLst>
          </p:cNvPr>
          <p:cNvSpPr/>
          <p:nvPr/>
        </p:nvSpPr>
        <p:spPr>
          <a:xfrm>
            <a:off x="9785405" y="3361377"/>
            <a:ext cx="1596390" cy="1014899"/>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00"/>
          </a:p>
        </p:txBody>
      </p:sp>
      <p:sp>
        <p:nvSpPr>
          <p:cNvPr id="3" name="CasellaDiTesto 2">
            <a:extLst>
              <a:ext uri="{FF2B5EF4-FFF2-40B4-BE49-F238E27FC236}">
                <a16:creationId xmlns:a16="http://schemas.microsoft.com/office/drawing/2014/main" id="{519E2826-9E21-A0DA-6644-89533FCDEB3B}"/>
              </a:ext>
            </a:extLst>
          </p:cNvPr>
          <p:cNvSpPr txBox="1"/>
          <p:nvPr/>
        </p:nvSpPr>
        <p:spPr>
          <a:xfrm>
            <a:off x="9931806" y="3494913"/>
            <a:ext cx="1303588" cy="830997"/>
          </a:xfrm>
          <a:prstGeom prst="rect">
            <a:avLst/>
          </a:prstGeom>
          <a:noFill/>
        </p:spPr>
        <p:txBody>
          <a:bodyPr wrap="square" rtlCol="0">
            <a:spAutoFit/>
          </a:bodyPr>
          <a:lstStyle/>
          <a:p>
            <a:pPr algn="ctr"/>
            <a:r>
              <a:rPr lang="it-IT" sz="1600" b="1" dirty="0">
                <a:solidFill>
                  <a:schemeClr val="accent1"/>
                </a:solidFill>
                <a:hlinkClick r:id="rId3" action="ppaction://hlinksldjump"/>
              </a:rPr>
              <a:t>Vedi dettagli programma</a:t>
            </a:r>
            <a:endParaRPr lang="it-IT" sz="1600" b="1" dirty="0">
              <a:solidFill>
                <a:schemeClr val="accent1"/>
              </a:solidFill>
            </a:endParaRPr>
          </a:p>
        </p:txBody>
      </p:sp>
      <p:sp>
        <p:nvSpPr>
          <p:cNvPr id="4" name="Rettangolo con angoli arrotondati 3">
            <a:extLst>
              <a:ext uri="{FF2B5EF4-FFF2-40B4-BE49-F238E27FC236}">
                <a16:creationId xmlns:a16="http://schemas.microsoft.com/office/drawing/2014/main" id="{70F324A1-723C-82F3-D698-5A954F3DA2EE}"/>
              </a:ext>
            </a:extLst>
          </p:cNvPr>
          <p:cNvSpPr/>
          <p:nvPr/>
        </p:nvSpPr>
        <p:spPr>
          <a:xfrm>
            <a:off x="9785406" y="4657989"/>
            <a:ext cx="1596390" cy="819725"/>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00"/>
          </a:p>
        </p:txBody>
      </p:sp>
      <p:sp>
        <p:nvSpPr>
          <p:cNvPr id="5" name="CasellaDiTesto 4">
            <a:extLst>
              <a:ext uri="{FF2B5EF4-FFF2-40B4-BE49-F238E27FC236}">
                <a16:creationId xmlns:a16="http://schemas.microsoft.com/office/drawing/2014/main" id="{C01E4F25-0E58-CA74-0D43-E6B13F1B31B0}"/>
              </a:ext>
            </a:extLst>
          </p:cNvPr>
          <p:cNvSpPr txBox="1"/>
          <p:nvPr/>
        </p:nvSpPr>
        <p:spPr>
          <a:xfrm>
            <a:off x="9895242" y="4775463"/>
            <a:ext cx="1366207" cy="584775"/>
          </a:xfrm>
          <a:prstGeom prst="rect">
            <a:avLst/>
          </a:prstGeom>
          <a:noFill/>
        </p:spPr>
        <p:txBody>
          <a:bodyPr wrap="square" rtlCol="0">
            <a:spAutoFit/>
          </a:bodyPr>
          <a:lstStyle/>
          <a:p>
            <a:pPr algn="ctr"/>
            <a:r>
              <a:rPr lang="it-IT" sz="1600" b="1" dirty="0">
                <a:solidFill>
                  <a:schemeClr val="accent1"/>
                </a:solidFill>
                <a:hlinkClick r:id="rId4" action="ppaction://hlinksldjump"/>
              </a:rPr>
              <a:t>Vedi indice corsi</a:t>
            </a:r>
            <a:endParaRPr lang="it-IT" sz="1600" b="1" dirty="0">
              <a:solidFill>
                <a:schemeClr val="accent1"/>
              </a:solidFill>
            </a:endParaRPr>
          </a:p>
        </p:txBody>
      </p:sp>
      <p:pic>
        <p:nvPicPr>
          <p:cNvPr id="23" name="Immagine 22">
            <a:extLst>
              <a:ext uri="{FF2B5EF4-FFF2-40B4-BE49-F238E27FC236}">
                <a16:creationId xmlns:a16="http://schemas.microsoft.com/office/drawing/2014/main" id="{EE75BCC8-0D25-4533-94A8-89CE7EDD9674}"/>
              </a:ext>
            </a:extLst>
          </p:cNvPr>
          <p:cNvPicPr>
            <a:picLocks noChangeAspect="1"/>
          </p:cNvPicPr>
          <p:nvPr/>
        </p:nvPicPr>
        <p:blipFill>
          <a:blip r:embed="rId5"/>
          <a:stretch>
            <a:fillRect/>
          </a:stretch>
        </p:blipFill>
        <p:spPr>
          <a:xfrm>
            <a:off x="327484" y="5784507"/>
            <a:ext cx="9567758" cy="1086724"/>
          </a:xfrm>
          <a:prstGeom prst="rect">
            <a:avLst/>
          </a:prstGeom>
        </p:spPr>
      </p:pic>
      <p:pic>
        <p:nvPicPr>
          <p:cNvPr id="27" name="Immagine 26">
            <a:extLst>
              <a:ext uri="{FF2B5EF4-FFF2-40B4-BE49-F238E27FC236}">
                <a16:creationId xmlns:a16="http://schemas.microsoft.com/office/drawing/2014/main" id="{39A3A469-8D52-4471-9CD4-7249EF1B9287}"/>
              </a:ext>
            </a:extLst>
          </p:cNvPr>
          <p:cNvPicPr>
            <a:picLocks noChangeAspect="1"/>
          </p:cNvPicPr>
          <p:nvPr/>
        </p:nvPicPr>
        <p:blipFill>
          <a:blip r:embed="rId6"/>
          <a:stretch>
            <a:fillRect/>
          </a:stretch>
        </p:blipFill>
        <p:spPr>
          <a:xfrm>
            <a:off x="9898769" y="6182710"/>
            <a:ext cx="1378634" cy="340953"/>
          </a:xfrm>
          <a:prstGeom prst="rect">
            <a:avLst/>
          </a:prstGeom>
        </p:spPr>
      </p:pic>
    </p:spTree>
    <p:extLst>
      <p:ext uri="{BB962C8B-B14F-4D97-AF65-F5344CB8AC3E}">
        <p14:creationId xmlns:p14="http://schemas.microsoft.com/office/powerpoint/2010/main" val="393231284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292492" y="239060"/>
            <a:ext cx="10917349" cy="913070"/>
          </a:xfrm>
          <a:prstGeom prst="rect">
            <a:avLst/>
          </a:prstGeom>
        </p:spPr>
        <p:txBody>
          <a:bodyPr vert="horz" wrap="square" lIns="0" tIns="12700" rIns="0" bIns="0" rtlCol="0">
            <a:spAutoFit/>
          </a:bodyPr>
          <a:lstStyle/>
          <a:p>
            <a:pPr marL="12700">
              <a:lnSpc>
                <a:spcPct val="100000"/>
              </a:lnSpc>
              <a:spcBef>
                <a:spcPts val="100"/>
              </a:spcBef>
            </a:pPr>
            <a:r>
              <a:rPr lang="it-IT" sz="2800" spc="-15" dirty="0">
                <a:solidFill>
                  <a:schemeClr val="accent1"/>
                </a:solidFill>
                <a:latin typeface="+mn-lt"/>
              </a:rPr>
              <a:t>13. CORSO LOGISTICA INTEGRATA</a:t>
            </a:r>
            <a:br>
              <a:rPr lang="it-IT" sz="4000" spc="-15" dirty="0">
                <a:solidFill>
                  <a:schemeClr val="accent1"/>
                </a:solidFill>
                <a:latin typeface="+mn-lt"/>
              </a:rPr>
            </a:br>
            <a:r>
              <a:rPr lang="it-IT" sz="1400" spc="-15" dirty="0">
                <a:solidFill>
                  <a:schemeClr val="accent1"/>
                </a:solidFill>
                <a:latin typeface="+mn-lt"/>
              </a:rPr>
              <a:t>(Formazione </a:t>
            </a:r>
            <a:r>
              <a:rPr lang="it-IT" sz="1400" spc="-15" dirty="0" err="1">
                <a:solidFill>
                  <a:schemeClr val="accent1"/>
                </a:solidFill>
                <a:latin typeface="+mn-lt"/>
              </a:rPr>
              <a:t>Upskilling</a:t>
            </a:r>
            <a:r>
              <a:rPr lang="it-IT" sz="1400" spc="-15" dirty="0">
                <a:solidFill>
                  <a:schemeClr val="accent1"/>
                </a:solidFill>
                <a:latin typeface="+mn-lt"/>
              </a:rPr>
              <a:t> (RRSP) mirata al profilo TECNICO SPECIALIZZATO IN GESTIONE MAGAZZINO) </a:t>
            </a:r>
            <a:r>
              <a:rPr lang="it-IT" sz="1400" dirty="0">
                <a:effectLst/>
                <a:latin typeface="+mn-lt"/>
                <a:ea typeface="Times New Roman" panose="02020603050405020304" pitchFamily="18" charset="0"/>
              </a:rPr>
              <a:t>IN </a:t>
            </a:r>
            <a:r>
              <a:rPr lang="it-IT" sz="2000" dirty="0">
                <a:effectLst/>
                <a:latin typeface="+mn-lt"/>
                <a:ea typeface="Times New Roman" panose="02020603050405020304" pitchFamily="18" charset="0"/>
              </a:rPr>
              <a:t>GESTIONE MAGAZZINO</a:t>
            </a:r>
            <a:br>
              <a:rPr lang="it-IT" sz="1800" dirty="0">
                <a:effectLst/>
                <a:latin typeface="+mn-lt"/>
                <a:ea typeface="Times New Roman" panose="02020603050405020304" pitchFamily="18" charset="0"/>
              </a:rPr>
            </a:br>
            <a:r>
              <a:rPr lang="it-IT" sz="1050" dirty="0">
                <a:latin typeface="+mn-lt"/>
              </a:rPr>
              <a:t>RRSP) mirata al profilo TECNICO SPECIALIZZATO IN GESTIONE MAGAZZINO mirata al profilo TECNICO SPECIALIZZATO IN GESTIONE MAGAZZINO</a:t>
            </a:r>
            <a:endParaRPr lang="it-IT" sz="2800" spc="-15" dirty="0">
              <a:solidFill>
                <a:srgbClr val="00859B"/>
              </a:solidFill>
              <a:latin typeface="+mn-lt"/>
            </a:endParaRPr>
          </a:p>
        </p:txBody>
      </p:sp>
      <p:sp>
        <p:nvSpPr>
          <p:cNvPr id="5" name="object 5"/>
          <p:cNvSpPr/>
          <p:nvPr/>
        </p:nvSpPr>
        <p:spPr>
          <a:xfrm>
            <a:off x="364796" y="1929511"/>
            <a:ext cx="8987752" cy="3818707"/>
          </a:xfrm>
          <a:custGeom>
            <a:avLst/>
            <a:gdLst/>
            <a:ahLst/>
            <a:cxnLst/>
            <a:rect l="l" t="t" r="r" b="b"/>
            <a:pathLst>
              <a:path w="7729220" h="954405">
                <a:moveTo>
                  <a:pt x="7644907" y="954299"/>
                </a:moveTo>
                <a:lnTo>
                  <a:pt x="83692" y="954299"/>
                </a:lnTo>
                <a:lnTo>
                  <a:pt x="51115" y="947723"/>
                </a:lnTo>
                <a:lnTo>
                  <a:pt x="24512" y="929787"/>
                </a:lnTo>
                <a:lnTo>
                  <a:pt x="6576" y="903184"/>
                </a:lnTo>
                <a:lnTo>
                  <a:pt x="0" y="870607"/>
                </a:lnTo>
                <a:lnTo>
                  <a:pt x="0" y="83692"/>
                </a:lnTo>
                <a:lnTo>
                  <a:pt x="6576" y="51115"/>
                </a:lnTo>
                <a:lnTo>
                  <a:pt x="24512" y="24512"/>
                </a:lnTo>
                <a:lnTo>
                  <a:pt x="51115" y="6576"/>
                </a:lnTo>
                <a:lnTo>
                  <a:pt x="83692" y="0"/>
                </a:lnTo>
                <a:lnTo>
                  <a:pt x="7644907" y="0"/>
                </a:lnTo>
                <a:lnTo>
                  <a:pt x="7691340" y="14061"/>
                </a:lnTo>
                <a:lnTo>
                  <a:pt x="7722229" y="51664"/>
                </a:lnTo>
                <a:lnTo>
                  <a:pt x="7728599" y="83692"/>
                </a:lnTo>
                <a:lnTo>
                  <a:pt x="7728599" y="870607"/>
                </a:lnTo>
                <a:lnTo>
                  <a:pt x="7722023" y="903184"/>
                </a:lnTo>
                <a:lnTo>
                  <a:pt x="7704087" y="929787"/>
                </a:lnTo>
                <a:lnTo>
                  <a:pt x="7677484" y="947723"/>
                </a:lnTo>
                <a:lnTo>
                  <a:pt x="7644907" y="954299"/>
                </a:lnTo>
                <a:close/>
              </a:path>
            </a:pathLst>
          </a:custGeom>
          <a:solidFill>
            <a:schemeClr val="bg1"/>
          </a:solidFill>
        </p:spPr>
        <p:txBody>
          <a:bodyPr wrap="square" lIns="0" tIns="0" rIns="0" bIns="0" rtlCol="0"/>
          <a:lstStyle/>
          <a:p>
            <a:pPr marL="342900" marR="5080" indent="-342900">
              <a:lnSpc>
                <a:spcPct val="101600"/>
              </a:lnSpc>
              <a:spcBef>
                <a:spcPts val="985"/>
              </a:spcBef>
              <a:buFont typeface="Arial" panose="020B0604020202020204" pitchFamily="34" charset="0"/>
              <a:buChar char="•"/>
            </a:pPr>
            <a:r>
              <a:rPr lang="it-IT" dirty="0">
                <a:solidFill>
                  <a:srgbClr val="212121"/>
                </a:solidFill>
              </a:rPr>
              <a:t>Metodologie e procedure di inventariazione dei prodotti</a:t>
            </a:r>
          </a:p>
          <a:p>
            <a:pPr marL="342900" marR="5080" indent="-342900">
              <a:lnSpc>
                <a:spcPct val="101600"/>
              </a:lnSpc>
              <a:spcBef>
                <a:spcPts val="985"/>
              </a:spcBef>
              <a:buFont typeface="Arial" panose="020B0604020202020204" pitchFamily="34" charset="0"/>
              <a:buChar char="•"/>
            </a:pPr>
            <a:r>
              <a:rPr lang="it-IT" dirty="0">
                <a:solidFill>
                  <a:srgbClr val="212121"/>
                </a:solidFill>
              </a:rPr>
              <a:t>Modelli e tecniche di controllo di gestione delle attività di magazzino</a:t>
            </a:r>
          </a:p>
          <a:p>
            <a:pPr marL="342900" marR="5080" indent="-342900">
              <a:lnSpc>
                <a:spcPct val="101600"/>
              </a:lnSpc>
              <a:spcBef>
                <a:spcPts val="985"/>
              </a:spcBef>
              <a:buFont typeface="Arial" panose="020B0604020202020204" pitchFamily="34" charset="0"/>
              <a:buChar char="•"/>
            </a:pPr>
            <a:r>
              <a:rPr lang="it-IT" dirty="0">
                <a:solidFill>
                  <a:srgbClr val="212121"/>
                </a:solidFill>
              </a:rPr>
              <a:t> Modelli e tecniche di budgeting</a:t>
            </a:r>
          </a:p>
          <a:p>
            <a:pPr marL="342900" marR="5080" indent="-342900">
              <a:lnSpc>
                <a:spcPct val="101600"/>
              </a:lnSpc>
              <a:spcBef>
                <a:spcPts val="985"/>
              </a:spcBef>
              <a:buFont typeface="Arial" panose="020B0604020202020204" pitchFamily="34" charset="0"/>
              <a:buChar char="•"/>
            </a:pPr>
            <a:r>
              <a:rPr lang="it-IT" dirty="0">
                <a:solidFill>
                  <a:srgbClr val="212121"/>
                </a:solidFill>
              </a:rPr>
              <a:t>Terminologia specifica di settore in lingua inglese</a:t>
            </a:r>
          </a:p>
          <a:p>
            <a:pPr marL="342900" marR="5080" indent="-342900">
              <a:lnSpc>
                <a:spcPct val="101600"/>
              </a:lnSpc>
              <a:spcBef>
                <a:spcPts val="985"/>
              </a:spcBef>
              <a:buFont typeface="Arial" panose="020B0604020202020204" pitchFamily="34" charset="0"/>
              <a:buChar char="•"/>
            </a:pPr>
            <a:r>
              <a:rPr lang="it-IT" dirty="0">
                <a:solidFill>
                  <a:srgbClr val="212121"/>
                </a:solidFill>
              </a:rPr>
              <a:t>Caratteristiche e funzionalità dei software per la gestione amministrativa del magazzino</a:t>
            </a:r>
          </a:p>
          <a:p>
            <a:pPr marL="342900" marR="5080" indent="-342900">
              <a:lnSpc>
                <a:spcPct val="101600"/>
              </a:lnSpc>
              <a:spcBef>
                <a:spcPts val="985"/>
              </a:spcBef>
              <a:buFont typeface="Arial" panose="020B0604020202020204" pitchFamily="34" charset="0"/>
              <a:buChar char="•"/>
            </a:pPr>
            <a:r>
              <a:rPr lang="it-IT" dirty="0">
                <a:solidFill>
                  <a:srgbClr val="212121"/>
                </a:solidFill>
              </a:rPr>
              <a:t>Procedure per la gestione e l’archiviazione della documentazione relativa alle merci</a:t>
            </a:r>
          </a:p>
          <a:p>
            <a:pPr marL="342900" marR="5080" indent="-342900">
              <a:lnSpc>
                <a:spcPct val="101600"/>
              </a:lnSpc>
              <a:spcBef>
                <a:spcPts val="985"/>
              </a:spcBef>
              <a:buFont typeface="Arial" panose="020B0604020202020204" pitchFamily="34" charset="0"/>
              <a:buChar char="•"/>
            </a:pPr>
            <a:r>
              <a:rPr lang="it-IT" dirty="0">
                <a:solidFill>
                  <a:srgbClr val="212121"/>
                </a:solidFill>
              </a:rPr>
              <a:t>Tipologia e caratteristiche dei contratti di spedizione, trasporto e deposito delle merci</a:t>
            </a:r>
          </a:p>
          <a:p>
            <a:pPr marL="342900" marR="5080" indent="-342900">
              <a:lnSpc>
                <a:spcPct val="101600"/>
              </a:lnSpc>
              <a:spcBef>
                <a:spcPts val="985"/>
              </a:spcBef>
              <a:buFont typeface="Arial" panose="020B0604020202020204" pitchFamily="34" charset="0"/>
              <a:buChar char="•"/>
            </a:pPr>
            <a:r>
              <a:rPr lang="it-IT" dirty="0">
                <a:solidFill>
                  <a:srgbClr val="212121"/>
                </a:solidFill>
              </a:rPr>
              <a:t>Principali riferimenti normativi relativi alle transazioni commerciali ed alle formalità doganali</a:t>
            </a:r>
          </a:p>
        </p:txBody>
      </p:sp>
      <p:sp>
        <p:nvSpPr>
          <p:cNvPr id="11" name="object 11"/>
          <p:cNvSpPr txBox="1"/>
          <p:nvPr/>
        </p:nvSpPr>
        <p:spPr>
          <a:xfrm>
            <a:off x="11596613" y="154633"/>
            <a:ext cx="302895" cy="604520"/>
          </a:xfrm>
          <a:prstGeom prst="rect">
            <a:avLst/>
          </a:prstGeom>
        </p:spPr>
        <p:txBody>
          <a:bodyPr vert="horz" wrap="square" lIns="0" tIns="12700" rIns="0" bIns="0" rtlCol="0">
            <a:spAutoFit/>
          </a:bodyPr>
          <a:lstStyle/>
          <a:p>
            <a:pPr marL="12700">
              <a:lnSpc>
                <a:spcPct val="100000"/>
              </a:lnSpc>
              <a:spcBef>
                <a:spcPts val="100"/>
              </a:spcBef>
            </a:pPr>
            <a:r>
              <a:rPr sz="3800" b="1" dirty="0">
                <a:solidFill>
                  <a:srgbClr val="FFFFFF"/>
                </a:solidFill>
                <a:latin typeface="Roboto"/>
                <a:cs typeface="Roboto"/>
              </a:rPr>
              <a:t>1</a:t>
            </a:r>
            <a:endParaRPr sz="3800">
              <a:latin typeface="Roboto"/>
              <a:cs typeface="Roboto"/>
            </a:endParaRPr>
          </a:p>
        </p:txBody>
      </p:sp>
      <p:sp>
        <p:nvSpPr>
          <p:cNvPr id="2" name="object 12">
            <a:extLst>
              <a:ext uri="{FF2B5EF4-FFF2-40B4-BE49-F238E27FC236}">
                <a16:creationId xmlns:a16="http://schemas.microsoft.com/office/drawing/2014/main" id="{6480AAB1-F4AC-207A-AC7A-53DCBB8B11C9}"/>
              </a:ext>
            </a:extLst>
          </p:cNvPr>
          <p:cNvSpPr/>
          <p:nvPr/>
        </p:nvSpPr>
        <p:spPr>
          <a:xfrm>
            <a:off x="379583" y="1220868"/>
            <a:ext cx="2593435" cy="537585"/>
          </a:xfrm>
          <a:custGeom>
            <a:avLst/>
            <a:gdLst/>
            <a:ahLst/>
            <a:cxnLst/>
            <a:rect l="l" t="t" r="r" b="b"/>
            <a:pathLst>
              <a:path w="1596389" h="472439">
                <a:moveTo>
                  <a:pt x="1554614" y="471899"/>
                </a:moveTo>
                <a:lnTo>
                  <a:pt x="41385" y="471899"/>
                </a:lnTo>
                <a:lnTo>
                  <a:pt x="25276" y="468647"/>
                </a:lnTo>
                <a:lnTo>
                  <a:pt x="12121" y="459778"/>
                </a:lnTo>
                <a:lnTo>
                  <a:pt x="3252" y="446623"/>
                </a:lnTo>
                <a:lnTo>
                  <a:pt x="0" y="430514"/>
                </a:lnTo>
                <a:lnTo>
                  <a:pt x="0" y="41385"/>
                </a:lnTo>
                <a:lnTo>
                  <a:pt x="3252" y="25276"/>
                </a:lnTo>
                <a:lnTo>
                  <a:pt x="12121" y="12121"/>
                </a:lnTo>
                <a:lnTo>
                  <a:pt x="25276" y="3252"/>
                </a:lnTo>
                <a:lnTo>
                  <a:pt x="41385" y="0"/>
                </a:lnTo>
                <a:lnTo>
                  <a:pt x="1554614" y="0"/>
                </a:lnTo>
                <a:lnTo>
                  <a:pt x="1589046" y="18424"/>
                </a:lnTo>
                <a:lnTo>
                  <a:pt x="1595999" y="41385"/>
                </a:lnTo>
                <a:lnTo>
                  <a:pt x="1595999" y="430514"/>
                </a:lnTo>
                <a:lnTo>
                  <a:pt x="1592747" y="446623"/>
                </a:lnTo>
                <a:lnTo>
                  <a:pt x="1583878" y="459778"/>
                </a:lnTo>
                <a:lnTo>
                  <a:pt x="1570723" y="468647"/>
                </a:lnTo>
                <a:lnTo>
                  <a:pt x="1554614" y="471899"/>
                </a:lnTo>
                <a:close/>
              </a:path>
            </a:pathLst>
          </a:custGeom>
          <a:solidFill>
            <a:schemeClr val="accent1"/>
          </a:solidFill>
        </p:spPr>
        <p:txBody>
          <a:bodyPr wrap="square" lIns="0" tIns="0" rIns="0" bIns="0" rtlCol="0"/>
          <a:lstStyle/>
          <a:p>
            <a:endParaRPr/>
          </a:p>
        </p:txBody>
      </p:sp>
      <p:sp>
        <p:nvSpPr>
          <p:cNvPr id="4" name="CasellaDiTesto 3">
            <a:extLst>
              <a:ext uri="{FF2B5EF4-FFF2-40B4-BE49-F238E27FC236}">
                <a16:creationId xmlns:a16="http://schemas.microsoft.com/office/drawing/2014/main" id="{0C368667-1627-AF95-A93F-BEFD36490541}"/>
              </a:ext>
            </a:extLst>
          </p:cNvPr>
          <p:cNvSpPr txBox="1"/>
          <p:nvPr/>
        </p:nvSpPr>
        <p:spPr>
          <a:xfrm>
            <a:off x="379583" y="1289605"/>
            <a:ext cx="4171748" cy="400110"/>
          </a:xfrm>
          <a:prstGeom prst="rect">
            <a:avLst/>
          </a:prstGeom>
          <a:noFill/>
        </p:spPr>
        <p:txBody>
          <a:bodyPr wrap="square">
            <a:spAutoFit/>
          </a:bodyPr>
          <a:lstStyle/>
          <a:p>
            <a:pPr marL="59690">
              <a:lnSpc>
                <a:spcPct val="100000"/>
              </a:lnSpc>
              <a:spcBef>
                <a:spcPts val="1370"/>
              </a:spcBef>
            </a:pPr>
            <a:r>
              <a:rPr lang="it-IT" sz="2000" b="1" i="1" spc="20" dirty="0">
                <a:solidFill>
                  <a:schemeClr val="bg1"/>
                </a:solidFill>
                <a:cs typeface="Roboto"/>
              </a:rPr>
              <a:t>Programma corso:</a:t>
            </a:r>
            <a:endParaRPr lang="it-IT" sz="2000" b="1" spc="20" dirty="0">
              <a:solidFill>
                <a:schemeClr val="bg1"/>
              </a:solidFill>
              <a:cs typeface="Roboto"/>
            </a:endParaRPr>
          </a:p>
        </p:txBody>
      </p:sp>
      <p:sp>
        <p:nvSpPr>
          <p:cNvPr id="6" name="Rettangolo con angoli arrotondati 5">
            <a:extLst>
              <a:ext uri="{FF2B5EF4-FFF2-40B4-BE49-F238E27FC236}">
                <a16:creationId xmlns:a16="http://schemas.microsoft.com/office/drawing/2014/main" id="{38070250-A921-C852-7CC0-835CA6E3BC9D}"/>
              </a:ext>
            </a:extLst>
          </p:cNvPr>
          <p:cNvSpPr/>
          <p:nvPr/>
        </p:nvSpPr>
        <p:spPr>
          <a:xfrm>
            <a:off x="9785406" y="4365602"/>
            <a:ext cx="1596390" cy="819725"/>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00"/>
          </a:p>
        </p:txBody>
      </p:sp>
      <p:sp>
        <p:nvSpPr>
          <p:cNvPr id="7" name="CasellaDiTesto 6">
            <a:extLst>
              <a:ext uri="{FF2B5EF4-FFF2-40B4-BE49-F238E27FC236}">
                <a16:creationId xmlns:a16="http://schemas.microsoft.com/office/drawing/2014/main" id="{1F43BF04-47E5-5BC3-7CAC-BFE2F5CB0E2B}"/>
              </a:ext>
            </a:extLst>
          </p:cNvPr>
          <p:cNvSpPr txBox="1"/>
          <p:nvPr/>
        </p:nvSpPr>
        <p:spPr>
          <a:xfrm>
            <a:off x="9895242" y="4483076"/>
            <a:ext cx="1366207" cy="584775"/>
          </a:xfrm>
          <a:prstGeom prst="rect">
            <a:avLst/>
          </a:prstGeom>
          <a:noFill/>
        </p:spPr>
        <p:txBody>
          <a:bodyPr wrap="square" rtlCol="0">
            <a:spAutoFit/>
          </a:bodyPr>
          <a:lstStyle/>
          <a:p>
            <a:pPr algn="ctr"/>
            <a:r>
              <a:rPr lang="it-IT" sz="1600" b="1" dirty="0">
                <a:solidFill>
                  <a:schemeClr val="accent1"/>
                </a:solidFill>
                <a:hlinkClick r:id="rId3" action="ppaction://hlinksldjump"/>
              </a:rPr>
              <a:t>Vedi indice corsi</a:t>
            </a:r>
            <a:endParaRPr lang="it-IT" sz="1600" b="1" dirty="0">
              <a:solidFill>
                <a:schemeClr val="accent1"/>
              </a:solidFill>
            </a:endParaRPr>
          </a:p>
        </p:txBody>
      </p:sp>
      <p:pic>
        <p:nvPicPr>
          <p:cNvPr id="15" name="Immagine 14">
            <a:extLst>
              <a:ext uri="{FF2B5EF4-FFF2-40B4-BE49-F238E27FC236}">
                <a16:creationId xmlns:a16="http://schemas.microsoft.com/office/drawing/2014/main" id="{C2418AAE-EC14-4F14-B3B1-3E76454894BD}"/>
              </a:ext>
            </a:extLst>
          </p:cNvPr>
          <p:cNvPicPr>
            <a:picLocks noChangeAspect="1"/>
          </p:cNvPicPr>
          <p:nvPr/>
        </p:nvPicPr>
        <p:blipFill>
          <a:blip r:embed="rId4"/>
          <a:stretch>
            <a:fillRect/>
          </a:stretch>
        </p:blipFill>
        <p:spPr>
          <a:xfrm>
            <a:off x="327484" y="5784507"/>
            <a:ext cx="9567758" cy="1086724"/>
          </a:xfrm>
          <a:prstGeom prst="rect">
            <a:avLst/>
          </a:prstGeom>
        </p:spPr>
      </p:pic>
      <p:pic>
        <p:nvPicPr>
          <p:cNvPr id="16" name="Immagine 15">
            <a:extLst>
              <a:ext uri="{FF2B5EF4-FFF2-40B4-BE49-F238E27FC236}">
                <a16:creationId xmlns:a16="http://schemas.microsoft.com/office/drawing/2014/main" id="{653DA2DC-80A8-42CA-B50C-84C11A1DD59A}"/>
              </a:ext>
            </a:extLst>
          </p:cNvPr>
          <p:cNvPicPr>
            <a:picLocks noChangeAspect="1"/>
          </p:cNvPicPr>
          <p:nvPr/>
        </p:nvPicPr>
        <p:blipFill>
          <a:blip r:embed="rId5"/>
          <a:stretch>
            <a:fillRect/>
          </a:stretch>
        </p:blipFill>
        <p:spPr>
          <a:xfrm>
            <a:off x="9898769" y="6182710"/>
            <a:ext cx="1378634" cy="340953"/>
          </a:xfrm>
          <a:prstGeom prst="rect">
            <a:avLst/>
          </a:prstGeom>
        </p:spPr>
      </p:pic>
    </p:spTree>
    <p:extLst>
      <p:ext uri="{BB962C8B-B14F-4D97-AF65-F5344CB8AC3E}">
        <p14:creationId xmlns:p14="http://schemas.microsoft.com/office/powerpoint/2010/main" val="181544585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7BA38AE-664F-47E8-9469-7C4289CC449A}"/>
              </a:ext>
            </a:extLst>
          </p:cNvPr>
          <p:cNvSpPr>
            <a:spLocks noGrp="1"/>
          </p:cNvSpPr>
          <p:nvPr>
            <p:ph type="ctrTitle"/>
          </p:nvPr>
        </p:nvSpPr>
        <p:spPr>
          <a:xfrm>
            <a:off x="1524000" y="2271309"/>
            <a:ext cx="9144000" cy="2523768"/>
          </a:xfrm>
        </p:spPr>
        <p:txBody>
          <a:bodyPr/>
          <a:lstStyle/>
          <a:p>
            <a:r>
              <a:rPr lang="it-IT" sz="6000" b="0" i="1" dirty="0">
                <a:latin typeface="+mn-lt"/>
              </a:rPr>
              <a:t>GRAZIE PER L’ATTENZIONE</a:t>
            </a:r>
            <a:br>
              <a:rPr lang="it-IT" dirty="0">
                <a:solidFill>
                  <a:schemeClr val="accent1"/>
                </a:solidFill>
              </a:rPr>
            </a:br>
            <a:endParaRPr lang="en-US" i="1" dirty="0">
              <a:latin typeface="Georgia" panose="02040502050405020303" pitchFamily="18" charset="0"/>
            </a:endParaRPr>
          </a:p>
        </p:txBody>
      </p:sp>
    </p:spTree>
    <p:extLst>
      <p:ext uri="{BB962C8B-B14F-4D97-AF65-F5344CB8AC3E}">
        <p14:creationId xmlns:p14="http://schemas.microsoft.com/office/powerpoint/2010/main" val="54743997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46336" y="165445"/>
            <a:ext cx="11607016" cy="628377"/>
          </a:xfrm>
          <a:prstGeom prst="rect">
            <a:avLst/>
          </a:prstGeom>
          <a:noFill/>
        </p:spPr>
        <p:txBody>
          <a:bodyPr vert="horz" wrap="square" lIns="0" tIns="12700" rIns="0" bIns="0" rtlCol="0">
            <a:spAutoFit/>
          </a:bodyPr>
          <a:lstStyle/>
          <a:p>
            <a:pPr marL="12700">
              <a:lnSpc>
                <a:spcPct val="100000"/>
              </a:lnSpc>
              <a:spcBef>
                <a:spcPts val="100"/>
              </a:spcBef>
            </a:pPr>
            <a:r>
              <a:rPr lang="it-IT" sz="2800" spc="-15" dirty="0">
                <a:solidFill>
                  <a:schemeClr val="accent1"/>
                </a:solidFill>
                <a:latin typeface="+mn-lt"/>
              </a:rPr>
              <a:t>1. CORSO CONFEZIONAMENTO DEI PRODOTTI ALIMENTARI </a:t>
            </a:r>
            <a:br>
              <a:rPr lang="it-IT" sz="2800" spc="-15" dirty="0">
                <a:solidFill>
                  <a:schemeClr val="accent1"/>
                </a:solidFill>
                <a:latin typeface="+mn-lt"/>
              </a:rPr>
            </a:br>
            <a:r>
              <a:rPr lang="it-IT" sz="1200" spc="-15" dirty="0">
                <a:solidFill>
                  <a:schemeClr val="accent1"/>
                </a:solidFill>
                <a:latin typeface="+mn-lt"/>
              </a:rPr>
              <a:t>(OPAL Formazione </a:t>
            </a:r>
            <a:r>
              <a:rPr lang="it-IT" sz="1200" spc="-15" dirty="0" err="1">
                <a:solidFill>
                  <a:schemeClr val="accent1"/>
                </a:solidFill>
                <a:latin typeface="+mn-lt"/>
              </a:rPr>
              <a:t>Upskilling</a:t>
            </a:r>
            <a:r>
              <a:rPr lang="it-IT" sz="1200" spc="-15" dirty="0">
                <a:solidFill>
                  <a:schemeClr val="accent1"/>
                </a:solidFill>
                <a:latin typeface="+mn-lt"/>
              </a:rPr>
              <a:t> (RRSP) mirata al profilo OPERATORE DEL CONFEZIONAMENTO DEI PRODOTTI ALIMENTARI)</a:t>
            </a:r>
          </a:p>
        </p:txBody>
      </p:sp>
      <p:sp>
        <p:nvSpPr>
          <p:cNvPr id="5" name="object 5"/>
          <p:cNvSpPr/>
          <p:nvPr/>
        </p:nvSpPr>
        <p:spPr>
          <a:xfrm>
            <a:off x="346336" y="1517854"/>
            <a:ext cx="8889221" cy="1477328"/>
          </a:xfrm>
          <a:custGeom>
            <a:avLst/>
            <a:gdLst/>
            <a:ahLst/>
            <a:cxnLst/>
            <a:rect l="l" t="t" r="r" b="b"/>
            <a:pathLst>
              <a:path w="7729220" h="954405">
                <a:moveTo>
                  <a:pt x="7644907" y="954299"/>
                </a:moveTo>
                <a:lnTo>
                  <a:pt x="83692" y="954299"/>
                </a:lnTo>
                <a:lnTo>
                  <a:pt x="51115" y="947723"/>
                </a:lnTo>
                <a:lnTo>
                  <a:pt x="24512" y="929787"/>
                </a:lnTo>
                <a:lnTo>
                  <a:pt x="6576" y="903184"/>
                </a:lnTo>
                <a:lnTo>
                  <a:pt x="0" y="870607"/>
                </a:lnTo>
                <a:lnTo>
                  <a:pt x="0" y="83692"/>
                </a:lnTo>
                <a:lnTo>
                  <a:pt x="6576" y="51115"/>
                </a:lnTo>
                <a:lnTo>
                  <a:pt x="24512" y="24512"/>
                </a:lnTo>
                <a:lnTo>
                  <a:pt x="51115" y="6576"/>
                </a:lnTo>
                <a:lnTo>
                  <a:pt x="83692" y="0"/>
                </a:lnTo>
                <a:lnTo>
                  <a:pt x="7644907" y="0"/>
                </a:lnTo>
                <a:lnTo>
                  <a:pt x="7691340" y="14061"/>
                </a:lnTo>
                <a:lnTo>
                  <a:pt x="7722229" y="51664"/>
                </a:lnTo>
                <a:lnTo>
                  <a:pt x="7728599" y="83692"/>
                </a:lnTo>
                <a:lnTo>
                  <a:pt x="7728599" y="870607"/>
                </a:lnTo>
                <a:lnTo>
                  <a:pt x="7722023" y="903184"/>
                </a:lnTo>
                <a:lnTo>
                  <a:pt x="7704087" y="929787"/>
                </a:lnTo>
                <a:lnTo>
                  <a:pt x="7677484" y="947723"/>
                </a:lnTo>
                <a:lnTo>
                  <a:pt x="7644907" y="954299"/>
                </a:lnTo>
                <a:close/>
              </a:path>
            </a:pathLst>
          </a:custGeom>
          <a:solidFill>
            <a:schemeClr val="bg2">
              <a:lumMod val="90000"/>
            </a:schemeClr>
          </a:solidFill>
        </p:spPr>
        <p:txBody>
          <a:bodyPr wrap="square" lIns="0" tIns="0" rIns="0" bIns="0" rtlCol="0"/>
          <a:lstStyle/>
          <a:p>
            <a:endParaRPr>
              <a:solidFill>
                <a:srgbClr val="00B050"/>
              </a:solidFill>
            </a:endParaRPr>
          </a:p>
        </p:txBody>
      </p:sp>
      <p:sp>
        <p:nvSpPr>
          <p:cNvPr id="7" name="object 7"/>
          <p:cNvSpPr txBox="1"/>
          <p:nvPr/>
        </p:nvSpPr>
        <p:spPr>
          <a:xfrm>
            <a:off x="489118" y="1538172"/>
            <a:ext cx="8316693" cy="1293559"/>
          </a:xfrm>
          <a:prstGeom prst="rect">
            <a:avLst/>
          </a:prstGeom>
        </p:spPr>
        <p:txBody>
          <a:bodyPr vert="horz" wrap="square" lIns="0" tIns="173990" rIns="0" bIns="0" rtlCol="0">
            <a:spAutoFit/>
          </a:bodyPr>
          <a:lstStyle/>
          <a:p>
            <a:pPr marL="12700" marR="5080" algn="just">
              <a:lnSpc>
                <a:spcPct val="101600"/>
              </a:lnSpc>
              <a:spcBef>
                <a:spcPts val="985"/>
              </a:spcBef>
            </a:pPr>
            <a:r>
              <a:rPr lang="it-IT" b="1" spc="-15" dirty="0">
                <a:solidFill>
                  <a:srgbClr val="333333"/>
                </a:solidFill>
              </a:rPr>
              <a:t>Operatore del confezionamento dei prodotti alimentari: </a:t>
            </a:r>
            <a:r>
              <a:rPr lang="it-IT" spc="-15" dirty="0">
                <a:solidFill>
                  <a:srgbClr val="333333"/>
                </a:solidFill>
              </a:rPr>
              <a:t>si occupa della conduzione di impianti e macchinari atti al confezionamento (imbottigliamento, inscatolamento, invasatura, sottovuoto, ecc.) di prodotti alimentari di diversa natura, svolgendo anche attività di imballaggio e di etichettatura. </a:t>
            </a:r>
          </a:p>
        </p:txBody>
      </p:sp>
      <p:sp>
        <p:nvSpPr>
          <p:cNvPr id="11" name="object 11"/>
          <p:cNvSpPr txBox="1"/>
          <p:nvPr/>
        </p:nvSpPr>
        <p:spPr>
          <a:xfrm>
            <a:off x="11596613" y="154633"/>
            <a:ext cx="302895" cy="604520"/>
          </a:xfrm>
          <a:prstGeom prst="rect">
            <a:avLst/>
          </a:prstGeom>
        </p:spPr>
        <p:txBody>
          <a:bodyPr vert="horz" wrap="square" lIns="0" tIns="12700" rIns="0" bIns="0" rtlCol="0">
            <a:spAutoFit/>
          </a:bodyPr>
          <a:lstStyle/>
          <a:p>
            <a:pPr marL="12700">
              <a:lnSpc>
                <a:spcPct val="100000"/>
              </a:lnSpc>
              <a:spcBef>
                <a:spcPts val="100"/>
              </a:spcBef>
            </a:pPr>
            <a:r>
              <a:rPr lang="it-IT" sz="3800" b="1" dirty="0">
                <a:solidFill>
                  <a:srgbClr val="FFFFFF"/>
                </a:solidFill>
                <a:cs typeface="Roboto"/>
              </a:rPr>
              <a:t>1</a:t>
            </a:r>
            <a:endParaRPr lang="it-IT" sz="3800">
              <a:cs typeface="Roboto"/>
            </a:endParaRPr>
          </a:p>
        </p:txBody>
      </p:sp>
      <p:sp>
        <p:nvSpPr>
          <p:cNvPr id="12" name="object 12"/>
          <p:cNvSpPr/>
          <p:nvPr/>
        </p:nvSpPr>
        <p:spPr>
          <a:xfrm>
            <a:off x="468264" y="3361904"/>
            <a:ext cx="4167904" cy="537585"/>
          </a:xfrm>
          <a:custGeom>
            <a:avLst/>
            <a:gdLst/>
            <a:ahLst/>
            <a:cxnLst/>
            <a:rect l="l" t="t" r="r" b="b"/>
            <a:pathLst>
              <a:path w="1596389" h="472439">
                <a:moveTo>
                  <a:pt x="1554614" y="471899"/>
                </a:moveTo>
                <a:lnTo>
                  <a:pt x="41385" y="471899"/>
                </a:lnTo>
                <a:lnTo>
                  <a:pt x="25276" y="468647"/>
                </a:lnTo>
                <a:lnTo>
                  <a:pt x="12121" y="459778"/>
                </a:lnTo>
                <a:lnTo>
                  <a:pt x="3252" y="446623"/>
                </a:lnTo>
                <a:lnTo>
                  <a:pt x="0" y="430514"/>
                </a:lnTo>
                <a:lnTo>
                  <a:pt x="0" y="41385"/>
                </a:lnTo>
                <a:lnTo>
                  <a:pt x="3252" y="25276"/>
                </a:lnTo>
                <a:lnTo>
                  <a:pt x="12121" y="12121"/>
                </a:lnTo>
                <a:lnTo>
                  <a:pt x="25276" y="3252"/>
                </a:lnTo>
                <a:lnTo>
                  <a:pt x="41385" y="0"/>
                </a:lnTo>
                <a:lnTo>
                  <a:pt x="1554614" y="0"/>
                </a:lnTo>
                <a:lnTo>
                  <a:pt x="1589046" y="18424"/>
                </a:lnTo>
                <a:lnTo>
                  <a:pt x="1595999" y="41385"/>
                </a:lnTo>
                <a:lnTo>
                  <a:pt x="1595999" y="430514"/>
                </a:lnTo>
                <a:lnTo>
                  <a:pt x="1592747" y="446623"/>
                </a:lnTo>
                <a:lnTo>
                  <a:pt x="1583878" y="459778"/>
                </a:lnTo>
                <a:lnTo>
                  <a:pt x="1570723" y="468647"/>
                </a:lnTo>
                <a:lnTo>
                  <a:pt x="1554614" y="471899"/>
                </a:lnTo>
                <a:close/>
              </a:path>
            </a:pathLst>
          </a:custGeom>
          <a:solidFill>
            <a:schemeClr val="accent1"/>
          </a:solidFill>
        </p:spPr>
        <p:txBody>
          <a:bodyPr wrap="square" lIns="0" tIns="0" rIns="0" bIns="0" rtlCol="0"/>
          <a:lstStyle/>
          <a:p>
            <a:endParaRPr/>
          </a:p>
        </p:txBody>
      </p:sp>
      <p:sp>
        <p:nvSpPr>
          <p:cNvPr id="13" name="object 13"/>
          <p:cNvSpPr txBox="1"/>
          <p:nvPr/>
        </p:nvSpPr>
        <p:spPr>
          <a:xfrm>
            <a:off x="581246" y="3470395"/>
            <a:ext cx="8889221" cy="320601"/>
          </a:xfrm>
          <a:prstGeom prst="rect">
            <a:avLst/>
          </a:prstGeom>
        </p:spPr>
        <p:txBody>
          <a:bodyPr vert="horz" wrap="square" lIns="0" tIns="12700" rIns="0" bIns="0" rtlCol="0">
            <a:spAutoFit/>
          </a:bodyPr>
          <a:lstStyle/>
          <a:p>
            <a:pPr marL="12700">
              <a:lnSpc>
                <a:spcPct val="100000"/>
              </a:lnSpc>
              <a:spcBef>
                <a:spcPts val="100"/>
              </a:spcBef>
            </a:pPr>
            <a:r>
              <a:rPr lang="it-IT" sz="2000" b="1" spc="-25" dirty="0">
                <a:solidFill>
                  <a:srgbClr val="FFFFFF"/>
                </a:solidFill>
                <a:cs typeface="Roboto"/>
              </a:rPr>
              <a:t>I partecipanti saranno in grado di:</a:t>
            </a:r>
            <a:endParaRPr lang="it-IT" sz="2000" dirty="0">
              <a:cs typeface="Roboto"/>
            </a:endParaRPr>
          </a:p>
        </p:txBody>
      </p:sp>
      <p:sp>
        <p:nvSpPr>
          <p:cNvPr id="14" name="object 14"/>
          <p:cNvSpPr/>
          <p:nvPr/>
        </p:nvSpPr>
        <p:spPr>
          <a:xfrm>
            <a:off x="9785406" y="1439212"/>
            <a:ext cx="1596390" cy="1491477"/>
          </a:xfrm>
          <a:custGeom>
            <a:avLst/>
            <a:gdLst/>
            <a:ahLst/>
            <a:cxnLst/>
            <a:rect l="l" t="t" r="r" b="b"/>
            <a:pathLst>
              <a:path w="1596390" h="954405">
                <a:moveTo>
                  <a:pt x="1512307" y="954299"/>
                </a:moveTo>
                <a:lnTo>
                  <a:pt x="83692" y="954299"/>
                </a:lnTo>
                <a:lnTo>
                  <a:pt x="51115" y="947723"/>
                </a:lnTo>
                <a:lnTo>
                  <a:pt x="24512" y="929787"/>
                </a:lnTo>
                <a:lnTo>
                  <a:pt x="6576" y="903184"/>
                </a:lnTo>
                <a:lnTo>
                  <a:pt x="0" y="870607"/>
                </a:lnTo>
                <a:lnTo>
                  <a:pt x="0" y="83692"/>
                </a:lnTo>
                <a:lnTo>
                  <a:pt x="6576" y="51115"/>
                </a:lnTo>
                <a:lnTo>
                  <a:pt x="24512" y="24512"/>
                </a:lnTo>
                <a:lnTo>
                  <a:pt x="51115" y="6576"/>
                </a:lnTo>
                <a:lnTo>
                  <a:pt x="83692" y="0"/>
                </a:lnTo>
                <a:lnTo>
                  <a:pt x="1512307" y="0"/>
                </a:lnTo>
                <a:lnTo>
                  <a:pt x="1558740" y="14061"/>
                </a:lnTo>
                <a:lnTo>
                  <a:pt x="1589629" y="51664"/>
                </a:lnTo>
                <a:lnTo>
                  <a:pt x="1595999" y="83692"/>
                </a:lnTo>
                <a:lnTo>
                  <a:pt x="1595999" y="870607"/>
                </a:lnTo>
                <a:lnTo>
                  <a:pt x="1589423" y="903184"/>
                </a:lnTo>
                <a:lnTo>
                  <a:pt x="1571487" y="929787"/>
                </a:lnTo>
                <a:lnTo>
                  <a:pt x="1544884" y="947723"/>
                </a:lnTo>
                <a:lnTo>
                  <a:pt x="1512307" y="954299"/>
                </a:lnTo>
                <a:close/>
              </a:path>
            </a:pathLst>
          </a:custGeom>
          <a:solidFill>
            <a:schemeClr val="accent1"/>
          </a:solidFill>
        </p:spPr>
        <p:txBody>
          <a:bodyPr wrap="square" lIns="0" tIns="0" rIns="0" bIns="0" rtlCol="0"/>
          <a:lstStyle/>
          <a:p>
            <a:endParaRPr/>
          </a:p>
        </p:txBody>
      </p:sp>
      <p:sp>
        <p:nvSpPr>
          <p:cNvPr id="15" name="object 15"/>
          <p:cNvSpPr txBox="1"/>
          <p:nvPr/>
        </p:nvSpPr>
        <p:spPr>
          <a:xfrm>
            <a:off x="10016704" y="1769478"/>
            <a:ext cx="1123281" cy="689932"/>
          </a:xfrm>
          <a:prstGeom prst="rect">
            <a:avLst/>
          </a:prstGeom>
        </p:spPr>
        <p:txBody>
          <a:bodyPr vert="horz" wrap="square" lIns="0" tIns="12700" rIns="0" bIns="0" rtlCol="0">
            <a:spAutoFit/>
          </a:bodyPr>
          <a:lstStyle/>
          <a:p>
            <a:pPr marL="12700" algn="ctr">
              <a:lnSpc>
                <a:spcPct val="100000"/>
              </a:lnSpc>
              <a:spcBef>
                <a:spcPts val="100"/>
              </a:spcBef>
            </a:pPr>
            <a:r>
              <a:rPr lang="it-IT" sz="2200" b="1" spc="-5" dirty="0">
                <a:solidFill>
                  <a:srgbClr val="FFFFFF"/>
                </a:solidFill>
                <a:cs typeface="Roboto"/>
              </a:rPr>
              <a:t>Durata:40</a:t>
            </a:r>
            <a:r>
              <a:rPr lang="it-IT" sz="2200" b="1" spc="-80" dirty="0">
                <a:solidFill>
                  <a:srgbClr val="FFFFFF"/>
                </a:solidFill>
                <a:cs typeface="Roboto"/>
              </a:rPr>
              <a:t> </a:t>
            </a:r>
            <a:r>
              <a:rPr lang="it-IT" sz="2200" b="1" dirty="0">
                <a:solidFill>
                  <a:srgbClr val="FFFFFF"/>
                </a:solidFill>
                <a:cs typeface="Roboto"/>
              </a:rPr>
              <a:t>ORE</a:t>
            </a:r>
          </a:p>
        </p:txBody>
      </p:sp>
      <p:sp>
        <p:nvSpPr>
          <p:cNvPr id="19" name="CasellaDiTesto 18">
            <a:extLst>
              <a:ext uri="{FF2B5EF4-FFF2-40B4-BE49-F238E27FC236}">
                <a16:creationId xmlns:a16="http://schemas.microsoft.com/office/drawing/2014/main" id="{AE419993-E428-4926-B9BE-D3A35F84AC1A}"/>
              </a:ext>
            </a:extLst>
          </p:cNvPr>
          <p:cNvSpPr txBox="1"/>
          <p:nvPr/>
        </p:nvSpPr>
        <p:spPr>
          <a:xfrm>
            <a:off x="292492" y="1035704"/>
            <a:ext cx="4171748" cy="400110"/>
          </a:xfrm>
          <a:prstGeom prst="rect">
            <a:avLst/>
          </a:prstGeom>
          <a:noFill/>
        </p:spPr>
        <p:txBody>
          <a:bodyPr wrap="square">
            <a:spAutoFit/>
          </a:bodyPr>
          <a:lstStyle/>
          <a:p>
            <a:pPr marL="59690">
              <a:lnSpc>
                <a:spcPct val="100000"/>
              </a:lnSpc>
              <a:spcBef>
                <a:spcPts val="1370"/>
              </a:spcBef>
            </a:pPr>
            <a:r>
              <a:rPr lang="it-IT" sz="2000" b="1" i="1" spc="20" dirty="0">
                <a:solidFill>
                  <a:schemeClr val="tx1">
                    <a:lumMod val="65000"/>
                    <a:lumOff val="35000"/>
                  </a:schemeClr>
                </a:solidFill>
                <a:cs typeface="Roboto"/>
              </a:rPr>
              <a:t>Upskilling</a:t>
            </a:r>
            <a:r>
              <a:rPr lang="it-IT" sz="2000" b="1" spc="20" dirty="0">
                <a:solidFill>
                  <a:schemeClr val="tx1">
                    <a:lumMod val="65000"/>
                    <a:lumOff val="35000"/>
                  </a:schemeClr>
                </a:solidFill>
                <a:cs typeface="Roboto"/>
              </a:rPr>
              <a:t> mirato al profilo di: </a:t>
            </a:r>
          </a:p>
        </p:txBody>
      </p:sp>
      <p:sp>
        <p:nvSpPr>
          <p:cNvPr id="18" name="CasellaDiTesto 17">
            <a:extLst>
              <a:ext uri="{FF2B5EF4-FFF2-40B4-BE49-F238E27FC236}">
                <a16:creationId xmlns:a16="http://schemas.microsoft.com/office/drawing/2014/main" id="{5E11DDBC-F28C-4251-8A52-27B0DA4C22A2}"/>
              </a:ext>
            </a:extLst>
          </p:cNvPr>
          <p:cNvSpPr txBox="1"/>
          <p:nvPr/>
        </p:nvSpPr>
        <p:spPr>
          <a:xfrm>
            <a:off x="-322847" y="4189614"/>
            <a:ext cx="9015706" cy="1477328"/>
          </a:xfrm>
          <a:prstGeom prst="rect">
            <a:avLst/>
          </a:prstGeom>
          <a:noFill/>
        </p:spPr>
        <p:txBody>
          <a:bodyPr wrap="square">
            <a:spAutoFit/>
          </a:bodyPr>
          <a:lstStyle/>
          <a:p>
            <a:pPr marL="957580" indent="-285750" algn="just">
              <a:lnSpc>
                <a:spcPct val="100000"/>
              </a:lnSpc>
              <a:buFont typeface="Wingdings" panose="05000000000000000000" pitchFamily="2" charset="2"/>
              <a:buChar char="v"/>
            </a:pPr>
            <a:r>
              <a:rPr lang="it-IT" sz="1800" spc="-25" dirty="0">
                <a:solidFill>
                  <a:srgbClr val="333333"/>
                </a:solidFill>
                <a:cs typeface="Roboto"/>
              </a:rPr>
              <a:t>Realizzare il confezionamento dei prodotti alimentari in maniera conforme agli standard di sicurezza e qualità del prodotto alimentare</a:t>
            </a:r>
          </a:p>
          <a:p>
            <a:pPr marL="671830" algn="just">
              <a:lnSpc>
                <a:spcPct val="100000"/>
              </a:lnSpc>
            </a:pPr>
            <a:endParaRPr lang="it-IT" sz="1800" spc="-25" dirty="0">
              <a:solidFill>
                <a:srgbClr val="333333"/>
              </a:solidFill>
              <a:cs typeface="Roboto"/>
            </a:endParaRPr>
          </a:p>
          <a:p>
            <a:pPr marL="957580" indent="-285750" algn="just">
              <a:lnSpc>
                <a:spcPct val="100000"/>
              </a:lnSpc>
              <a:buFont typeface="Wingdings" panose="05000000000000000000" pitchFamily="2" charset="2"/>
              <a:buChar char="v"/>
            </a:pPr>
            <a:r>
              <a:rPr lang="it-IT" sz="1800" spc="-25" dirty="0">
                <a:solidFill>
                  <a:srgbClr val="333333"/>
                </a:solidFill>
              </a:rPr>
              <a:t>Eseguire l’etichettatura dei prodotti alimentari sulla base degli elementi di tracciabilità richiesti</a:t>
            </a:r>
          </a:p>
        </p:txBody>
      </p:sp>
      <p:sp>
        <p:nvSpPr>
          <p:cNvPr id="2" name="Rettangolo con angoli arrotondati 1">
            <a:extLst>
              <a:ext uri="{FF2B5EF4-FFF2-40B4-BE49-F238E27FC236}">
                <a16:creationId xmlns:a16="http://schemas.microsoft.com/office/drawing/2014/main" id="{1B8FD847-6EDF-4622-B7DC-3A980C67064F}"/>
              </a:ext>
            </a:extLst>
          </p:cNvPr>
          <p:cNvSpPr/>
          <p:nvPr/>
        </p:nvSpPr>
        <p:spPr>
          <a:xfrm>
            <a:off x="9785405" y="3133308"/>
            <a:ext cx="1596390" cy="1014899"/>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00"/>
          </a:p>
        </p:txBody>
      </p:sp>
      <p:sp>
        <p:nvSpPr>
          <p:cNvPr id="4" name="CasellaDiTesto 3">
            <a:extLst>
              <a:ext uri="{FF2B5EF4-FFF2-40B4-BE49-F238E27FC236}">
                <a16:creationId xmlns:a16="http://schemas.microsoft.com/office/drawing/2014/main" id="{0F78CC4D-58D6-4202-B1B6-656823DBBC09}"/>
              </a:ext>
            </a:extLst>
          </p:cNvPr>
          <p:cNvSpPr txBox="1"/>
          <p:nvPr/>
        </p:nvSpPr>
        <p:spPr>
          <a:xfrm>
            <a:off x="9895242" y="3249321"/>
            <a:ext cx="1303588" cy="830997"/>
          </a:xfrm>
          <a:prstGeom prst="rect">
            <a:avLst/>
          </a:prstGeom>
          <a:noFill/>
        </p:spPr>
        <p:txBody>
          <a:bodyPr wrap="square" rtlCol="0">
            <a:spAutoFit/>
          </a:bodyPr>
          <a:lstStyle/>
          <a:p>
            <a:pPr algn="ctr"/>
            <a:r>
              <a:rPr lang="it-IT" sz="1600" b="1" dirty="0">
                <a:solidFill>
                  <a:schemeClr val="accent1"/>
                </a:solidFill>
                <a:hlinkClick r:id="rId3" action="ppaction://hlinksldjump">
                  <a:extLst>
                    <a:ext uri="{A12FA001-AC4F-418D-AE19-62706E023703}">
                      <ahyp:hlinkClr xmlns:ahyp="http://schemas.microsoft.com/office/drawing/2018/hyperlinkcolor" val="tx"/>
                    </a:ext>
                  </a:extLst>
                </a:hlinkClick>
              </a:rPr>
              <a:t>Vedi dettagli programma</a:t>
            </a:r>
            <a:endParaRPr lang="it-IT" sz="1600" b="1" dirty="0">
              <a:solidFill>
                <a:schemeClr val="accent1"/>
              </a:solidFill>
            </a:endParaRPr>
          </a:p>
        </p:txBody>
      </p:sp>
      <p:sp>
        <p:nvSpPr>
          <p:cNvPr id="8" name="Rettangolo con angoli arrotondati 7">
            <a:extLst>
              <a:ext uri="{FF2B5EF4-FFF2-40B4-BE49-F238E27FC236}">
                <a16:creationId xmlns:a16="http://schemas.microsoft.com/office/drawing/2014/main" id="{B70A47C5-CB0B-21D4-E41E-AA9D1127DF68}"/>
              </a:ext>
            </a:extLst>
          </p:cNvPr>
          <p:cNvSpPr/>
          <p:nvPr/>
        </p:nvSpPr>
        <p:spPr>
          <a:xfrm>
            <a:off x="9785406" y="4365602"/>
            <a:ext cx="1596390" cy="819725"/>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00"/>
          </a:p>
        </p:txBody>
      </p:sp>
      <p:sp>
        <p:nvSpPr>
          <p:cNvPr id="10" name="CasellaDiTesto 9">
            <a:extLst>
              <a:ext uri="{FF2B5EF4-FFF2-40B4-BE49-F238E27FC236}">
                <a16:creationId xmlns:a16="http://schemas.microsoft.com/office/drawing/2014/main" id="{ECA154D8-9CF8-3832-E245-60B065A9EEA7}"/>
              </a:ext>
            </a:extLst>
          </p:cNvPr>
          <p:cNvSpPr txBox="1"/>
          <p:nvPr/>
        </p:nvSpPr>
        <p:spPr>
          <a:xfrm>
            <a:off x="9895242" y="4483076"/>
            <a:ext cx="1366207" cy="584775"/>
          </a:xfrm>
          <a:prstGeom prst="rect">
            <a:avLst/>
          </a:prstGeom>
          <a:noFill/>
        </p:spPr>
        <p:txBody>
          <a:bodyPr wrap="square" rtlCol="0">
            <a:spAutoFit/>
          </a:bodyPr>
          <a:lstStyle/>
          <a:p>
            <a:pPr algn="ctr"/>
            <a:r>
              <a:rPr lang="it-IT" sz="1600" b="1" dirty="0">
                <a:solidFill>
                  <a:schemeClr val="accent1"/>
                </a:solidFill>
                <a:hlinkClick r:id="rId4" action="ppaction://hlinksldjump"/>
              </a:rPr>
              <a:t>Vedi indice corsi</a:t>
            </a:r>
            <a:endParaRPr lang="it-IT" sz="1600" b="1" dirty="0">
              <a:solidFill>
                <a:schemeClr val="accent1"/>
              </a:solidFill>
            </a:endParaRPr>
          </a:p>
        </p:txBody>
      </p:sp>
      <p:pic>
        <p:nvPicPr>
          <p:cNvPr id="22" name="Immagine 21">
            <a:extLst>
              <a:ext uri="{FF2B5EF4-FFF2-40B4-BE49-F238E27FC236}">
                <a16:creationId xmlns:a16="http://schemas.microsoft.com/office/drawing/2014/main" id="{024095E3-AFFF-4F15-BE25-D08F84250D39}"/>
              </a:ext>
            </a:extLst>
          </p:cNvPr>
          <p:cNvPicPr>
            <a:picLocks noChangeAspect="1"/>
          </p:cNvPicPr>
          <p:nvPr/>
        </p:nvPicPr>
        <p:blipFill>
          <a:blip r:embed="rId5"/>
          <a:stretch>
            <a:fillRect/>
          </a:stretch>
        </p:blipFill>
        <p:spPr>
          <a:xfrm>
            <a:off x="327484" y="5771276"/>
            <a:ext cx="9567758" cy="1086724"/>
          </a:xfrm>
          <a:prstGeom prst="rect">
            <a:avLst/>
          </a:prstGeom>
        </p:spPr>
      </p:pic>
      <p:pic>
        <p:nvPicPr>
          <p:cNvPr id="23" name="Immagine 22">
            <a:extLst>
              <a:ext uri="{FF2B5EF4-FFF2-40B4-BE49-F238E27FC236}">
                <a16:creationId xmlns:a16="http://schemas.microsoft.com/office/drawing/2014/main" id="{B8757253-3E95-4F9D-8681-A7FA522ED1F2}"/>
              </a:ext>
            </a:extLst>
          </p:cNvPr>
          <p:cNvPicPr>
            <a:picLocks noChangeAspect="1"/>
          </p:cNvPicPr>
          <p:nvPr/>
        </p:nvPicPr>
        <p:blipFill>
          <a:blip r:embed="rId6"/>
          <a:stretch>
            <a:fillRect/>
          </a:stretch>
        </p:blipFill>
        <p:spPr>
          <a:xfrm>
            <a:off x="9898769" y="6182710"/>
            <a:ext cx="1378634" cy="340953"/>
          </a:xfrm>
          <a:prstGeom prst="rect">
            <a:avLst/>
          </a:prstGeom>
        </p:spPr>
      </p:pic>
    </p:spTree>
    <p:extLst>
      <p:ext uri="{BB962C8B-B14F-4D97-AF65-F5344CB8AC3E}">
        <p14:creationId xmlns:p14="http://schemas.microsoft.com/office/powerpoint/2010/main" val="375118737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object 12">
            <a:extLst>
              <a:ext uri="{FF2B5EF4-FFF2-40B4-BE49-F238E27FC236}">
                <a16:creationId xmlns:a16="http://schemas.microsoft.com/office/drawing/2014/main" id="{88CDFEDA-FA78-4759-BF0E-797C7A519949}"/>
              </a:ext>
            </a:extLst>
          </p:cNvPr>
          <p:cNvSpPr/>
          <p:nvPr/>
        </p:nvSpPr>
        <p:spPr>
          <a:xfrm>
            <a:off x="361954" y="1163782"/>
            <a:ext cx="2593435" cy="537585"/>
          </a:xfrm>
          <a:custGeom>
            <a:avLst/>
            <a:gdLst/>
            <a:ahLst/>
            <a:cxnLst/>
            <a:rect l="l" t="t" r="r" b="b"/>
            <a:pathLst>
              <a:path w="1596389" h="472439">
                <a:moveTo>
                  <a:pt x="1554614" y="471899"/>
                </a:moveTo>
                <a:lnTo>
                  <a:pt x="41385" y="471899"/>
                </a:lnTo>
                <a:lnTo>
                  <a:pt x="25276" y="468647"/>
                </a:lnTo>
                <a:lnTo>
                  <a:pt x="12121" y="459778"/>
                </a:lnTo>
                <a:lnTo>
                  <a:pt x="3252" y="446623"/>
                </a:lnTo>
                <a:lnTo>
                  <a:pt x="0" y="430514"/>
                </a:lnTo>
                <a:lnTo>
                  <a:pt x="0" y="41385"/>
                </a:lnTo>
                <a:lnTo>
                  <a:pt x="3252" y="25276"/>
                </a:lnTo>
                <a:lnTo>
                  <a:pt x="12121" y="12121"/>
                </a:lnTo>
                <a:lnTo>
                  <a:pt x="25276" y="3252"/>
                </a:lnTo>
                <a:lnTo>
                  <a:pt x="41385" y="0"/>
                </a:lnTo>
                <a:lnTo>
                  <a:pt x="1554614" y="0"/>
                </a:lnTo>
                <a:lnTo>
                  <a:pt x="1589046" y="18424"/>
                </a:lnTo>
                <a:lnTo>
                  <a:pt x="1595999" y="41385"/>
                </a:lnTo>
                <a:lnTo>
                  <a:pt x="1595999" y="430514"/>
                </a:lnTo>
                <a:lnTo>
                  <a:pt x="1592747" y="446623"/>
                </a:lnTo>
                <a:lnTo>
                  <a:pt x="1583878" y="459778"/>
                </a:lnTo>
                <a:lnTo>
                  <a:pt x="1570723" y="468647"/>
                </a:lnTo>
                <a:lnTo>
                  <a:pt x="1554614" y="471899"/>
                </a:lnTo>
                <a:close/>
              </a:path>
            </a:pathLst>
          </a:custGeom>
          <a:solidFill>
            <a:schemeClr val="accent1"/>
          </a:solidFill>
        </p:spPr>
        <p:txBody>
          <a:bodyPr wrap="square" lIns="0" tIns="0" rIns="0" bIns="0" rtlCol="0"/>
          <a:lstStyle/>
          <a:p>
            <a:endParaRPr/>
          </a:p>
        </p:txBody>
      </p:sp>
      <p:sp>
        <p:nvSpPr>
          <p:cNvPr id="3" name="object 3"/>
          <p:cNvSpPr txBox="1">
            <a:spLocks noGrp="1"/>
          </p:cNvSpPr>
          <p:nvPr>
            <p:ph type="title"/>
          </p:nvPr>
        </p:nvSpPr>
        <p:spPr>
          <a:xfrm>
            <a:off x="327484" y="162480"/>
            <a:ext cx="10917349" cy="628377"/>
          </a:xfrm>
          <a:prstGeom prst="rect">
            <a:avLst/>
          </a:prstGeom>
        </p:spPr>
        <p:txBody>
          <a:bodyPr vert="horz" wrap="square" lIns="0" tIns="12700" rIns="0" bIns="0" rtlCol="0">
            <a:spAutoFit/>
          </a:bodyPr>
          <a:lstStyle/>
          <a:p>
            <a:pPr marL="12700">
              <a:lnSpc>
                <a:spcPct val="100000"/>
              </a:lnSpc>
              <a:spcBef>
                <a:spcPts val="100"/>
              </a:spcBef>
            </a:pPr>
            <a:r>
              <a:rPr lang="it-IT" sz="2800" spc="-15" dirty="0">
                <a:solidFill>
                  <a:schemeClr val="accent1"/>
                </a:solidFill>
                <a:latin typeface="+mn-lt"/>
              </a:rPr>
              <a:t>1. CORSO CONFEZIONAMENTO DEI PRODOTTI ALIMENTARI </a:t>
            </a:r>
            <a:br>
              <a:rPr lang="it-IT" sz="2800" spc="-15" dirty="0">
                <a:solidFill>
                  <a:schemeClr val="accent1"/>
                </a:solidFill>
                <a:latin typeface="+mn-lt"/>
              </a:rPr>
            </a:br>
            <a:r>
              <a:rPr lang="it-IT" sz="1200" spc="-15" dirty="0">
                <a:solidFill>
                  <a:schemeClr val="accent1"/>
                </a:solidFill>
                <a:latin typeface="+mn-lt"/>
              </a:rPr>
              <a:t>(OPAL Formazione </a:t>
            </a:r>
            <a:r>
              <a:rPr lang="it-IT" sz="1200" spc="-15" dirty="0" err="1">
                <a:solidFill>
                  <a:schemeClr val="accent1"/>
                </a:solidFill>
                <a:latin typeface="+mn-lt"/>
              </a:rPr>
              <a:t>Upskilling</a:t>
            </a:r>
            <a:r>
              <a:rPr lang="it-IT" sz="1200" spc="-15" dirty="0">
                <a:solidFill>
                  <a:schemeClr val="accent1"/>
                </a:solidFill>
                <a:latin typeface="+mn-lt"/>
              </a:rPr>
              <a:t> (RRSP) mirata al profilo OPERATORE DEL CONFEZIONAMENTO DEI PRODOTTI ALIMENTARI)</a:t>
            </a:r>
          </a:p>
        </p:txBody>
      </p:sp>
      <p:sp>
        <p:nvSpPr>
          <p:cNvPr id="5" name="object 5"/>
          <p:cNvSpPr/>
          <p:nvPr/>
        </p:nvSpPr>
        <p:spPr>
          <a:xfrm>
            <a:off x="361954" y="1893050"/>
            <a:ext cx="8889221" cy="3582910"/>
          </a:xfrm>
          <a:custGeom>
            <a:avLst/>
            <a:gdLst/>
            <a:ahLst/>
            <a:cxnLst/>
            <a:rect l="l" t="t" r="r" b="b"/>
            <a:pathLst>
              <a:path w="7729220" h="954405">
                <a:moveTo>
                  <a:pt x="7644907" y="954299"/>
                </a:moveTo>
                <a:lnTo>
                  <a:pt x="83692" y="954299"/>
                </a:lnTo>
                <a:lnTo>
                  <a:pt x="51115" y="947723"/>
                </a:lnTo>
                <a:lnTo>
                  <a:pt x="24512" y="929787"/>
                </a:lnTo>
                <a:lnTo>
                  <a:pt x="6576" y="903184"/>
                </a:lnTo>
                <a:lnTo>
                  <a:pt x="0" y="870607"/>
                </a:lnTo>
                <a:lnTo>
                  <a:pt x="0" y="83692"/>
                </a:lnTo>
                <a:lnTo>
                  <a:pt x="6576" y="51115"/>
                </a:lnTo>
                <a:lnTo>
                  <a:pt x="24512" y="24512"/>
                </a:lnTo>
                <a:lnTo>
                  <a:pt x="51115" y="6576"/>
                </a:lnTo>
                <a:lnTo>
                  <a:pt x="83692" y="0"/>
                </a:lnTo>
                <a:lnTo>
                  <a:pt x="7644907" y="0"/>
                </a:lnTo>
                <a:lnTo>
                  <a:pt x="7691340" y="14061"/>
                </a:lnTo>
                <a:lnTo>
                  <a:pt x="7722229" y="51664"/>
                </a:lnTo>
                <a:lnTo>
                  <a:pt x="7728599" y="83692"/>
                </a:lnTo>
                <a:lnTo>
                  <a:pt x="7728599" y="870607"/>
                </a:lnTo>
                <a:lnTo>
                  <a:pt x="7722023" y="903184"/>
                </a:lnTo>
                <a:lnTo>
                  <a:pt x="7704087" y="929787"/>
                </a:lnTo>
                <a:lnTo>
                  <a:pt x="7677484" y="947723"/>
                </a:lnTo>
                <a:lnTo>
                  <a:pt x="7644907" y="954299"/>
                </a:lnTo>
                <a:close/>
              </a:path>
            </a:pathLst>
          </a:custGeom>
          <a:solidFill>
            <a:schemeClr val="bg1"/>
          </a:solidFill>
        </p:spPr>
        <p:txBody>
          <a:bodyPr wrap="square" lIns="0" tIns="0" rIns="0" bIns="0" rtlCol="0"/>
          <a:lstStyle/>
          <a:p>
            <a:pPr marL="252000" lvl="0" indent="-285750">
              <a:buSzPts val="1000"/>
              <a:buFont typeface="Arial" panose="020B0604020202020204" pitchFamily="34" charset="0"/>
              <a:buChar char="•"/>
              <a:tabLst>
                <a:tab pos="457200" algn="l"/>
              </a:tabLst>
            </a:pPr>
            <a:r>
              <a:rPr lang="it-IT" sz="1800" dirty="0">
                <a:effectLst/>
                <a:ea typeface="Times New Roman" panose="02020603050405020304" pitchFamily="18" charset="0"/>
              </a:rPr>
              <a:t>Igiene generale e specifica dell'addetto al confezionamento degli alimenti:  </a:t>
            </a:r>
          </a:p>
          <a:p>
            <a:pPr marL="252000" lvl="0" indent="-285750">
              <a:buSzPts val="1000"/>
              <a:buFont typeface="Arial" panose="020B0604020202020204" pitchFamily="34" charset="0"/>
              <a:buChar char="•"/>
              <a:tabLst>
                <a:tab pos="457200" algn="l"/>
              </a:tabLst>
            </a:pPr>
            <a:r>
              <a:rPr lang="it-IT" sz="1800" dirty="0">
                <a:effectLst/>
                <a:ea typeface="Times New Roman" panose="02020603050405020304" pitchFamily="18" charset="0"/>
              </a:rPr>
              <a:t>Buone prassi igieniche nel settore alimentare </a:t>
            </a:r>
            <a:endParaRPr lang="it-IT" dirty="0">
              <a:ea typeface="Times New Roman" panose="02020603050405020304" pitchFamily="18" charset="0"/>
            </a:endParaRPr>
          </a:p>
          <a:p>
            <a:pPr marL="252000" lvl="0" indent="-285750">
              <a:buSzPts val="1000"/>
              <a:buFont typeface="Arial" panose="020B0604020202020204" pitchFamily="34" charset="0"/>
              <a:buChar char="•"/>
              <a:tabLst>
                <a:tab pos="457200" algn="l"/>
              </a:tabLst>
            </a:pPr>
            <a:r>
              <a:rPr lang="it-IT" sz="1800" dirty="0">
                <a:effectLst/>
                <a:ea typeface="Times New Roman" panose="02020603050405020304" pitchFamily="18" charset="0"/>
              </a:rPr>
              <a:t>Contaminazioni fisiche, chimiche e biologiche e loro prevenzione. Microbiologia degli alimenti e malattie trasmissibili agli alimenti e loro prevenzione</a:t>
            </a:r>
          </a:p>
          <a:p>
            <a:pPr marL="252000" lvl="0" indent="-285750">
              <a:buSzPts val="1000"/>
              <a:buFont typeface="Arial" panose="020B0604020202020204" pitchFamily="34" charset="0"/>
              <a:buChar char="•"/>
              <a:tabLst>
                <a:tab pos="457200" algn="l"/>
              </a:tabLst>
            </a:pPr>
            <a:r>
              <a:rPr lang="it-IT" sz="1800" dirty="0">
                <a:effectLst/>
                <a:ea typeface="Times New Roman" panose="02020603050405020304" pitchFamily="18" charset="0"/>
              </a:rPr>
              <a:t>La conservazione degli alimenti: tecnologie di conservazione e loro princìpi (sottovuoto, atmosfera protettiva, surgelazione, congelamento, uso di additivi, conservazione a caldo, affumicatura, salagione, concentrazione, filtrazione, irraggiamento).</a:t>
            </a:r>
          </a:p>
          <a:p>
            <a:pPr marL="252000" lvl="0" indent="-285750">
              <a:buSzPts val="1000"/>
              <a:buFont typeface="Arial" panose="020B0604020202020204" pitchFamily="34" charset="0"/>
              <a:buChar char="•"/>
              <a:tabLst>
                <a:tab pos="457200" algn="l"/>
              </a:tabLst>
            </a:pPr>
            <a:r>
              <a:rPr lang="it-IT" sz="1800" dirty="0">
                <a:effectLst/>
                <a:ea typeface="Times New Roman" panose="02020603050405020304" pitchFamily="18" charset="0"/>
              </a:rPr>
              <a:t>Etichettatura degli alimenti ai sensi della normativa vigente (Reg UE 1169/11 e normative di applicazione nazionale</a:t>
            </a:r>
          </a:p>
          <a:p>
            <a:pPr marL="252000" lvl="0" indent="-285750">
              <a:buSzPts val="1000"/>
              <a:buFont typeface="Arial" panose="020B0604020202020204" pitchFamily="34" charset="0"/>
              <a:buChar char="•"/>
              <a:tabLst>
                <a:tab pos="457200" algn="l"/>
              </a:tabLst>
            </a:pPr>
            <a:r>
              <a:rPr lang="it-IT" sz="1800" dirty="0">
                <a:effectLst/>
                <a:ea typeface="Times New Roman" panose="02020603050405020304" pitchFamily="18" charset="0"/>
              </a:rPr>
              <a:t>Materiali e oggetti destinati al contatto alimentare (MOCA): normativa vigente, caratteristiche, requisiti e principali materiali usati nel settore alimentare:</a:t>
            </a:r>
          </a:p>
          <a:p>
            <a:pPr marL="252000" lvl="0" indent="-285750">
              <a:buSzPts val="1000"/>
              <a:buFont typeface="Arial" panose="020B0604020202020204" pitchFamily="34" charset="0"/>
              <a:buChar char="•"/>
              <a:tabLst>
                <a:tab pos="457200" algn="l"/>
              </a:tabLst>
            </a:pPr>
            <a:r>
              <a:rPr lang="it-IT" sz="1800" dirty="0">
                <a:effectLst/>
                <a:ea typeface="Times New Roman" panose="02020603050405020304" pitchFamily="18" charset="0"/>
              </a:rPr>
              <a:t>Sanificazione ambienti e attrezzature di lavoro (principi di detergenza e disinfezione e protocollo </a:t>
            </a:r>
          </a:p>
        </p:txBody>
      </p:sp>
      <p:sp>
        <p:nvSpPr>
          <p:cNvPr id="11" name="object 11"/>
          <p:cNvSpPr txBox="1"/>
          <p:nvPr/>
        </p:nvSpPr>
        <p:spPr>
          <a:xfrm>
            <a:off x="11596613" y="154633"/>
            <a:ext cx="302895" cy="604520"/>
          </a:xfrm>
          <a:prstGeom prst="rect">
            <a:avLst/>
          </a:prstGeom>
        </p:spPr>
        <p:txBody>
          <a:bodyPr vert="horz" wrap="square" lIns="0" tIns="12700" rIns="0" bIns="0" rtlCol="0">
            <a:spAutoFit/>
          </a:bodyPr>
          <a:lstStyle/>
          <a:p>
            <a:pPr marL="12700">
              <a:lnSpc>
                <a:spcPct val="100000"/>
              </a:lnSpc>
              <a:spcBef>
                <a:spcPts val="100"/>
              </a:spcBef>
            </a:pPr>
            <a:r>
              <a:rPr lang="it-IT" sz="3800" b="1" dirty="0">
                <a:solidFill>
                  <a:srgbClr val="FFFFFF"/>
                </a:solidFill>
                <a:cs typeface="Roboto"/>
              </a:rPr>
              <a:t>1</a:t>
            </a:r>
            <a:endParaRPr lang="it-IT" sz="3800">
              <a:cs typeface="Roboto"/>
            </a:endParaRPr>
          </a:p>
        </p:txBody>
      </p:sp>
      <p:sp>
        <p:nvSpPr>
          <p:cNvPr id="15" name="object 15"/>
          <p:cNvSpPr txBox="1"/>
          <p:nvPr/>
        </p:nvSpPr>
        <p:spPr>
          <a:xfrm>
            <a:off x="10227205" y="1985879"/>
            <a:ext cx="942975" cy="689932"/>
          </a:xfrm>
          <a:prstGeom prst="rect">
            <a:avLst/>
          </a:prstGeom>
        </p:spPr>
        <p:txBody>
          <a:bodyPr vert="horz" wrap="square" lIns="0" tIns="12700" rIns="0" bIns="0" rtlCol="0">
            <a:spAutoFit/>
          </a:bodyPr>
          <a:lstStyle/>
          <a:p>
            <a:pPr marL="12700">
              <a:lnSpc>
                <a:spcPct val="100000"/>
              </a:lnSpc>
              <a:spcBef>
                <a:spcPts val="100"/>
              </a:spcBef>
            </a:pPr>
            <a:r>
              <a:rPr lang="it-IT" sz="2200" b="1" spc="-5" dirty="0">
                <a:solidFill>
                  <a:srgbClr val="FFFFFF"/>
                </a:solidFill>
                <a:cs typeface="Roboto"/>
              </a:rPr>
              <a:t>Durata:40</a:t>
            </a:r>
            <a:r>
              <a:rPr lang="it-IT" sz="2200" b="1" spc="-80" dirty="0">
                <a:solidFill>
                  <a:srgbClr val="FFFFFF"/>
                </a:solidFill>
                <a:cs typeface="Roboto"/>
              </a:rPr>
              <a:t> </a:t>
            </a:r>
            <a:r>
              <a:rPr lang="it-IT" sz="2200" b="1" dirty="0">
                <a:solidFill>
                  <a:srgbClr val="FFFFFF"/>
                </a:solidFill>
                <a:cs typeface="Roboto"/>
              </a:rPr>
              <a:t>ORE</a:t>
            </a:r>
          </a:p>
        </p:txBody>
      </p:sp>
      <p:sp>
        <p:nvSpPr>
          <p:cNvPr id="19" name="CasellaDiTesto 18">
            <a:extLst>
              <a:ext uri="{FF2B5EF4-FFF2-40B4-BE49-F238E27FC236}">
                <a16:creationId xmlns:a16="http://schemas.microsoft.com/office/drawing/2014/main" id="{AE419993-E428-4926-B9BE-D3A35F84AC1A}"/>
              </a:ext>
            </a:extLst>
          </p:cNvPr>
          <p:cNvSpPr txBox="1"/>
          <p:nvPr/>
        </p:nvSpPr>
        <p:spPr>
          <a:xfrm>
            <a:off x="463434" y="1229796"/>
            <a:ext cx="4171748" cy="400110"/>
          </a:xfrm>
          <a:prstGeom prst="rect">
            <a:avLst/>
          </a:prstGeom>
          <a:noFill/>
        </p:spPr>
        <p:txBody>
          <a:bodyPr wrap="square">
            <a:spAutoFit/>
          </a:bodyPr>
          <a:lstStyle/>
          <a:p>
            <a:pPr marL="59690">
              <a:lnSpc>
                <a:spcPct val="100000"/>
              </a:lnSpc>
              <a:spcBef>
                <a:spcPts val="1370"/>
              </a:spcBef>
            </a:pPr>
            <a:r>
              <a:rPr lang="it-IT" sz="2000" b="1" i="1" spc="20" dirty="0">
                <a:solidFill>
                  <a:schemeClr val="bg1"/>
                </a:solidFill>
                <a:cs typeface="Roboto"/>
              </a:rPr>
              <a:t>Programma corso :</a:t>
            </a:r>
            <a:endParaRPr lang="it-IT" sz="2000" b="1" spc="20" dirty="0">
              <a:solidFill>
                <a:schemeClr val="bg1"/>
              </a:solidFill>
              <a:cs typeface="Roboto"/>
            </a:endParaRPr>
          </a:p>
        </p:txBody>
      </p:sp>
      <p:sp>
        <p:nvSpPr>
          <p:cNvPr id="2" name="Rettangolo con angoli arrotondati 1">
            <a:extLst>
              <a:ext uri="{FF2B5EF4-FFF2-40B4-BE49-F238E27FC236}">
                <a16:creationId xmlns:a16="http://schemas.microsoft.com/office/drawing/2014/main" id="{96909191-4D48-275D-4456-B53A88C8954D}"/>
              </a:ext>
            </a:extLst>
          </p:cNvPr>
          <p:cNvSpPr/>
          <p:nvPr/>
        </p:nvSpPr>
        <p:spPr>
          <a:xfrm>
            <a:off x="9958284" y="4333865"/>
            <a:ext cx="1596390" cy="819725"/>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00"/>
          </a:p>
        </p:txBody>
      </p:sp>
      <p:sp>
        <p:nvSpPr>
          <p:cNvPr id="4" name="CasellaDiTesto 3">
            <a:extLst>
              <a:ext uri="{FF2B5EF4-FFF2-40B4-BE49-F238E27FC236}">
                <a16:creationId xmlns:a16="http://schemas.microsoft.com/office/drawing/2014/main" id="{B8BB06A0-8356-75EF-EDAA-759BCEF53997}"/>
              </a:ext>
            </a:extLst>
          </p:cNvPr>
          <p:cNvSpPr txBox="1"/>
          <p:nvPr/>
        </p:nvSpPr>
        <p:spPr>
          <a:xfrm>
            <a:off x="10068120" y="4451339"/>
            <a:ext cx="1366207" cy="584775"/>
          </a:xfrm>
          <a:prstGeom prst="rect">
            <a:avLst/>
          </a:prstGeom>
          <a:noFill/>
        </p:spPr>
        <p:txBody>
          <a:bodyPr wrap="square" rtlCol="0">
            <a:spAutoFit/>
          </a:bodyPr>
          <a:lstStyle/>
          <a:p>
            <a:pPr algn="ctr"/>
            <a:r>
              <a:rPr lang="it-IT" sz="1600" b="1" dirty="0">
                <a:solidFill>
                  <a:schemeClr val="accent1"/>
                </a:solidFill>
                <a:hlinkClick r:id="rId3" action="ppaction://hlinksldjump"/>
              </a:rPr>
              <a:t>Vedi indice corsi</a:t>
            </a:r>
            <a:endParaRPr lang="it-IT" sz="1600" b="1" dirty="0">
              <a:solidFill>
                <a:schemeClr val="accent1"/>
              </a:solidFill>
            </a:endParaRPr>
          </a:p>
        </p:txBody>
      </p:sp>
      <p:pic>
        <p:nvPicPr>
          <p:cNvPr id="13" name="Immagine 12">
            <a:extLst>
              <a:ext uri="{FF2B5EF4-FFF2-40B4-BE49-F238E27FC236}">
                <a16:creationId xmlns:a16="http://schemas.microsoft.com/office/drawing/2014/main" id="{6A1D9E9D-2255-41C1-B14A-1D3E38094479}"/>
              </a:ext>
            </a:extLst>
          </p:cNvPr>
          <p:cNvPicPr>
            <a:picLocks noChangeAspect="1"/>
          </p:cNvPicPr>
          <p:nvPr/>
        </p:nvPicPr>
        <p:blipFill>
          <a:blip r:embed="rId4"/>
          <a:stretch>
            <a:fillRect/>
          </a:stretch>
        </p:blipFill>
        <p:spPr>
          <a:xfrm>
            <a:off x="327484" y="5784507"/>
            <a:ext cx="9567758" cy="1086724"/>
          </a:xfrm>
          <a:prstGeom prst="rect">
            <a:avLst/>
          </a:prstGeom>
        </p:spPr>
      </p:pic>
      <p:pic>
        <p:nvPicPr>
          <p:cNvPr id="14" name="Immagine 13">
            <a:extLst>
              <a:ext uri="{FF2B5EF4-FFF2-40B4-BE49-F238E27FC236}">
                <a16:creationId xmlns:a16="http://schemas.microsoft.com/office/drawing/2014/main" id="{45CBAF77-CFCC-405C-AAC0-EA03133D85F1}"/>
              </a:ext>
            </a:extLst>
          </p:cNvPr>
          <p:cNvPicPr>
            <a:picLocks noChangeAspect="1"/>
          </p:cNvPicPr>
          <p:nvPr/>
        </p:nvPicPr>
        <p:blipFill>
          <a:blip r:embed="rId5"/>
          <a:stretch>
            <a:fillRect/>
          </a:stretch>
        </p:blipFill>
        <p:spPr>
          <a:xfrm>
            <a:off x="9898769" y="6182710"/>
            <a:ext cx="1378634" cy="340953"/>
          </a:xfrm>
          <a:prstGeom prst="rect">
            <a:avLst/>
          </a:prstGeom>
        </p:spPr>
      </p:pic>
    </p:spTree>
    <p:extLst>
      <p:ext uri="{BB962C8B-B14F-4D97-AF65-F5344CB8AC3E}">
        <p14:creationId xmlns:p14="http://schemas.microsoft.com/office/powerpoint/2010/main" val="158249390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27484" y="184673"/>
            <a:ext cx="11075214" cy="659155"/>
          </a:xfrm>
          <a:prstGeom prst="rect">
            <a:avLst/>
          </a:prstGeom>
        </p:spPr>
        <p:txBody>
          <a:bodyPr vert="horz" wrap="square" lIns="0" tIns="12700" rIns="0" bIns="0" rtlCol="0">
            <a:spAutoFit/>
          </a:bodyPr>
          <a:lstStyle/>
          <a:p>
            <a:pPr marL="12700">
              <a:lnSpc>
                <a:spcPct val="100000"/>
              </a:lnSpc>
              <a:spcBef>
                <a:spcPts val="100"/>
              </a:spcBef>
            </a:pPr>
            <a:r>
              <a:rPr lang="it-IT" sz="2800" spc="-15" dirty="0">
                <a:solidFill>
                  <a:schemeClr val="accent1"/>
                </a:solidFill>
                <a:latin typeface="+mn-lt"/>
              </a:rPr>
              <a:t>2. CORSO GESTIONE DEL SERVIZIO AI PIANI NELLE STRUTTURE RICETTIVE</a:t>
            </a:r>
            <a:br>
              <a:rPr lang="it-IT" sz="2800" spc="-15" dirty="0">
                <a:solidFill>
                  <a:schemeClr val="accent1"/>
                </a:solidFill>
                <a:latin typeface="+mn-lt"/>
              </a:rPr>
            </a:br>
            <a:r>
              <a:rPr lang="it-IT" sz="1400" spc="-15" dirty="0">
                <a:solidFill>
                  <a:schemeClr val="accent1"/>
                </a:solidFill>
                <a:latin typeface="+mn-lt"/>
              </a:rPr>
              <a:t>(OPAL Formazione </a:t>
            </a:r>
            <a:r>
              <a:rPr lang="it-IT" sz="1400" spc="-15" dirty="0" err="1">
                <a:solidFill>
                  <a:schemeClr val="accent1"/>
                </a:solidFill>
                <a:latin typeface="+mn-lt"/>
              </a:rPr>
              <a:t>Upskilling</a:t>
            </a:r>
            <a:r>
              <a:rPr lang="it-IT" sz="1400" spc="-15" dirty="0">
                <a:solidFill>
                  <a:schemeClr val="accent1"/>
                </a:solidFill>
                <a:latin typeface="+mn-lt"/>
              </a:rPr>
              <a:t> (RRSP) mirata al profilo TECNICO DI GESTIONE DEL SERVIZIO AI PIANI)</a:t>
            </a:r>
          </a:p>
        </p:txBody>
      </p:sp>
      <p:sp>
        <p:nvSpPr>
          <p:cNvPr id="5" name="object 5"/>
          <p:cNvSpPr/>
          <p:nvPr/>
        </p:nvSpPr>
        <p:spPr>
          <a:xfrm>
            <a:off x="327484" y="1912203"/>
            <a:ext cx="8725487" cy="1371109"/>
          </a:xfrm>
          <a:custGeom>
            <a:avLst/>
            <a:gdLst/>
            <a:ahLst/>
            <a:cxnLst/>
            <a:rect l="l" t="t" r="r" b="b"/>
            <a:pathLst>
              <a:path w="7729220" h="954405">
                <a:moveTo>
                  <a:pt x="7644907" y="954299"/>
                </a:moveTo>
                <a:lnTo>
                  <a:pt x="83692" y="954299"/>
                </a:lnTo>
                <a:lnTo>
                  <a:pt x="51115" y="947723"/>
                </a:lnTo>
                <a:lnTo>
                  <a:pt x="24512" y="929787"/>
                </a:lnTo>
                <a:lnTo>
                  <a:pt x="6576" y="903184"/>
                </a:lnTo>
                <a:lnTo>
                  <a:pt x="0" y="870607"/>
                </a:lnTo>
                <a:lnTo>
                  <a:pt x="0" y="83692"/>
                </a:lnTo>
                <a:lnTo>
                  <a:pt x="6576" y="51115"/>
                </a:lnTo>
                <a:lnTo>
                  <a:pt x="24512" y="24512"/>
                </a:lnTo>
                <a:lnTo>
                  <a:pt x="51115" y="6576"/>
                </a:lnTo>
                <a:lnTo>
                  <a:pt x="83692" y="0"/>
                </a:lnTo>
                <a:lnTo>
                  <a:pt x="7644907" y="0"/>
                </a:lnTo>
                <a:lnTo>
                  <a:pt x="7691340" y="14061"/>
                </a:lnTo>
                <a:lnTo>
                  <a:pt x="7722229" y="51664"/>
                </a:lnTo>
                <a:lnTo>
                  <a:pt x="7728599" y="83692"/>
                </a:lnTo>
                <a:lnTo>
                  <a:pt x="7728599" y="870607"/>
                </a:lnTo>
                <a:lnTo>
                  <a:pt x="7722023" y="903184"/>
                </a:lnTo>
                <a:lnTo>
                  <a:pt x="7704087" y="929787"/>
                </a:lnTo>
                <a:lnTo>
                  <a:pt x="7677484" y="947723"/>
                </a:lnTo>
                <a:lnTo>
                  <a:pt x="7644907" y="954299"/>
                </a:lnTo>
                <a:close/>
              </a:path>
            </a:pathLst>
          </a:custGeom>
          <a:solidFill>
            <a:schemeClr val="bg2">
              <a:lumMod val="90000"/>
            </a:schemeClr>
          </a:solidFill>
        </p:spPr>
        <p:txBody>
          <a:bodyPr wrap="square" lIns="0" tIns="0" rIns="0" bIns="0" rtlCol="0"/>
          <a:lstStyle/>
          <a:p>
            <a:endParaRPr>
              <a:solidFill>
                <a:srgbClr val="00B050"/>
              </a:solidFill>
            </a:endParaRPr>
          </a:p>
        </p:txBody>
      </p:sp>
      <p:sp>
        <p:nvSpPr>
          <p:cNvPr id="7" name="object 7"/>
          <p:cNvSpPr txBox="1"/>
          <p:nvPr/>
        </p:nvSpPr>
        <p:spPr>
          <a:xfrm>
            <a:off x="433768" y="1887991"/>
            <a:ext cx="8479674" cy="1293559"/>
          </a:xfrm>
          <a:prstGeom prst="rect">
            <a:avLst/>
          </a:prstGeom>
        </p:spPr>
        <p:txBody>
          <a:bodyPr vert="horz" wrap="square" lIns="0" tIns="173990" rIns="0" bIns="0" rtlCol="0">
            <a:spAutoFit/>
          </a:bodyPr>
          <a:lstStyle/>
          <a:p>
            <a:pPr marL="12700" marR="5080" algn="just">
              <a:lnSpc>
                <a:spcPct val="101600"/>
              </a:lnSpc>
              <a:spcBef>
                <a:spcPts val="985"/>
              </a:spcBef>
            </a:pPr>
            <a:r>
              <a:rPr lang="it-IT" b="1" spc="-15" dirty="0">
                <a:solidFill>
                  <a:srgbClr val="333333"/>
                </a:solidFill>
              </a:rPr>
              <a:t>Personale addetto alla gestione del servizio ai piani: </a:t>
            </a:r>
            <a:r>
              <a:rPr lang="it-IT" spc="-15" dirty="0">
                <a:solidFill>
                  <a:srgbClr val="333333"/>
                </a:solidFill>
              </a:rPr>
              <a:t>si occupa dell’organizzazione del servizio di alloggio al piano nell’ambito di strutture ricettive, programmando e coordinando l’attività e gestendo gli stock di competenza (biancheria, minibar). </a:t>
            </a:r>
            <a:br>
              <a:rPr lang="it-IT" spc="-15" dirty="0">
                <a:solidFill>
                  <a:srgbClr val="333333"/>
                </a:solidFill>
              </a:rPr>
            </a:br>
            <a:r>
              <a:rPr lang="it-IT" spc="-15" dirty="0">
                <a:solidFill>
                  <a:srgbClr val="333333"/>
                </a:solidFill>
              </a:rPr>
              <a:t>Si relaziona con il personale addetto e con i responsabili del servizio ricettivo.</a:t>
            </a:r>
          </a:p>
        </p:txBody>
      </p:sp>
      <p:sp>
        <p:nvSpPr>
          <p:cNvPr id="11" name="object 11"/>
          <p:cNvSpPr txBox="1"/>
          <p:nvPr/>
        </p:nvSpPr>
        <p:spPr>
          <a:xfrm>
            <a:off x="11596613" y="154633"/>
            <a:ext cx="302895" cy="604520"/>
          </a:xfrm>
          <a:prstGeom prst="rect">
            <a:avLst/>
          </a:prstGeom>
        </p:spPr>
        <p:txBody>
          <a:bodyPr vert="horz" wrap="square" lIns="0" tIns="12700" rIns="0" bIns="0" rtlCol="0">
            <a:spAutoFit/>
          </a:bodyPr>
          <a:lstStyle/>
          <a:p>
            <a:pPr marL="12700">
              <a:lnSpc>
                <a:spcPct val="100000"/>
              </a:lnSpc>
              <a:spcBef>
                <a:spcPts val="100"/>
              </a:spcBef>
            </a:pPr>
            <a:r>
              <a:rPr lang="it-IT" sz="3800" b="1" dirty="0">
                <a:solidFill>
                  <a:srgbClr val="FFFFFF"/>
                </a:solidFill>
                <a:cs typeface="Roboto"/>
              </a:rPr>
              <a:t>1</a:t>
            </a:r>
            <a:endParaRPr lang="it-IT" sz="3800">
              <a:cs typeface="Roboto"/>
            </a:endParaRPr>
          </a:p>
        </p:txBody>
      </p:sp>
      <p:sp>
        <p:nvSpPr>
          <p:cNvPr id="12" name="object 12"/>
          <p:cNvSpPr/>
          <p:nvPr/>
        </p:nvSpPr>
        <p:spPr>
          <a:xfrm>
            <a:off x="433768" y="3711283"/>
            <a:ext cx="4134991" cy="537585"/>
          </a:xfrm>
          <a:custGeom>
            <a:avLst/>
            <a:gdLst/>
            <a:ahLst/>
            <a:cxnLst/>
            <a:rect l="l" t="t" r="r" b="b"/>
            <a:pathLst>
              <a:path w="1596389" h="472439">
                <a:moveTo>
                  <a:pt x="1554614" y="471899"/>
                </a:moveTo>
                <a:lnTo>
                  <a:pt x="41385" y="471899"/>
                </a:lnTo>
                <a:lnTo>
                  <a:pt x="25276" y="468647"/>
                </a:lnTo>
                <a:lnTo>
                  <a:pt x="12121" y="459778"/>
                </a:lnTo>
                <a:lnTo>
                  <a:pt x="3252" y="446623"/>
                </a:lnTo>
                <a:lnTo>
                  <a:pt x="0" y="430514"/>
                </a:lnTo>
                <a:lnTo>
                  <a:pt x="0" y="41385"/>
                </a:lnTo>
                <a:lnTo>
                  <a:pt x="3252" y="25276"/>
                </a:lnTo>
                <a:lnTo>
                  <a:pt x="12121" y="12121"/>
                </a:lnTo>
                <a:lnTo>
                  <a:pt x="25276" y="3252"/>
                </a:lnTo>
                <a:lnTo>
                  <a:pt x="41385" y="0"/>
                </a:lnTo>
                <a:lnTo>
                  <a:pt x="1554614" y="0"/>
                </a:lnTo>
                <a:lnTo>
                  <a:pt x="1589046" y="18424"/>
                </a:lnTo>
                <a:lnTo>
                  <a:pt x="1595999" y="41385"/>
                </a:lnTo>
                <a:lnTo>
                  <a:pt x="1595999" y="430514"/>
                </a:lnTo>
                <a:lnTo>
                  <a:pt x="1592747" y="446623"/>
                </a:lnTo>
                <a:lnTo>
                  <a:pt x="1583878" y="459778"/>
                </a:lnTo>
                <a:lnTo>
                  <a:pt x="1570723" y="468647"/>
                </a:lnTo>
                <a:lnTo>
                  <a:pt x="1554614" y="471899"/>
                </a:lnTo>
                <a:close/>
              </a:path>
            </a:pathLst>
          </a:custGeom>
          <a:solidFill>
            <a:schemeClr val="accent1"/>
          </a:solidFill>
        </p:spPr>
        <p:txBody>
          <a:bodyPr wrap="square" lIns="0" tIns="0" rIns="0" bIns="0" rtlCol="0"/>
          <a:lstStyle/>
          <a:p>
            <a:endParaRPr/>
          </a:p>
        </p:txBody>
      </p:sp>
      <p:sp>
        <p:nvSpPr>
          <p:cNvPr id="13" name="object 13"/>
          <p:cNvSpPr txBox="1"/>
          <p:nvPr/>
        </p:nvSpPr>
        <p:spPr>
          <a:xfrm>
            <a:off x="550231" y="3813045"/>
            <a:ext cx="8889221" cy="320601"/>
          </a:xfrm>
          <a:prstGeom prst="rect">
            <a:avLst/>
          </a:prstGeom>
        </p:spPr>
        <p:txBody>
          <a:bodyPr vert="horz" wrap="square" lIns="0" tIns="12700" rIns="0" bIns="0" rtlCol="0">
            <a:spAutoFit/>
          </a:bodyPr>
          <a:lstStyle/>
          <a:p>
            <a:pPr marL="12700">
              <a:lnSpc>
                <a:spcPct val="100000"/>
              </a:lnSpc>
              <a:spcBef>
                <a:spcPts val="100"/>
              </a:spcBef>
            </a:pPr>
            <a:r>
              <a:rPr lang="it-IT" sz="2000" b="1" spc="-25" dirty="0">
                <a:solidFill>
                  <a:srgbClr val="FFFFFF"/>
                </a:solidFill>
                <a:cs typeface="Roboto"/>
              </a:rPr>
              <a:t>I partecipanti saranno in grado di:</a:t>
            </a:r>
            <a:endParaRPr lang="it-IT" sz="2000" dirty="0">
              <a:cs typeface="Roboto"/>
            </a:endParaRPr>
          </a:p>
        </p:txBody>
      </p:sp>
      <p:sp>
        <p:nvSpPr>
          <p:cNvPr id="14" name="object 14"/>
          <p:cNvSpPr/>
          <p:nvPr/>
        </p:nvSpPr>
        <p:spPr>
          <a:xfrm>
            <a:off x="9900498" y="1534468"/>
            <a:ext cx="1596390" cy="1625373"/>
          </a:xfrm>
          <a:custGeom>
            <a:avLst/>
            <a:gdLst/>
            <a:ahLst/>
            <a:cxnLst/>
            <a:rect l="l" t="t" r="r" b="b"/>
            <a:pathLst>
              <a:path w="1596390" h="954405">
                <a:moveTo>
                  <a:pt x="1512307" y="954299"/>
                </a:moveTo>
                <a:lnTo>
                  <a:pt x="83692" y="954299"/>
                </a:lnTo>
                <a:lnTo>
                  <a:pt x="51115" y="947723"/>
                </a:lnTo>
                <a:lnTo>
                  <a:pt x="24512" y="929787"/>
                </a:lnTo>
                <a:lnTo>
                  <a:pt x="6576" y="903184"/>
                </a:lnTo>
                <a:lnTo>
                  <a:pt x="0" y="870607"/>
                </a:lnTo>
                <a:lnTo>
                  <a:pt x="0" y="83692"/>
                </a:lnTo>
                <a:lnTo>
                  <a:pt x="6576" y="51115"/>
                </a:lnTo>
                <a:lnTo>
                  <a:pt x="24512" y="24512"/>
                </a:lnTo>
                <a:lnTo>
                  <a:pt x="51115" y="6576"/>
                </a:lnTo>
                <a:lnTo>
                  <a:pt x="83692" y="0"/>
                </a:lnTo>
                <a:lnTo>
                  <a:pt x="1512307" y="0"/>
                </a:lnTo>
                <a:lnTo>
                  <a:pt x="1558740" y="14061"/>
                </a:lnTo>
                <a:lnTo>
                  <a:pt x="1589629" y="51664"/>
                </a:lnTo>
                <a:lnTo>
                  <a:pt x="1595999" y="83692"/>
                </a:lnTo>
                <a:lnTo>
                  <a:pt x="1595999" y="870607"/>
                </a:lnTo>
                <a:lnTo>
                  <a:pt x="1589423" y="903184"/>
                </a:lnTo>
                <a:lnTo>
                  <a:pt x="1571487" y="929787"/>
                </a:lnTo>
                <a:lnTo>
                  <a:pt x="1544884" y="947723"/>
                </a:lnTo>
                <a:lnTo>
                  <a:pt x="1512307" y="954299"/>
                </a:lnTo>
                <a:close/>
              </a:path>
            </a:pathLst>
          </a:custGeom>
          <a:solidFill>
            <a:schemeClr val="accent1"/>
          </a:solidFill>
        </p:spPr>
        <p:txBody>
          <a:bodyPr wrap="square" lIns="0" tIns="0" rIns="0" bIns="0" rtlCol="0"/>
          <a:lstStyle/>
          <a:p>
            <a:endParaRPr/>
          </a:p>
        </p:txBody>
      </p:sp>
      <p:sp>
        <p:nvSpPr>
          <p:cNvPr id="15" name="object 15"/>
          <p:cNvSpPr txBox="1"/>
          <p:nvPr/>
        </p:nvSpPr>
        <p:spPr>
          <a:xfrm>
            <a:off x="10155067" y="1980128"/>
            <a:ext cx="1087250" cy="689932"/>
          </a:xfrm>
          <a:prstGeom prst="rect">
            <a:avLst/>
          </a:prstGeom>
        </p:spPr>
        <p:txBody>
          <a:bodyPr vert="horz" wrap="square" lIns="0" tIns="12700" rIns="0" bIns="0" rtlCol="0">
            <a:spAutoFit/>
          </a:bodyPr>
          <a:lstStyle/>
          <a:p>
            <a:pPr marL="12700" algn="ctr">
              <a:lnSpc>
                <a:spcPct val="100000"/>
              </a:lnSpc>
              <a:spcBef>
                <a:spcPts val="100"/>
              </a:spcBef>
            </a:pPr>
            <a:r>
              <a:rPr lang="it-IT" sz="2200" b="1" spc="-5" dirty="0">
                <a:solidFill>
                  <a:srgbClr val="FFFFFF"/>
                </a:solidFill>
                <a:cs typeface="Roboto"/>
              </a:rPr>
              <a:t>Durata:40</a:t>
            </a:r>
            <a:r>
              <a:rPr lang="it-IT" sz="2200" b="1" spc="-80" dirty="0">
                <a:solidFill>
                  <a:srgbClr val="FFFFFF"/>
                </a:solidFill>
                <a:cs typeface="Roboto"/>
              </a:rPr>
              <a:t> </a:t>
            </a:r>
            <a:r>
              <a:rPr lang="it-IT" sz="2200" b="1" dirty="0">
                <a:solidFill>
                  <a:srgbClr val="FFFFFF"/>
                </a:solidFill>
                <a:cs typeface="Roboto"/>
              </a:rPr>
              <a:t>ORE</a:t>
            </a:r>
          </a:p>
        </p:txBody>
      </p:sp>
      <p:sp>
        <p:nvSpPr>
          <p:cNvPr id="19" name="CasellaDiTesto 18">
            <a:extLst>
              <a:ext uri="{FF2B5EF4-FFF2-40B4-BE49-F238E27FC236}">
                <a16:creationId xmlns:a16="http://schemas.microsoft.com/office/drawing/2014/main" id="{AE419993-E428-4926-B9BE-D3A35F84AC1A}"/>
              </a:ext>
            </a:extLst>
          </p:cNvPr>
          <p:cNvSpPr txBox="1"/>
          <p:nvPr/>
        </p:nvSpPr>
        <p:spPr>
          <a:xfrm>
            <a:off x="300701" y="1460020"/>
            <a:ext cx="4171748" cy="400110"/>
          </a:xfrm>
          <a:prstGeom prst="rect">
            <a:avLst/>
          </a:prstGeom>
          <a:noFill/>
        </p:spPr>
        <p:txBody>
          <a:bodyPr wrap="square">
            <a:spAutoFit/>
          </a:bodyPr>
          <a:lstStyle/>
          <a:p>
            <a:pPr marL="59690">
              <a:lnSpc>
                <a:spcPct val="100000"/>
              </a:lnSpc>
              <a:spcBef>
                <a:spcPts val="1370"/>
              </a:spcBef>
            </a:pPr>
            <a:r>
              <a:rPr lang="it-IT" sz="2000" b="1" i="1" spc="20" dirty="0">
                <a:solidFill>
                  <a:schemeClr val="tx1">
                    <a:lumMod val="65000"/>
                    <a:lumOff val="35000"/>
                  </a:schemeClr>
                </a:solidFill>
                <a:cs typeface="Roboto"/>
              </a:rPr>
              <a:t>Upskilling</a:t>
            </a:r>
            <a:r>
              <a:rPr lang="it-IT" sz="2000" b="1" spc="20" dirty="0">
                <a:solidFill>
                  <a:schemeClr val="tx1">
                    <a:lumMod val="65000"/>
                    <a:lumOff val="35000"/>
                  </a:schemeClr>
                </a:solidFill>
                <a:cs typeface="Roboto"/>
              </a:rPr>
              <a:t> mirato al profilo di: </a:t>
            </a:r>
          </a:p>
        </p:txBody>
      </p:sp>
      <p:sp>
        <p:nvSpPr>
          <p:cNvPr id="21" name="CasellaDiTesto 20">
            <a:extLst>
              <a:ext uri="{FF2B5EF4-FFF2-40B4-BE49-F238E27FC236}">
                <a16:creationId xmlns:a16="http://schemas.microsoft.com/office/drawing/2014/main" id="{6720C714-85E8-46E9-B342-77E8A4E6206A}"/>
              </a:ext>
            </a:extLst>
          </p:cNvPr>
          <p:cNvSpPr txBox="1"/>
          <p:nvPr/>
        </p:nvSpPr>
        <p:spPr>
          <a:xfrm>
            <a:off x="-385008" y="4339024"/>
            <a:ext cx="9102895" cy="1200329"/>
          </a:xfrm>
          <a:prstGeom prst="rect">
            <a:avLst/>
          </a:prstGeom>
          <a:noFill/>
        </p:spPr>
        <p:txBody>
          <a:bodyPr wrap="square">
            <a:spAutoFit/>
          </a:bodyPr>
          <a:lstStyle/>
          <a:p>
            <a:pPr marL="957580" indent="-285750" algn="just">
              <a:lnSpc>
                <a:spcPct val="100000"/>
              </a:lnSpc>
              <a:buFont typeface="Wingdings" panose="05000000000000000000" pitchFamily="2" charset="2"/>
              <a:buChar char="v"/>
            </a:pPr>
            <a:r>
              <a:rPr lang="it-IT" sz="1800" spc="-25" dirty="0">
                <a:solidFill>
                  <a:srgbClr val="333333"/>
                </a:solidFill>
                <a:cs typeface="Roboto"/>
              </a:rPr>
              <a:t>Verificare le procedure di sanificazione, sanitizzazione e sterilizzazione di ambienti, materiali, prodotti e apparecchiature impiegate</a:t>
            </a:r>
          </a:p>
          <a:p>
            <a:pPr marL="957580" indent="-285750" algn="just">
              <a:lnSpc>
                <a:spcPct val="100000"/>
              </a:lnSpc>
              <a:buFont typeface="Wingdings" panose="05000000000000000000" pitchFamily="2" charset="2"/>
              <a:buChar char="v"/>
            </a:pPr>
            <a:r>
              <a:rPr lang="it-IT" sz="1800" spc="-25" dirty="0">
                <a:solidFill>
                  <a:srgbClr val="333333"/>
                </a:solidFill>
                <a:cs typeface="Roboto"/>
              </a:rPr>
              <a:t>Monitorare le procedure di riordino delle camere e l’aggiornamento dei prodotti nelle camere</a:t>
            </a:r>
          </a:p>
        </p:txBody>
      </p:sp>
      <p:sp>
        <p:nvSpPr>
          <p:cNvPr id="16" name="Rettangolo con angoli arrotondati 15">
            <a:extLst>
              <a:ext uri="{FF2B5EF4-FFF2-40B4-BE49-F238E27FC236}">
                <a16:creationId xmlns:a16="http://schemas.microsoft.com/office/drawing/2014/main" id="{82521EE3-160D-4741-8F5C-08B7CFED0B0B}"/>
              </a:ext>
            </a:extLst>
          </p:cNvPr>
          <p:cNvSpPr/>
          <p:nvPr/>
        </p:nvSpPr>
        <p:spPr>
          <a:xfrm>
            <a:off x="9900498" y="3376935"/>
            <a:ext cx="1596390" cy="1014899"/>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00"/>
          </a:p>
        </p:txBody>
      </p:sp>
      <p:sp>
        <p:nvSpPr>
          <p:cNvPr id="17" name="CasellaDiTesto 16">
            <a:extLst>
              <a:ext uri="{FF2B5EF4-FFF2-40B4-BE49-F238E27FC236}">
                <a16:creationId xmlns:a16="http://schemas.microsoft.com/office/drawing/2014/main" id="{3213F4EC-D7E8-4D48-A21A-2C6358B7AA37}"/>
              </a:ext>
            </a:extLst>
          </p:cNvPr>
          <p:cNvSpPr txBox="1"/>
          <p:nvPr/>
        </p:nvSpPr>
        <p:spPr>
          <a:xfrm>
            <a:off x="10078208" y="3468885"/>
            <a:ext cx="1303588" cy="830997"/>
          </a:xfrm>
          <a:prstGeom prst="rect">
            <a:avLst/>
          </a:prstGeom>
          <a:noFill/>
        </p:spPr>
        <p:txBody>
          <a:bodyPr wrap="square" rtlCol="0">
            <a:spAutoFit/>
          </a:bodyPr>
          <a:lstStyle/>
          <a:p>
            <a:pPr algn="ctr"/>
            <a:r>
              <a:rPr lang="it-IT" sz="1600" b="1" dirty="0">
                <a:solidFill>
                  <a:schemeClr val="accent1"/>
                </a:solidFill>
                <a:hlinkClick r:id="rId3" action="ppaction://hlinksldjump">
                  <a:extLst>
                    <a:ext uri="{A12FA001-AC4F-418D-AE19-62706E023703}">
                      <ahyp:hlinkClr xmlns:ahyp="http://schemas.microsoft.com/office/drawing/2018/hyperlinkcolor" val="tx"/>
                    </a:ext>
                  </a:extLst>
                </a:hlinkClick>
              </a:rPr>
              <a:t>Vedi dettagli programma</a:t>
            </a:r>
            <a:endParaRPr lang="it-IT" sz="1600" b="1" dirty="0">
              <a:solidFill>
                <a:schemeClr val="accent1"/>
              </a:solidFill>
            </a:endParaRPr>
          </a:p>
        </p:txBody>
      </p:sp>
      <p:sp>
        <p:nvSpPr>
          <p:cNvPr id="2" name="Rettangolo con angoli arrotondati 1">
            <a:extLst>
              <a:ext uri="{FF2B5EF4-FFF2-40B4-BE49-F238E27FC236}">
                <a16:creationId xmlns:a16="http://schemas.microsoft.com/office/drawing/2014/main" id="{C1A2BAC9-F44B-EE6A-52E7-75FA1634A5BB}"/>
              </a:ext>
            </a:extLst>
          </p:cNvPr>
          <p:cNvSpPr/>
          <p:nvPr/>
        </p:nvSpPr>
        <p:spPr>
          <a:xfrm>
            <a:off x="9905753" y="4560834"/>
            <a:ext cx="1596390" cy="819725"/>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00"/>
          </a:p>
        </p:txBody>
      </p:sp>
      <p:sp>
        <p:nvSpPr>
          <p:cNvPr id="4" name="CasellaDiTesto 3">
            <a:extLst>
              <a:ext uri="{FF2B5EF4-FFF2-40B4-BE49-F238E27FC236}">
                <a16:creationId xmlns:a16="http://schemas.microsoft.com/office/drawing/2014/main" id="{1DC86AA0-FF2E-96FC-A69A-3D4C74C3EB86}"/>
              </a:ext>
            </a:extLst>
          </p:cNvPr>
          <p:cNvSpPr txBox="1"/>
          <p:nvPr/>
        </p:nvSpPr>
        <p:spPr>
          <a:xfrm>
            <a:off x="10015589" y="4678308"/>
            <a:ext cx="1366207" cy="584775"/>
          </a:xfrm>
          <a:prstGeom prst="rect">
            <a:avLst/>
          </a:prstGeom>
          <a:noFill/>
        </p:spPr>
        <p:txBody>
          <a:bodyPr wrap="square" rtlCol="0">
            <a:spAutoFit/>
          </a:bodyPr>
          <a:lstStyle/>
          <a:p>
            <a:pPr algn="ctr"/>
            <a:r>
              <a:rPr lang="it-IT" sz="1600" b="1" dirty="0">
                <a:solidFill>
                  <a:schemeClr val="accent1"/>
                </a:solidFill>
                <a:hlinkClick r:id="rId4" action="ppaction://hlinksldjump"/>
              </a:rPr>
              <a:t>Vedi indice corsi</a:t>
            </a:r>
            <a:endParaRPr lang="it-IT" sz="1600" b="1" dirty="0">
              <a:solidFill>
                <a:schemeClr val="accent1"/>
              </a:solidFill>
            </a:endParaRPr>
          </a:p>
        </p:txBody>
      </p:sp>
      <p:pic>
        <p:nvPicPr>
          <p:cNvPr id="20" name="Immagine 19">
            <a:extLst>
              <a:ext uri="{FF2B5EF4-FFF2-40B4-BE49-F238E27FC236}">
                <a16:creationId xmlns:a16="http://schemas.microsoft.com/office/drawing/2014/main" id="{E1B0D674-851C-42E4-829B-A79308E5E1AC}"/>
              </a:ext>
            </a:extLst>
          </p:cNvPr>
          <p:cNvPicPr>
            <a:picLocks noChangeAspect="1"/>
          </p:cNvPicPr>
          <p:nvPr/>
        </p:nvPicPr>
        <p:blipFill>
          <a:blip r:embed="rId5"/>
          <a:stretch>
            <a:fillRect/>
          </a:stretch>
        </p:blipFill>
        <p:spPr>
          <a:xfrm>
            <a:off x="327484" y="5771276"/>
            <a:ext cx="9567758" cy="1086724"/>
          </a:xfrm>
          <a:prstGeom prst="rect">
            <a:avLst/>
          </a:prstGeom>
        </p:spPr>
      </p:pic>
      <p:pic>
        <p:nvPicPr>
          <p:cNvPr id="22" name="Immagine 21">
            <a:extLst>
              <a:ext uri="{FF2B5EF4-FFF2-40B4-BE49-F238E27FC236}">
                <a16:creationId xmlns:a16="http://schemas.microsoft.com/office/drawing/2014/main" id="{7D78A50B-256C-4C9E-A7D3-2219D891F0D4}"/>
              </a:ext>
            </a:extLst>
          </p:cNvPr>
          <p:cNvPicPr>
            <a:picLocks noChangeAspect="1"/>
          </p:cNvPicPr>
          <p:nvPr/>
        </p:nvPicPr>
        <p:blipFill>
          <a:blip r:embed="rId6"/>
          <a:stretch>
            <a:fillRect/>
          </a:stretch>
        </p:blipFill>
        <p:spPr>
          <a:xfrm>
            <a:off x="9898769" y="6182710"/>
            <a:ext cx="1378634" cy="340953"/>
          </a:xfrm>
          <a:prstGeom prst="rect">
            <a:avLst/>
          </a:prstGeom>
        </p:spPr>
      </p:pic>
    </p:spTree>
    <p:extLst>
      <p:ext uri="{BB962C8B-B14F-4D97-AF65-F5344CB8AC3E}">
        <p14:creationId xmlns:p14="http://schemas.microsoft.com/office/powerpoint/2010/main" val="399098999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417218" y="259619"/>
            <a:ext cx="11028194" cy="843821"/>
          </a:xfrm>
          <a:prstGeom prst="rect">
            <a:avLst/>
          </a:prstGeom>
        </p:spPr>
        <p:txBody>
          <a:bodyPr vert="horz" wrap="square" lIns="0" tIns="12700" rIns="0" bIns="0" rtlCol="0">
            <a:spAutoFit/>
          </a:bodyPr>
          <a:lstStyle/>
          <a:p>
            <a:r>
              <a:rPr lang="it-IT" sz="2800" spc="-15" dirty="0">
                <a:solidFill>
                  <a:schemeClr val="accent1"/>
                </a:solidFill>
                <a:latin typeface="+mn-lt"/>
              </a:rPr>
              <a:t>2. CORSO GESTIONE DEL SERVIZIO AI PIANI NELLE STRUTTURE RICETTIVE</a:t>
            </a:r>
            <a:br>
              <a:rPr lang="it-IT" sz="2800" spc="-15" dirty="0">
                <a:solidFill>
                  <a:schemeClr val="accent1"/>
                </a:solidFill>
                <a:latin typeface="+mn-lt"/>
              </a:rPr>
            </a:br>
            <a:r>
              <a:rPr lang="it-IT" sz="1400" spc="-15" dirty="0">
                <a:solidFill>
                  <a:schemeClr val="accent1"/>
                </a:solidFill>
                <a:latin typeface="+mn-lt"/>
              </a:rPr>
              <a:t>(OPAL Formazione </a:t>
            </a:r>
            <a:r>
              <a:rPr lang="it-IT" sz="1400" spc="-15" dirty="0" err="1">
                <a:solidFill>
                  <a:schemeClr val="accent1"/>
                </a:solidFill>
                <a:latin typeface="+mn-lt"/>
              </a:rPr>
              <a:t>Upskilling</a:t>
            </a:r>
            <a:r>
              <a:rPr lang="it-IT" sz="1400" spc="-15" dirty="0">
                <a:solidFill>
                  <a:schemeClr val="accent1"/>
                </a:solidFill>
                <a:latin typeface="+mn-lt"/>
              </a:rPr>
              <a:t> (RRSP) mirata al profilo TECNICO DI GESTIONE DEL SERVIZIO AI PIANI)</a:t>
            </a:r>
            <a:br>
              <a:rPr lang="it-IT" sz="1800" dirty="0">
                <a:effectLst/>
                <a:latin typeface="+mn-lt"/>
                <a:ea typeface="Times New Roman" panose="02020603050405020304" pitchFamily="18" charset="0"/>
              </a:rPr>
            </a:br>
            <a:endParaRPr lang="it-IT" sz="1800" spc="-15" dirty="0">
              <a:solidFill>
                <a:srgbClr val="00859B"/>
              </a:solidFill>
              <a:latin typeface="+mn-lt"/>
            </a:endParaRPr>
          </a:p>
        </p:txBody>
      </p:sp>
      <p:sp>
        <p:nvSpPr>
          <p:cNvPr id="11" name="object 11"/>
          <p:cNvSpPr txBox="1"/>
          <p:nvPr/>
        </p:nvSpPr>
        <p:spPr>
          <a:xfrm>
            <a:off x="11596613" y="154633"/>
            <a:ext cx="302895" cy="604520"/>
          </a:xfrm>
          <a:prstGeom prst="rect">
            <a:avLst/>
          </a:prstGeom>
        </p:spPr>
        <p:txBody>
          <a:bodyPr vert="horz" wrap="square" lIns="0" tIns="12700" rIns="0" bIns="0" rtlCol="0">
            <a:spAutoFit/>
          </a:bodyPr>
          <a:lstStyle/>
          <a:p>
            <a:pPr marL="12700">
              <a:lnSpc>
                <a:spcPct val="100000"/>
              </a:lnSpc>
              <a:spcBef>
                <a:spcPts val="100"/>
              </a:spcBef>
            </a:pPr>
            <a:r>
              <a:rPr lang="it-IT" sz="3800" b="1" dirty="0">
                <a:solidFill>
                  <a:srgbClr val="FFFFFF"/>
                </a:solidFill>
                <a:cs typeface="Roboto"/>
              </a:rPr>
              <a:t>1</a:t>
            </a:r>
            <a:endParaRPr lang="it-IT" sz="3800">
              <a:cs typeface="Roboto"/>
            </a:endParaRPr>
          </a:p>
        </p:txBody>
      </p:sp>
      <p:sp>
        <p:nvSpPr>
          <p:cNvPr id="15" name="object 15"/>
          <p:cNvSpPr txBox="1"/>
          <p:nvPr/>
        </p:nvSpPr>
        <p:spPr>
          <a:xfrm>
            <a:off x="10628443" y="1666500"/>
            <a:ext cx="942975" cy="689932"/>
          </a:xfrm>
          <a:prstGeom prst="rect">
            <a:avLst/>
          </a:prstGeom>
        </p:spPr>
        <p:txBody>
          <a:bodyPr vert="horz" wrap="square" lIns="0" tIns="12700" rIns="0" bIns="0" rtlCol="0">
            <a:spAutoFit/>
          </a:bodyPr>
          <a:lstStyle/>
          <a:p>
            <a:pPr marL="12700">
              <a:lnSpc>
                <a:spcPct val="100000"/>
              </a:lnSpc>
              <a:spcBef>
                <a:spcPts val="100"/>
              </a:spcBef>
            </a:pPr>
            <a:r>
              <a:rPr lang="it-IT" sz="2200" b="1" spc="-5" dirty="0">
                <a:solidFill>
                  <a:srgbClr val="FFFFFF"/>
                </a:solidFill>
                <a:cs typeface="Roboto"/>
              </a:rPr>
              <a:t>Durata:40</a:t>
            </a:r>
            <a:r>
              <a:rPr lang="it-IT" sz="2200" b="1" spc="-80" dirty="0">
                <a:solidFill>
                  <a:srgbClr val="FFFFFF"/>
                </a:solidFill>
                <a:cs typeface="Roboto"/>
              </a:rPr>
              <a:t> </a:t>
            </a:r>
            <a:r>
              <a:rPr lang="it-IT" sz="2200" b="1" dirty="0">
                <a:solidFill>
                  <a:srgbClr val="FFFFFF"/>
                </a:solidFill>
                <a:cs typeface="Roboto"/>
              </a:rPr>
              <a:t>ORE</a:t>
            </a:r>
          </a:p>
        </p:txBody>
      </p:sp>
      <p:sp>
        <p:nvSpPr>
          <p:cNvPr id="2" name="CasellaDiTesto 1">
            <a:extLst>
              <a:ext uri="{FF2B5EF4-FFF2-40B4-BE49-F238E27FC236}">
                <a16:creationId xmlns:a16="http://schemas.microsoft.com/office/drawing/2014/main" id="{43BF56C0-A56E-492F-B954-231257F28841}"/>
              </a:ext>
            </a:extLst>
          </p:cNvPr>
          <p:cNvSpPr txBox="1"/>
          <p:nvPr/>
        </p:nvSpPr>
        <p:spPr>
          <a:xfrm>
            <a:off x="327484" y="2481074"/>
            <a:ext cx="8600698" cy="2585323"/>
          </a:xfrm>
          <a:prstGeom prst="rect">
            <a:avLst/>
          </a:prstGeom>
          <a:noFill/>
        </p:spPr>
        <p:txBody>
          <a:bodyPr wrap="square" rtlCol="0">
            <a:spAutoFit/>
          </a:bodyPr>
          <a:lstStyle/>
          <a:p>
            <a:pPr marL="342900" indent="-342900" algn="just">
              <a:buFont typeface="Arial" panose="020B0604020202020204" pitchFamily="34" charset="0"/>
              <a:buChar char="•"/>
            </a:pPr>
            <a:r>
              <a:rPr lang="it-IT" dirty="0"/>
              <a:t>Tipologie di attrezzature tecnologiche per il riordino degli spazi comuni e delle camere</a:t>
            </a:r>
          </a:p>
          <a:p>
            <a:pPr marL="342900" indent="-342900" algn="just">
              <a:buFont typeface="Arial" panose="020B0604020202020204" pitchFamily="34" charset="0"/>
              <a:buChar char="•"/>
            </a:pPr>
            <a:r>
              <a:rPr lang="it-IT" dirty="0"/>
              <a:t>Tipologie di prodotti per la sanificazione, sanitizzazione e sterilizzazione di ambienti, materiali ed apparecchiature</a:t>
            </a:r>
          </a:p>
          <a:p>
            <a:pPr marL="342900" indent="-342900" algn="just">
              <a:buFont typeface="Arial" panose="020B0604020202020204" pitchFamily="34" charset="0"/>
              <a:buChar char="•"/>
            </a:pPr>
            <a:r>
              <a:rPr lang="it-IT" dirty="0"/>
              <a:t>Procedure di sanificazione, sanitizzazione e sterilizzazione di ambienti, materiali ed apparecchiature</a:t>
            </a:r>
          </a:p>
          <a:p>
            <a:pPr marL="342900" indent="-342900" algn="just">
              <a:buFont typeface="Arial" panose="020B0604020202020204" pitchFamily="34" charset="0"/>
              <a:buChar char="•"/>
            </a:pPr>
            <a:r>
              <a:rPr lang="it-IT" dirty="0"/>
              <a:t>Tecniche e strumenti di igienizzazione</a:t>
            </a:r>
          </a:p>
          <a:p>
            <a:pPr marL="342900" indent="-342900" algn="just">
              <a:buFont typeface="Arial" panose="020B0604020202020204" pitchFamily="34" charset="0"/>
              <a:buChar char="•"/>
            </a:pPr>
            <a:r>
              <a:rPr lang="it-IT" dirty="0"/>
              <a:t>Norme e regolamenti concernenti l’esercizio dell’attività ricettiva ed adempimenti ad essi connessi in relazione all’igiene ambientale</a:t>
            </a:r>
          </a:p>
        </p:txBody>
      </p:sp>
      <p:sp>
        <p:nvSpPr>
          <p:cNvPr id="9" name="object 12">
            <a:extLst>
              <a:ext uri="{FF2B5EF4-FFF2-40B4-BE49-F238E27FC236}">
                <a16:creationId xmlns:a16="http://schemas.microsoft.com/office/drawing/2014/main" id="{D9CB23C2-8873-490E-A0FB-F477EEA59029}"/>
              </a:ext>
            </a:extLst>
          </p:cNvPr>
          <p:cNvSpPr/>
          <p:nvPr/>
        </p:nvSpPr>
        <p:spPr>
          <a:xfrm>
            <a:off x="417218" y="1675618"/>
            <a:ext cx="2593435" cy="537585"/>
          </a:xfrm>
          <a:custGeom>
            <a:avLst/>
            <a:gdLst/>
            <a:ahLst/>
            <a:cxnLst/>
            <a:rect l="l" t="t" r="r" b="b"/>
            <a:pathLst>
              <a:path w="1596389" h="472439">
                <a:moveTo>
                  <a:pt x="1554614" y="471899"/>
                </a:moveTo>
                <a:lnTo>
                  <a:pt x="41385" y="471899"/>
                </a:lnTo>
                <a:lnTo>
                  <a:pt x="25276" y="468647"/>
                </a:lnTo>
                <a:lnTo>
                  <a:pt x="12121" y="459778"/>
                </a:lnTo>
                <a:lnTo>
                  <a:pt x="3252" y="446623"/>
                </a:lnTo>
                <a:lnTo>
                  <a:pt x="0" y="430514"/>
                </a:lnTo>
                <a:lnTo>
                  <a:pt x="0" y="41385"/>
                </a:lnTo>
                <a:lnTo>
                  <a:pt x="3252" y="25276"/>
                </a:lnTo>
                <a:lnTo>
                  <a:pt x="12121" y="12121"/>
                </a:lnTo>
                <a:lnTo>
                  <a:pt x="25276" y="3252"/>
                </a:lnTo>
                <a:lnTo>
                  <a:pt x="41385" y="0"/>
                </a:lnTo>
                <a:lnTo>
                  <a:pt x="1554614" y="0"/>
                </a:lnTo>
                <a:lnTo>
                  <a:pt x="1589046" y="18424"/>
                </a:lnTo>
                <a:lnTo>
                  <a:pt x="1595999" y="41385"/>
                </a:lnTo>
                <a:lnTo>
                  <a:pt x="1595999" y="430514"/>
                </a:lnTo>
                <a:lnTo>
                  <a:pt x="1592747" y="446623"/>
                </a:lnTo>
                <a:lnTo>
                  <a:pt x="1583878" y="459778"/>
                </a:lnTo>
                <a:lnTo>
                  <a:pt x="1570723" y="468647"/>
                </a:lnTo>
                <a:lnTo>
                  <a:pt x="1554614" y="471899"/>
                </a:lnTo>
                <a:close/>
              </a:path>
            </a:pathLst>
          </a:custGeom>
          <a:solidFill>
            <a:schemeClr val="accent1"/>
          </a:solidFill>
        </p:spPr>
        <p:txBody>
          <a:bodyPr wrap="square" lIns="0" tIns="0" rIns="0" bIns="0" rtlCol="0"/>
          <a:lstStyle/>
          <a:p>
            <a:endParaRPr/>
          </a:p>
        </p:txBody>
      </p:sp>
      <p:sp>
        <p:nvSpPr>
          <p:cNvPr id="10" name="CasellaDiTesto 9">
            <a:extLst>
              <a:ext uri="{FF2B5EF4-FFF2-40B4-BE49-F238E27FC236}">
                <a16:creationId xmlns:a16="http://schemas.microsoft.com/office/drawing/2014/main" id="{8CC76BE4-75C3-4836-87E7-21C9F192343A}"/>
              </a:ext>
            </a:extLst>
          </p:cNvPr>
          <p:cNvSpPr txBox="1"/>
          <p:nvPr/>
        </p:nvSpPr>
        <p:spPr>
          <a:xfrm>
            <a:off x="518698" y="1740832"/>
            <a:ext cx="4171748" cy="400110"/>
          </a:xfrm>
          <a:prstGeom prst="rect">
            <a:avLst/>
          </a:prstGeom>
          <a:noFill/>
        </p:spPr>
        <p:txBody>
          <a:bodyPr wrap="square">
            <a:spAutoFit/>
          </a:bodyPr>
          <a:lstStyle/>
          <a:p>
            <a:pPr marL="59690">
              <a:lnSpc>
                <a:spcPct val="100000"/>
              </a:lnSpc>
              <a:spcBef>
                <a:spcPts val="1370"/>
              </a:spcBef>
            </a:pPr>
            <a:r>
              <a:rPr lang="it-IT" sz="2000" b="1" i="1" spc="20" dirty="0">
                <a:solidFill>
                  <a:schemeClr val="bg1"/>
                </a:solidFill>
                <a:cs typeface="Roboto"/>
              </a:rPr>
              <a:t>Programma corso :</a:t>
            </a:r>
            <a:endParaRPr lang="it-IT" sz="2000" b="1" spc="20" dirty="0">
              <a:solidFill>
                <a:schemeClr val="bg1"/>
              </a:solidFill>
              <a:cs typeface="Roboto"/>
            </a:endParaRPr>
          </a:p>
        </p:txBody>
      </p:sp>
      <p:sp>
        <p:nvSpPr>
          <p:cNvPr id="6" name="Rettangolo con angoli arrotondati 5">
            <a:extLst>
              <a:ext uri="{FF2B5EF4-FFF2-40B4-BE49-F238E27FC236}">
                <a16:creationId xmlns:a16="http://schemas.microsoft.com/office/drawing/2014/main" id="{34D74B30-843F-F2D1-CC79-4FEE0FC617CE}"/>
              </a:ext>
            </a:extLst>
          </p:cNvPr>
          <p:cNvSpPr/>
          <p:nvPr/>
        </p:nvSpPr>
        <p:spPr>
          <a:xfrm>
            <a:off x="9785406" y="4365602"/>
            <a:ext cx="1596390" cy="819725"/>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00"/>
          </a:p>
        </p:txBody>
      </p:sp>
      <p:sp>
        <p:nvSpPr>
          <p:cNvPr id="7" name="CasellaDiTesto 6">
            <a:extLst>
              <a:ext uri="{FF2B5EF4-FFF2-40B4-BE49-F238E27FC236}">
                <a16:creationId xmlns:a16="http://schemas.microsoft.com/office/drawing/2014/main" id="{D6FEB9D9-5DD7-0050-8A31-52CC43C041EE}"/>
              </a:ext>
            </a:extLst>
          </p:cNvPr>
          <p:cNvSpPr txBox="1"/>
          <p:nvPr/>
        </p:nvSpPr>
        <p:spPr>
          <a:xfrm>
            <a:off x="9895242" y="4483076"/>
            <a:ext cx="1366207" cy="584775"/>
          </a:xfrm>
          <a:prstGeom prst="rect">
            <a:avLst/>
          </a:prstGeom>
          <a:noFill/>
        </p:spPr>
        <p:txBody>
          <a:bodyPr wrap="square" rtlCol="0">
            <a:spAutoFit/>
          </a:bodyPr>
          <a:lstStyle/>
          <a:p>
            <a:pPr algn="ctr"/>
            <a:r>
              <a:rPr lang="it-IT" sz="1600" b="1" dirty="0">
                <a:solidFill>
                  <a:schemeClr val="accent1"/>
                </a:solidFill>
                <a:hlinkClick r:id="rId3" action="ppaction://hlinksldjump"/>
              </a:rPr>
              <a:t>Vedi indice corsi</a:t>
            </a:r>
            <a:endParaRPr lang="it-IT" sz="1600" b="1" dirty="0">
              <a:solidFill>
                <a:schemeClr val="accent1"/>
              </a:solidFill>
            </a:endParaRPr>
          </a:p>
        </p:txBody>
      </p:sp>
      <p:pic>
        <p:nvPicPr>
          <p:cNvPr id="12" name="Immagine 11">
            <a:extLst>
              <a:ext uri="{FF2B5EF4-FFF2-40B4-BE49-F238E27FC236}">
                <a16:creationId xmlns:a16="http://schemas.microsoft.com/office/drawing/2014/main" id="{BD9AE3E5-367C-4DE8-A3E2-76766A10C520}"/>
              </a:ext>
            </a:extLst>
          </p:cNvPr>
          <p:cNvPicPr>
            <a:picLocks noChangeAspect="1"/>
          </p:cNvPicPr>
          <p:nvPr/>
        </p:nvPicPr>
        <p:blipFill>
          <a:blip r:embed="rId4"/>
          <a:stretch>
            <a:fillRect/>
          </a:stretch>
        </p:blipFill>
        <p:spPr>
          <a:xfrm>
            <a:off x="327484" y="5784507"/>
            <a:ext cx="9567758" cy="1086724"/>
          </a:xfrm>
          <a:prstGeom prst="rect">
            <a:avLst/>
          </a:prstGeom>
        </p:spPr>
      </p:pic>
      <p:pic>
        <p:nvPicPr>
          <p:cNvPr id="13" name="Immagine 12">
            <a:extLst>
              <a:ext uri="{FF2B5EF4-FFF2-40B4-BE49-F238E27FC236}">
                <a16:creationId xmlns:a16="http://schemas.microsoft.com/office/drawing/2014/main" id="{FF69B8D9-47EB-4504-989E-67DC92EF6BEB}"/>
              </a:ext>
            </a:extLst>
          </p:cNvPr>
          <p:cNvPicPr>
            <a:picLocks noChangeAspect="1"/>
          </p:cNvPicPr>
          <p:nvPr/>
        </p:nvPicPr>
        <p:blipFill>
          <a:blip r:embed="rId5"/>
          <a:stretch>
            <a:fillRect/>
          </a:stretch>
        </p:blipFill>
        <p:spPr>
          <a:xfrm>
            <a:off x="9898769" y="6182710"/>
            <a:ext cx="1378634" cy="340953"/>
          </a:xfrm>
          <a:prstGeom prst="rect">
            <a:avLst/>
          </a:prstGeom>
        </p:spPr>
      </p:pic>
    </p:spTree>
    <p:extLst>
      <p:ext uri="{BB962C8B-B14F-4D97-AF65-F5344CB8AC3E}">
        <p14:creationId xmlns:p14="http://schemas.microsoft.com/office/powerpoint/2010/main" val="79550190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431842" y="206997"/>
            <a:ext cx="10959288" cy="659155"/>
          </a:xfrm>
          <a:prstGeom prst="rect">
            <a:avLst/>
          </a:prstGeom>
        </p:spPr>
        <p:txBody>
          <a:bodyPr vert="horz" wrap="square" lIns="0" tIns="12700" rIns="0" bIns="0" rtlCol="0">
            <a:spAutoFit/>
          </a:bodyPr>
          <a:lstStyle/>
          <a:p>
            <a:pPr marL="12700">
              <a:lnSpc>
                <a:spcPct val="100000"/>
              </a:lnSpc>
              <a:spcBef>
                <a:spcPts val="100"/>
              </a:spcBef>
            </a:pPr>
            <a:r>
              <a:rPr lang="it-IT" sz="2800" spc="-15" dirty="0">
                <a:solidFill>
                  <a:schemeClr val="accent1"/>
                </a:solidFill>
                <a:latin typeface="+mn-lt"/>
              </a:rPr>
              <a:t>3. CORSO AMMINISTRAZIONE E CONTABILITÀ</a:t>
            </a:r>
            <a:br>
              <a:rPr lang="it-IT" sz="2800" spc="-15" dirty="0">
                <a:solidFill>
                  <a:schemeClr val="accent1"/>
                </a:solidFill>
                <a:latin typeface="+mn-lt"/>
              </a:rPr>
            </a:br>
            <a:r>
              <a:rPr lang="it-IT" sz="1400" spc="-15" dirty="0">
                <a:solidFill>
                  <a:schemeClr val="accent1"/>
                </a:solidFill>
                <a:latin typeface="+mn-lt"/>
              </a:rPr>
              <a:t>(OPAL Formazione </a:t>
            </a:r>
            <a:r>
              <a:rPr lang="it-IT" sz="1400" spc="-15" dirty="0" err="1">
                <a:solidFill>
                  <a:schemeClr val="accent1"/>
                </a:solidFill>
                <a:latin typeface="+mn-lt"/>
              </a:rPr>
              <a:t>Upskilling</a:t>
            </a:r>
            <a:r>
              <a:rPr lang="it-IT" sz="1400" spc="-15" dirty="0">
                <a:solidFill>
                  <a:schemeClr val="accent1"/>
                </a:solidFill>
                <a:latin typeface="+mn-lt"/>
              </a:rPr>
              <a:t> (RRSP) mirata al profilo TECNICO DI AMMINISTRAZIONE E CONTABILITÀ)</a:t>
            </a:r>
          </a:p>
        </p:txBody>
      </p:sp>
      <p:sp>
        <p:nvSpPr>
          <p:cNvPr id="5" name="object 5"/>
          <p:cNvSpPr/>
          <p:nvPr/>
        </p:nvSpPr>
        <p:spPr>
          <a:xfrm>
            <a:off x="398440" y="1531761"/>
            <a:ext cx="8601182" cy="1592756"/>
          </a:xfrm>
          <a:custGeom>
            <a:avLst/>
            <a:gdLst/>
            <a:ahLst/>
            <a:cxnLst/>
            <a:rect l="l" t="t" r="r" b="b"/>
            <a:pathLst>
              <a:path w="7729220" h="954405">
                <a:moveTo>
                  <a:pt x="7644907" y="954299"/>
                </a:moveTo>
                <a:lnTo>
                  <a:pt x="83692" y="954299"/>
                </a:lnTo>
                <a:lnTo>
                  <a:pt x="51115" y="947723"/>
                </a:lnTo>
                <a:lnTo>
                  <a:pt x="24512" y="929787"/>
                </a:lnTo>
                <a:lnTo>
                  <a:pt x="6576" y="903184"/>
                </a:lnTo>
                <a:lnTo>
                  <a:pt x="0" y="870607"/>
                </a:lnTo>
                <a:lnTo>
                  <a:pt x="0" y="83692"/>
                </a:lnTo>
                <a:lnTo>
                  <a:pt x="6576" y="51115"/>
                </a:lnTo>
                <a:lnTo>
                  <a:pt x="24512" y="24512"/>
                </a:lnTo>
                <a:lnTo>
                  <a:pt x="51115" y="6576"/>
                </a:lnTo>
                <a:lnTo>
                  <a:pt x="83692" y="0"/>
                </a:lnTo>
                <a:lnTo>
                  <a:pt x="7644907" y="0"/>
                </a:lnTo>
                <a:lnTo>
                  <a:pt x="7691340" y="14061"/>
                </a:lnTo>
                <a:lnTo>
                  <a:pt x="7722229" y="51664"/>
                </a:lnTo>
                <a:lnTo>
                  <a:pt x="7728599" y="83692"/>
                </a:lnTo>
                <a:lnTo>
                  <a:pt x="7728599" y="870607"/>
                </a:lnTo>
                <a:lnTo>
                  <a:pt x="7722023" y="903184"/>
                </a:lnTo>
                <a:lnTo>
                  <a:pt x="7704087" y="929787"/>
                </a:lnTo>
                <a:lnTo>
                  <a:pt x="7677484" y="947723"/>
                </a:lnTo>
                <a:lnTo>
                  <a:pt x="7644907" y="954299"/>
                </a:lnTo>
                <a:close/>
              </a:path>
            </a:pathLst>
          </a:custGeom>
          <a:solidFill>
            <a:schemeClr val="bg2">
              <a:lumMod val="90000"/>
            </a:schemeClr>
          </a:solidFill>
        </p:spPr>
        <p:txBody>
          <a:bodyPr wrap="square" lIns="0" tIns="0" rIns="0" bIns="0" rtlCol="0"/>
          <a:lstStyle/>
          <a:p>
            <a:endParaRPr>
              <a:solidFill>
                <a:srgbClr val="00B050"/>
              </a:solidFill>
            </a:endParaRPr>
          </a:p>
        </p:txBody>
      </p:sp>
      <p:sp>
        <p:nvSpPr>
          <p:cNvPr id="7" name="object 7"/>
          <p:cNvSpPr txBox="1"/>
          <p:nvPr/>
        </p:nvSpPr>
        <p:spPr>
          <a:xfrm>
            <a:off x="502111" y="1620935"/>
            <a:ext cx="8316693" cy="1293559"/>
          </a:xfrm>
          <a:prstGeom prst="rect">
            <a:avLst/>
          </a:prstGeom>
        </p:spPr>
        <p:txBody>
          <a:bodyPr vert="horz" wrap="square" lIns="0" tIns="173990" rIns="0" bIns="0" rtlCol="0">
            <a:spAutoFit/>
          </a:bodyPr>
          <a:lstStyle/>
          <a:p>
            <a:pPr marL="12700" marR="5080" algn="just">
              <a:lnSpc>
                <a:spcPct val="101600"/>
              </a:lnSpc>
              <a:spcBef>
                <a:spcPts val="985"/>
              </a:spcBef>
            </a:pPr>
            <a:r>
              <a:rPr lang="it-IT" b="1" spc="-15" dirty="0">
                <a:solidFill>
                  <a:srgbClr val="333333"/>
                </a:solidFill>
              </a:rPr>
              <a:t>Tecnico di amministrazione e contabilità:</a:t>
            </a:r>
            <a:r>
              <a:rPr lang="it-IT" spc="-15" dirty="0">
                <a:solidFill>
                  <a:srgbClr val="333333"/>
                </a:solidFill>
              </a:rPr>
              <a:t> si occupa del trattamento contabile delle transazioni economiche patrimoniali e finanziarie. Esegue elaborazioni volte alla stesura del bilancio di esercizio e segue dal punto di vista documentale la registrazione di ogni movimento contabile. </a:t>
            </a:r>
          </a:p>
        </p:txBody>
      </p:sp>
      <p:sp>
        <p:nvSpPr>
          <p:cNvPr id="11" name="object 11"/>
          <p:cNvSpPr txBox="1"/>
          <p:nvPr/>
        </p:nvSpPr>
        <p:spPr>
          <a:xfrm>
            <a:off x="11596613" y="154633"/>
            <a:ext cx="302895" cy="604520"/>
          </a:xfrm>
          <a:prstGeom prst="rect">
            <a:avLst/>
          </a:prstGeom>
        </p:spPr>
        <p:txBody>
          <a:bodyPr vert="horz" wrap="square" lIns="0" tIns="12700" rIns="0" bIns="0" rtlCol="0">
            <a:spAutoFit/>
          </a:bodyPr>
          <a:lstStyle/>
          <a:p>
            <a:pPr marL="12700">
              <a:lnSpc>
                <a:spcPct val="100000"/>
              </a:lnSpc>
              <a:spcBef>
                <a:spcPts val="100"/>
              </a:spcBef>
            </a:pPr>
            <a:r>
              <a:rPr lang="it-IT" sz="3800" b="1" dirty="0">
                <a:solidFill>
                  <a:srgbClr val="FFFFFF"/>
                </a:solidFill>
                <a:cs typeface="Roboto"/>
              </a:rPr>
              <a:t>1</a:t>
            </a:r>
            <a:endParaRPr lang="it-IT" sz="3800">
              <a:cs typeface="Roboto"/>
            </a:endParaRPr>
          </a:p>
        </p:txBody>
      </p:sp>
      <p:sp>
        <p:nvSpPr>
          <p:cNvPr id="12" name="object 12"/>
          <p:cNvSpPr/>
          <p:nvPr/>
        </p:nvSpPr>
        <p:spPr>
          <a:xfrm>
            <a:off x="518650" y="3496602"/>
            <a:ext cx="4415402" cy="537585"/>
          </a:xfrm>
          <a:custGeom>
            <a:avLst/>
            <a:gdLst/>
            <a:ahLst/>
            <a:cxnLst/>
            <a:rect l="l" t="t" r="r" b="b"/>
            <a:pathLst>
              <a:path w="1596389" h="472439">
                <a:moveTo>
                  <a:pt x="1554614" y="471899"/>
                </a:moveTo>
                <a:lnTo>
                  <a:pt x="41385" y="471899"/>
                </a:lnTo>
                <a:lnTo>
                  <a:pt x="25276" y="468647"/>
                </a:lnTo>
                <a:lnTo>
                  <a:pt x="12121" y="459778"/>
                </a:lnTo>
                <a:lnTo>
                  <a:pt x="3252" y="446623"/>
                </a:lnTo>
                <a:lnTo>
                  <a:pt x="0" y="430514"/>
                </a:lnTo>
                <a:lnTo>
                  <a:pt x="0" y="41385"/>
                </a:lnTo>
                <a:lnTo>
                  <a:pt x="3252" y="25276"/>
                </a:lnTo>
                <a:lnTo>
                  <a:pt x="12121" y="12121"/>
                </a:lnTo>
                <a:lnTo>
                  <a:pt x="25276" y="3252"/>
                </a:lnTo>
                <a:lnTo>
                  <a:pt x="41385" y="0"/>
                </a:lnTo>
                <a:lnTo>
                  <a:pt x="1554614" y="0"/>
                </a:lnTo>
                <a:lnTo>
                  <a:pt x="1589046" y="18424"/>
                </a:lnTo>
                <a:lnTo>
                  <a:pt x="1595999" y="41385"/>
                </a:lnTo>
                <a:lnTo>
                  <a:pt x="1595999" y="430514"/>
                </a:lnTo>
                <a:lnTo>
                  <a:pt x="1592747" y="446623"/>
                </a:lnTo>
                <a:lnTo>
                  <a:pt x="1583878" y="459778"/>
                </a:lnTo>
                <a:lnTo>
                  <a:pt x="1570723" y="468647"/>
                </a:lnTo>
                <a:lnTo>
                  <a:pt x="1554614" y="471899"/>
                </a:lnTo>
                <a:close/>
              </a:path>
            </a:pathLst>
          </a:custGeom>
          <a:solidFill>
            <a:schemeClr val="accent1"/>
          </a:solidFill>
        </p:spPr>
        <p:txBody>
          <a:bodyPr wrap="square" lIns="0" tIns="0" rIns="0" bIns="0" rtlCol="0"/>
          <a:lstStyle/>
          <a:p>
            <a:endParaRPr/>
          </a:p>
        </p:txBody>
      </p:sp>
      <p:sp>
        <p:nvSpPr>
          <p:cNvPr id="13" name="object 13"/>
          <p:cNvSpPr txBox="1"/>
          <p:nvPr/>
        </p:nvSpPr>
        <p:spPr>
          <a:xfrm>
            <a:off x="659092" y="3594913"/>
            <a:ext cx="9279245" cy="320601"/>
          </a:xfrm>
          <a:prstGeom prst="rect">
            <a:avLst/>
          </a:prstGeom>
        </p:spPr>
        <p:txBody>
          <a:bodyPr vert="horz" wrap="square" lIns="0" tIns="12700" rIns="0" bIns="0" rtlCol="0">
            <a:spAutoFit/>
          </a:bodyPr>
          <a:lstStyle/>
          <a:p>
            <a:pPr marL="12700">
              <a:lnSpc>
                <a:spcPct val="100000"/>
              </a:lnSpc>
              <a:spcBef>
                <a:spcPts val="100"/>
              </a:spcBef>
            </a:pPr>
            <a:r>
              <a:rPr lang="it-IT" sz="2000" b="1" spc="-25" dirty="0">
                <a:solidFill>
                  <a:srgbClr val="FFFFFF"/>
                </a:solidFill>
                <a:cs typeface="Roboto"/>
              </a:rPr>
              <a:t>I partecipanti saranno in grado di:</a:t>
            </a:r>
            <a:endParaRPr lang="it-IT" sz="2000" dirty="0">
              <a:cs typeface="Roboto"/>
            </a:endParaRPr>
          </a:p>
        </p:txBody>
      </p:sp>
      <p:sp>
        <p:nvSpPr>
          <p:cNvPr id="14" name="object 14"/>
          <p:cNvSpPr/>
          <p:nvPr/>
        </p:nvSpPr>
        <p:spPr>
          <a:xfrm>
            <a:off x="9529783" y="1401797"/>
            <a:ext cx="1596390" cy="1625373"/>
          </a:xfrm>
          <a:custGeom>
            <a:avLst/>
            <a:gdLst/>
            <a:ahLst/>
            <a:cxnLst/>
            <a:rect l="l" t="t" r="r" b="b"/>
            <a:pathLst>
              <a:path w="1596390" h="954405">
                <a:moveTo>
                  <a:pt x="1512307" y="954299"/>
                </a:moveTo>
                <a:lnTo>
                  <a:pt x="83692" y="954299"/>
                </a:lnTo>
                <a:lnTo>
                  <a:pt x="51115" y="947723"/>
                </a:lnTo>
                <a:lnTo>
                  <a:pt x="24512" y="929787"/>
                </a:lnTo>
                <a:lnTo>
                  <a:pt x="6576" y="903184"/>
                </a:lnTo>
                <a:lnTo>
                  <a:pt x="0" y="870607"/>
                </a:lnTo>
                <a:lnTo>
                  <a:pt x="0" y="83692"/>
                </a:lnTo>
                <a:lnTo>
                  <a:pt x="6576" y="51115"/>
                </a:lnTo>
                <a:lnTo>
                  <a:pt x="24512" y="24512"/>
                </a:lnTo>
                <a:lnTo>
                  <a:pt x="51115" y="6576"/>
                </a:lnTo>
                <a:lnTo>
                  <a:pt x="83692" y="0"/>
                </a:lnTo>
                <a:lnTo>
                  <a:pt x="1512307" y="0"/>
                </a:lnTo>
                <a:lnTo>
                  <a:pt x="1558740" y="14061"/>
                </a:lnTo>
                <a:lnTo>
                  <a:pt x="1589629" y="51664"/>
                </a:lnTo>
                <a:lnTo>
                  <a:pt x="1595999" y="83692"/>
                </a:lnTo>
                <a:lnTo>
                  <a:pt x="1595999" y="870607"/>
                </a:lnTo>
                <a:lnTo>
                  <a:pt x="1589423" y="903184"/>
                </a:lnTo>
                <a:lnTo>
                  <a:pt x="1571487" y="929787"/>
                </a:lnTo>
                <a:lnTo>
                  <a:pt x="1544884" y="947723"/>
                </a:lnTo>
                <a:lnTo>
                  <a:pt x="1512307" y="954299"/>
                </a:lnTo>
                <a:close/>
              </a:path>
            </a:pathLst>
          </a:custGeom>
          <a:solidFill>
            <a:schemeClr val="accent1"/>
          </a:solidFill>
        </p:spPr>
        <p:txBody>
          <a:bodyPr wrap="square" lIns="0" tIns="0" rIns="0" bIns="0" rtlCol="0"/>
          <a:lstStyle/>
          <a:p>
            <a:endParaRPr/>
          </a:p>
        </p:txBody>
      </p:sp>
      <p:sp>
        <p:nvSpPr>
          <p:cNvPr id="15" name="object 15"/>
          <p:cNvSpPr txBox="1"/>
          <p:nvPr/>
        </p:nvSpPr>
        <p:spPr>
          <a:xfrm>
            <a:off x="9754625" y="1819523"/>
            <a:ext cx="1131089" cy="689932"/>
          </a:xfrm>
          <a:prstGeom prst="rect">
            <a:avLst/>
          </a:prstGeom>
        </p:spPr>
        <p:txBody>
          <a:bodyPr vert="horz" wrap="square" lIns="0" tIns="12700" rIns="0" bIns="0" rtlCol="0">
            <a:spAutoFit/>
          </a:bodyPr>
          <a:lstStyle/>
          <a:p>
            <a:pPr marL="12700" algn="ctr">
              <a:lnSpc>
                <a:spcPct val="100000"/>
              </a:lnSpc>
              <a:spcBef>
                <a:spcPts val="100"/>
              </a:spcBef>
            </a:pPr>
            <a:r>
              <a:rPr lang="it-IT" sz="2200" b="1" spc="-5" dirty="0">
                <a:solidFill>
                  <a:srgbClr val="FFFFFF"/>
                </a:solidFill>
                <a:cs typeface="Roboto"/>
              </a:rPr>
              <a:t>Durata:40</a:t>
            </a:r>
            <a:r>
              <a:rPr lang="it-IT" sz="2200" b="1" spc="-80" dirty="0">
                <a:solidFill>
                  <a:srgbClr val="FFFFFF"/>
                </a:solidFill>
                <a:cs typeface="Roboto"/>
              </a:rPr>
              <a:t> </a:t>
            </a:r>
            <a:r>
              <a:rPr lang="it-IT" sz="2200" b="1" dirty="0">
                <a:solidFill>
                  <a:srgbClr val="FFFFFF"/>
                </a:solidFill>
                <a:cs typeface="Roboto"/>
              </a:rPr>
              <a:t>ORE</a:t>
            </a:r>
          </a:p>
        </p:txBody>
      </p:sp>
      <p:sp>
        <p:nvSpPr>
          <p:cNvPr id="19" name="CasellaDiTesto 18">
            <a:extLst>
              <a:ext uri="{FF2B5EF4-FFF2-40B4-BE49-F238E27FC236}">
                <a16:creationId xmlns:a16="http://schemas.microsoft.com/office/drawing/2014/main" id="{AE419993-E428-4926-B9BE-D3A35F84AC1A}"/>
              </a:ext>
            </a:extLst>
          </p:cNvPr>
          <p:cNvSpPr txBox="1"/>
          <p:nvPr/>
        </p:nvSpPr>
        <p:spPr>
          <a:xfrm>
            <a:off x="343567" y="1073553"/>
            <a:ext cx="4171748" cy="400110"/>
          </a:xfrm>
          <a:prstGeom prst="rect">
            <a:avLst/>
          </a:prstGeom>
          <a:noFill/>
        </p:spPr>
        <p:txBody>
          <a:bodyPr wrap="square">
            <a:spAutoFit/>
          </a:bodyPr>
          <a:lstStyle/>
          <a:p>
            <a:pPr marL="59690">
              <a:lnSpc>
                <a:spcPct val="100000"/>
              </a:lnSpc>
              <a:spcBef>
                <a:spcPts val="1370"/>
              </a:spcBef>
            </a:pPr>
            <a:r>
              <a:rPr lang="it-IT" sz="2000" b="1" i="1" spc="20" dirty="0">
                <a:solidFill>
                  <a:schemeClr val="tx1">
                    <a:lumMod val="65000"/>
                    <a:lumOff val="35000"/>
                  </a:schemeClr>
                </a:solidFill>
                <a:cs typeface="Roboto"/>
              </a:rPr>
              <a:t>Upskilling</a:t>
            </a:r>
            <a:r>
              <a:rPr lang="it-IT" sz="2000" b="1" spc="20" dirty="0">
                <a:solidFill>
                  <a:schemeClr val="tx1">
                    <a:lumMod val="65000"/>
                    <a:lumOff val="35000"/>
                  </a:schemeClr>
                </a:solidFill>
                <a:cs typeface="Roboto"/>
              </a:rPr>
              <a:t> mirato al profilo di </a:t>
            </a:r>
          </a:p>
        </p:txBody>
      </p:sp>
      <p:sp>
        <p:nvSpPr>
          <p:cNvPr id="21" name="CasellaDiTesto 20">
            <a:extLst>
              <a:ext uri="{FF2B5EF4-FFF2-40B4-BE49-F238E27FC236}">
                <a16:creationId xmlns:a16="http://schemas.microsoft.com/office/drawing/2014/main" id="{6720C714-85E8-46E9-B342-77E8A4E6206A}"/>
              </a:ext>
            </a:extLst>
          </p:cNvPr>
          <p:cNvSpPr txBox="1"/>
          <p:nvPr/>
        </p:nvSpPr>
        <p:spPr>
          <a:xfrm>
            <a:off x="-210822" y="3982865"/>
            <a:ext cx="9452273" cy="1200329"/>
          </a:xfrm>
          <a:prstGeom prst="rect">
            <a:avLst/>
          </a:prstGeom>
          <a:noFill/>
        </p:spPr>
        <p:txBody>
          <a:bodyPr wrap="square">
            <a:spAutoFit/>
          </a:bodyPr>
          <a:lstStyle/>
          <a:p>
            <a:pPr marL="671830">
              <a:lnSpc>
                <a:spcPct val="100000"/>
              </a:lnSpc>
            </a:pPr>
            <a:endParaRPr lang="it-IT" sz="1800" spc="-25" dirty="0">
              <a:solidFill>
                <a:srgbClr val="333333"/>
              </a:solidFill>
            </a:endParaRPr>
          </a:p>
          <a:p>
            <a:pPr marL="956945" marR="5080" indent="-285750" algn="just">
              <a:lnSpc>
                <a:spcPct val="100000"/>
              </a:lnSpc>
              <a:buFont typeface="Wingdings" panose="05000000000000000000" pitchFamily="2" charset="2"/>
              <a:buChar char="v"/>
            </a:pPr>
            <a:r>
              <a:rPr lang="it-IT" spc="-25" dirty="0">
                <a:solidFill>
                  <a:srgbClr val="333333"/>
                </a:solidFill>
              </a:rPr>
              <a:t>Gestire operazioni di contabilità generale</a:t>
            </a:r>
          </a:p>
          <a:p>
            <a:pPr marL="956945" marR="5080" indent="-285750" algn="just">
              <a:lnSpc>
                <a:spcPct val="100000"/>
              </a:lnSpc>
              <a:buFont typeface="Wingdings" panose="05000000000000000000" pitchFamily="2" charset="2"/>
              <a:buChar char="v"/>
            </a:pPr>
            <a:r>
              <a:rPr lang="it-IT" spc="-25" dirty="0">
                <a:solidFill>
                  <a:srgbClr val="333333"/>
                </a:solidFill>
              </a:rPr>
              <a:t>Realizzare il trattamento delle operazioni fiscali e previdenziali</a:t>
            </a:r>
          </a:p>
          <a:p>
            <a:pPr marL="956945" marR="5080" indent="-285750" algn="just">
              <a:lnSpc>
                <a:spcPct val="100000"/>
              </a:lnSpc>
              <a:buFont typeface="Wingdings" panose="05000000000000000000" pitchFamily="2" charset="2"/>
              <a:buChar char="v"/>
            </a:pPr>
            <a:r>
              <a:rPr lang="it-IT" spc="-25" dirty="0">
                <a:solidFill>
                  <a:srgbClr val="333333"/>
                </a:solidFill>
              </a:rPr>
              <a:t>Gestire la contabilità clienti - fornitori</a:t>
            </a:r>
          </a:p>
        </p:txBody>
      </p:sp>
      <p:sp>
        <p:nvSpPr>
          <p:cNvPr id="16" name="Rettangolo con angoli arrotondati 15">
            <a:extLst>
              <a:ext uri="{FF2B5EF4-FFF2-40B4-BE49-F238E27FC236}">
                <a16:creationId xmlns:a16="http://schemas.microsoft.com/office/drawing/2014/main" id="{160437BE-6113-4AB9-9B89-281979AD158F}"/>
              </a:ext>
            </a:extLst>
          </p:cNvPr>
          <p:cNvSpPr/>
          <p:nvPr/>
        </p:nvSpPr>
        <p:spPr>
          <a:xfrm>
            <a:off x="9521975" y="3161872"/>
            <a:ext cx="1596390" cy="1014899"/>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00"/>
          </a:p>
        </p:txBody>
      </p:sp>
      <p:sp>
        <p:nvSpPr>
          <p:cNvPr id="17" name="CasellaDiTesto 16">
            <a:extLst>
              <a:ext uri="{FF2B5EF4-FFF2-40B4-BE49-F238E27FC236}">
                <a16:creationId xmlns:a16="http://schemas.microsoft.com/office/drawing/2014/main" id="{C45CE460-C0BB-4B74-9E81-3AA5286B701B}"/>
              </a:ext>
            </a:extLst>
          </p:cNvPr>
          <p:cNvSpPr txBox="1"/>
          <p:nvPr/>
        </p:nvSpPr>
        <p:spPr>
          <a:xfrm>
            <a:off x="9668376" y="3319274"/>
            <a:ext cx="1303588" cy="830997"/>
          </a:xfrm>
          <a:prstGeom prst="rect">
            <a:avLst/>
          </a:prstGeom>
          <a:noFill/>
        </p:spPr>
        <p:txBody>
          <a:bodyPr wrap="square" rtlCol="0">
            <a:spAutoFit/>
          </a:bodyPr>
          <a:lstStyle/>
          <a:p>
            <a:pPr algn="ctr"/>
            <a:r>
              <a:rPr lang="it-IT" sz="1600" b="1" dirty="0">
                <a:solidFill>
                  <a:schemeClr val="accent1"/>
                </a:solidFill>
                <a:hlinkClick r:id="rId3" action="ppaction://hlinksldjump">
                  <a:extLst>
                    <a:ext uri="{A12FA001-AC4F-418D-AE19-62706E023703}">
                      <ahyp:hlinkClr xmlns:ahyp="http://schemas.microsoft.com/office/drawing/2018/hyperlinkcolor" val="tx"/>
                    </a:ext>
                  </a:extLst>
                </a:hlinkClick>
              </a:rPr>
              <a:t>Vedi dettagli programma</a:t>
            </a:r>
            <a:endParaRPr lang="it-IT" sz="1600" b="1" dirty="0">
              <a:solidFill>
                <a:schemeClr val="accent1"/>
              </a:solidFill>
            </a:endParaRPr>
          </a:p>
        </p:txBody>
      </p:sp>
      <p:sp>
        <p:nvSpPr>
          <p:cNvPr id="2" name="Rettangolo con angoli arrotondati 1">
            <a:extLst>
              <a:ext uri="{FF2B5EF4-FFF2-40B4-BE49-F238E27FC236}">
                <a16:creationId xmlns:a16="http://schemas.microsoft.com/office/drawing/2014/main" id="{39FE9524-C1EF-C3DE-013D-81CB56DF722D}"/>
              </a:ext>
            </a:extLst>
          </p:cNvPr>
          <p:cNvSpPr/>
          <p:nvPr/>
        </p:nvSpPr>
        <p:spPr>
          <a:xfrm>
            <a:off x="9558540" y="4365602"/>
            <a:ext cx="1596390" cy="819725"/>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00"/>
          </a:p>
        </p:txBody>
      </p:sp>
      <p:sp>
        <p:nvSpPr>
          <p:cNvPr id="8" name="CasellaDiTesto 7">
            <a:extLst>
              <a:ext uri="{FF2B5EF4-FFF2-40B4-BE49-F238E27FC236}">
                <a16:creationId xmlns:a16="http://schemas.microsoft.com/office/drawing/2014/main" id="{F0294B9F-ABDE-8BD3-B1DD-ADE937C91053}"/>
              </a:ext>
            </a:extLst>
          </p:cNvPr>
          <p:cNvSpPr txBox="1"/>
          <p:nvPr/>
        </p:nvSpPr>
        <p:spPr>
          <a:xfrm>
            <a:off x="9668376" y="4483076"/>
            <a:ext cx="1366207" cy="584775"/>
          </a:xfrm>
          <a:prstGeom prst="rect">
            <a:avLst/>
          </a:prstGeom>
          <a:noFill/>
        </p:spPr>
        <p:txBody>
          <a:bodyPr wrap="square" rtlCol="0">
            <a:spAutoFit/>
          </a:bodyPr>
          <a:lstStyle/>
          <a:p>
            <a:pPr algn="ctr"/>
            <a:r>
              <a:rPr lang="it-IT" sz="1600" b="1" dirty="0">
                <a:solidFill>
                  <a:schemeClr val="accent1"/>
                </a:solidFill>
                <a:hlinkClick r:id="rId4" action="ppaction://hlinksldjump"/>
              </a:rPr>
              <a:t>Vedi indice corsi</a:t>
            </a:r>
            <a:endParaRPr lang="it-IT" sz="1600" b="1" dirty="0">
              <a:solidFill>
                <a:schemeClr val="accent1"/>
              </a:solidFill>
            </a:endParaRPr>
          </a:p>
        </p:txBody>
      </p:sp>
      <p:pic>
        <p:nvPicPr>
          <p:cNvPr id="18" name="Immagine 17">
            <a:extLst>
              <a:ext uri="{FF2B5EF4-FFF2-40B4-BE49-F238E27FC236}">
                <a16:creationId xmlns:a16="http://schemas.microsoft.com/office/drawing/2014/main" id="{EA774A64-0B7D-4639-8B03-130A73B3A4AE}"/>
              </a:ext>
            </a:extLst>
          </p:cNvPr>
          <p:cNvPicPr>
            <a:picLocks noChangeAspect="1"/>
          </p:cNvPicPr>
          <p:nvPr/>
        </p:nvPicPr>
        <p:blipFill>
          <a:blip r:embed="rId5"/>
          <a:stretch>
            <a:fillRect/>
          </a:stretch>
        </p:blipFill>
        <p:spPr>
          <a:xfrm>
            <a:off x="327484" y="5784507"/>
            <a:ext cx="9567758" cy="1086724"/>
          </a:xfrm>
          <a:prstGeom prst="rect">
            <a:avLst/>
          </a:prstGeom>
        </p:spPr>
      </p:pic>
      <p:pic>
        <p:nvPicPr>
          <p:cNvPr id="20" name="Immagine 19">
            <a:extLst>
              <a:ext uri="{FF2B5EF4-FFF2-40B4-BE49-F238E27FC236}">
                <a16:creationId xmlns:a16="http://schemas.microsoft.com/office/drawing/2014/main" id="{8BEB0187-7285-4358-979F-79E666500DCB}"/>
              </a:ext>
            </a:extLst>
          </p:cNvPr>
          <p:cNvPicPr>
            <a:picLocks noChangeAspect="1"/>
          </p:cNvPicPr>
          <p:nvPr/>
        </p:nvPicPr>
        <p:blipFill>
          <a:blip r:embed="rId6"/>
          <a:stretch>
            <a:fillRect/>
          </a:stretch>
        </p:blipFill>
        <p:spPr>
          <a:xfrm>
            <a:off x="9898769" y="6182710"/>
            <a:ext cx="1378634" cy="340953"/>
          </a:xfrm>
          <a:prstGeom prst="rect">
            <a:avLst/>
          </a:prstGeom>
        </p:spPr>
      </p:pic>
    </p:spTree>
    <p:extLst>
      <p:ext uri="{BB962C8B-B14F-4D97-AF65-F5344CB8AC3E}">
        <p14:creationId xmlns:p14="http://schemas.microsoft.com/office/powerpoint/2010/main" val="81763306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27484" y="263477"/>
            <a:ext cx="11149696" cy="659155"/>
          </a:xfrm>
          <a:prstGeom prst="rect">
            <a:avLst/>
          </a:prstGeom>
        </p:spPr>
        <p:txBody>
          <a:bodyPr vert="horz" wrap="square" lIns="0" tIns="12700" rIns="0" bIns="0" rtlCol="0">
            <a:spAutoFit/>
          </a:bodyPr>
          <a:lstStyle/>
          <a:p>
            <a:pPr marL="12700">
              <a:lnSpc>
                <a:spcPct val="100000"/>
              </a:lnSpc>
              <a:spcBef>
                <a:spcPts val="100"/>
              </a:spcBef>
            </a:pPr>
            <a:r>
              <a:rPr lang="it-IT" sz="2800" spc="-15" dirty="0">
                <a:solidFill>
                  <a:schemeClr val="accent1"/>
                </a:solidFill>
                <a:latin typeface="+mn-lt"/>
              </a:rPr>
              <a:t>3. CORSO AMMINISTRAZIONE E CONTABILITÀ</a:t>
            </a:r>
            <a:br>
              <a:rPr lang="it-IT" sz="2000" spc="-15" dirty="0">
                <a:solidFill>
                  <a:schemeClr val="accent1"/>
                </a:solidFill>
                <a:latin typeface="+mn-lt"/>
              </a:rPr>
            </a:br>
            <a:r>
              <a:rPr lang="it-IT" sz="1400" spc="-15" dirty="0">
                <a:solidFill>
                  <a:schemeClr val="accent1"/>
                </a:solidFill>
                <a:latin typeface="+mn-lt"/>
              </a:rPr>
              <a:t>(OPAL   Formazione </a:t>
            </a:r>
            <a:r>
              <a:rPr lang="it-IT" sz="1400" spc="-15" dirty="0" err="1">
                <a:solidFill>
                  <a:schemeClr val="accent1"/>
                </a:solidFill>
                <a:latin typeface="+mn-lt"/>
              </a:rPr>
              <a:t>Upskilling</a:t>
            </a:r>
            <a:r>
              <a:rPr lang="it-IT" sz="1400" spc="-15" dirty="0">
                <a:solidFill>
                  <a:schemeClr val="accent1"/>
                </a:solidFill>
                <a:latin typeface="+mn-lt"/>
              </a:rPr>
              <a:t> (RRSP) mirata al profilo TECNICO DI AMMINISTRAZIONE E CONTABILITÀ)</a:t>
            </a:r>
          </a:p>
        </p:txBody>
      </p:sp>
      <p:sp>
        <p:nvSpPr>
          <p:cNvPr id="5" name="object 5"/>
          <p:cNvSpPr/>
          <p:nvPr/>
        </p:nvSpPr>
        <p:spPr>
          <a:xfrm>
            <a:off x="435844" y="2372737"/>
            <a:ext cx="7762456" cy="3951459"/>
          </a:xfrm>
          <a:custGeom>
            <a:avLst/>
            <a:gdLst/>
            <a:ahLst/>
            <a:cxnLst/>
            <a:rect l="l" t="t" r="r" b="b"/>
            <a:pathLst>
              <a:path w="7729220" h="954405">
                <a:moveTo>
                  <a:pt x="7644907" y="954299"/>
                </a:moveTo>
                <a:lnTo>
                  <a:pt x="83692" y="954299"/>
                </a:lnTo>
                <a:lnTo>
                  <a:pt x="51115" y="947723"/>
                </a:lnTo>
                <a:lnTo>
                  <a:pt x="24512" y="929787"/>
                </a:lnTo>
                <a:lnTo>
                  <a:pt x="6576" y="903184"/>
                </a:lnTo>
                <a:lnTo>
                  <a:pt x="0" y="870607"/>
                </a:lnTo>
                <a:lnTo>
                  <a:pt x="0" y="83692"/>
                </a:lnTo>
                <a:lnTo>
                  <a:pt x="6576" y="51115"/>
                </a:lnTo>
                <a:lnTo>
                  <a:pt x="24512" y="24512"/>
                </a:lnTo>
                <a:lnTo>
                  <a:pt x="51115" y="6576"/>
                </a:lnTo>
                <a:lnTo>
                  <a:pt x="83692" y="0"/>
                </a:lnTo>
                <a:lnTo>
                  <a:pt x="7644907" y="0"/>
                </a:lnTo>
                <a:lnTo>
                  <a:pt x="7691340" y="14061"/>
                </a:lnTo>
                <a:lnTo>
                  <a:pt x="7722229" y="51664"/>
                </a:lnTo>
                <a:lnTo>
                  <a:pt x="7728599" y="83692"/>
                </a:lnTo>
                <a:lnTo>
                  <a:pt x="7728599" y="870607"/>
                </a:lnTo>
                <a:lnTo>
                  <a:pt x="7722023" y="903184"/>
                </a:lnTo>
                <a:lnTo>
                  <a:pt x="7704087" y="929787"/>
                </a:lnTo>
                <a:lnTo>
                  <a:pt x="7677484" y="947723"/>
                </a:lnTo>
                <a:lnTo>
                  <a:pt x="7644907" y="954299"/>
                </a:lnTo>
                <a:close/>
              </a:path>
            </a:pathLst>
          </a:custGeom>
          <a:solidFill>
            <a:schemeClr val="bg1"/>
          </a:solidFill>
        </p:spPr>
        <p:txBody>
          <a:bodyPr wrap="square" lIns="0" tIns="0" rIns="0" bIns="0" rtlCol="0"/>
          <a:lstStyle/>
          <a:p>
            <a:pPr marL="342900" indent="-342900" algn="just">
              <a:buFont typeface="Arial" panose="020B0604020202020204" pitchFamily="34" charset="0"/>
              <a:buChar char="•"/>
            </a:pPr>
            <a:r>
              <a:rPr lang="it-IT" dirty="0"/>
              <a:t>L’azienda e la sua organizzazione</a:t>
            </a:r>
          </a:p>
          <a:p>
            <a:pPr marL="342900" indent="-342900" algn="just">
              <a:buFont typeface="Arial" panose="020B0604020202020204" pitchFamily="34" charset="0"/>
              <a:buChar char="•"/>
            </a:pPr>
            <a:r>
              <a:rPr lang="it-IT" dirty="0"/>
              <a:t>La gestione dell’impresa: Le rilevazioni aziendali</a:t>
            </a:r>
          </a:p>
          <a:p>
            <a:pPr marL="342900" indent="-342900" algn="just">
              <a:buFont typeface="Arial" panose="020B0604020202020204" pitchFamily="34" charset="0"/>
              <a:buChar char="•"/>
            </a:pPr>
            <a:r>
              <a:rPr lang="it-IT" dirty="0"/>
              <a:t> Il metodo della partita doppia</a:t>
            </a:r>
          </a:p>
          <a:p>
            <a:pPr marL="342900" indent="-342900" algn="just">
              <a:buFont typeface="Arial" panose="020B0604020202020204" pitchFamily="34" charset="0"/>
              <a:buChar char="•"/>
            </a:pPr>
            <a:r>
              <a:rPr lang="it-IT" dirty="0"/>
              <a:t> L’Imposta sul Valore Aggiunto (IVA)</a:t>
            </a:r>
          </a:p>
          <a:p>
            <a:pPr marL="342900" indent="-342900" algn="just">
              <a:buFont typeface="Arial" panose="020B0604020202020204" pitchFamily="34" charset="0"/>
              <a:buChar char="•"/>
            </a:pPr>
            <a:r>
              <a:rPr lang="it-IT" dirty="0"/>
              <a:t>Gli adempimenti IVA</a:t>
            </a:r>
          </a:p>
          <a:p>
            <a:pPr marL="342900" indent="-342900" algn="just">
              <a:buFont typeface="Arial" panose="020B0604020202020204" pitchFamily="34" charset="0"/>
              <a:buChar char="•"/>
            </a:pPr>
            <a:r>
              <a:rPr lang="it-IT" dirty="0"/>
              <a:t>La fattura e la nota di credito</a:t>
            </a:r>
          </a:p>
          <a:p>
            <a:pPr marL="342900" indent="-342900" algn="just">
              <a:buFont typeface="Arial" panose="020B0604020202020204" pitchFamily="34" charset="0"/>
              <a:buChar char="•"/>
            </a:pPr>
            <a:r>
              <a:rPr lang="it-IT" dirty="0"/>
              <a:t>I registri IVA, i regimi contabili</a:t>
            </a:r>
          </a:p>
          <a:p>
            <a:pPr marL="342900" indent="-342900" algn="just">
              <a:buFont typeface="Arial" panose="020B0604020202020204" pitchFamily="34" charset="0"/>
              <a:buChar char="•"/>
            </a:pPr>
            <a:r>
              <a:rPr lang="it-IT" dirty="0"/>
              <a:t>Le operazioni di acquisto e il loro regolamento</a:t>
            </a:r>
          </a:p>
          <a:p>
            <a:pPr marL="342900" indent="-342900" algn="just">
              <a:buFont typeface="Arial" panose="020B0604020202020204" pitchFamily="34" charset="0"/>
              <a:buChar char="•"/>
            </a:pPr>
            <a:r>
              <a:rPr lang="it-IT" dirty="0"/>
              <a:t>Le operazioni di vendita</a:t>
            </a:r>
          </a:p>
          <a:p>
            <a:pPr marL="342900" indent="-342900" algn="just">
              <a:buFont typeface="Arial" panose="020B0604020202020204" pitchFamily="34" charset="0"/>
              <a:buChar char="•"/>
            </a:pPr>
            <a:r>
              <a:rPr lang="it-IT" dirty="0"/>
              <a:t>Il reverse </a:t>
            </a:r>
            <a:r>
              <a:rPr lang="it-IT" dirty="0" err="1"/>
              <a:t>charge</a:t>
            </a:r>
            <a:r>
              <a:rPr lang="it-IT" dirty="0"/>
              <a:t>, lo split payment, la fattura elettronica; il mod. F24.</a:t>
            </a:r>
          </a:p>
        </p:txBody>
      </p:sp>
      <p:sp>
        <p:nvSpPr>
          <p:cNvPr id="11" name="object 11"/>
          <p:cNvSpPr txBox="1"/>
          <p:nvPr/>
        </p:nvSpPr>
        <p:spPr>
          <a:xfrm>
            <a:off x="11596613" y="154633"/>
            <a:ext cx="302895" cy="604520"/>
          </a:xfrm>
          <a:prstGeom prst="rect">
            <a:avLst/>
          </a:prstGeom>
        </p:spPr>
        <p:txBody>
          <a:bodyPr vert="horz" wrap="square" lIns="0" tIns="12700" rIns="0" bIns="0" rtlCol="0">
            <a:spAutoFit/>
          </a:bodyPr>
          <a:lstStyle/>
          <a:p>
            <a:pPr marL="12700">
              <a:lnSpc>
                <a:spcPct val="100000"/>
              </a:lnSpc>
              <a:spcBef>
                <a:spcPts val="100"/>
              </a:spcBef>
            </a:pPr>
            <a:r>
              <a:rPr lang="it-IT" sz="3800" b="1" dirty="0">
                <a:solidFill>
                  <a:srgbClr val="FFFFFF"/>
                </a:solidFill>
                <a:cs typeface="Roboto"/>
              </a:rPr>
              <a:t>1</a:t>
            </a:r>
            <a:endParaRPr lang="it-IT" sz="3800">
              <a:cs typeface="Roboto"/>
            </a:endParaRPr>
          </a:p>
        </p:txBody>
      </p:sp>
      <p:sp>
        <p:nvSpPr>
          <p:cNvPr id="8" name="object 12">
            <a:extLst>
              <a:ext uri="{FF2B5EF4-FFF2-40B4-BE49-F238E27FC236}">
                <a16:creationId xmlns:a16="http://schemas.microsoft.com/office/drawing/2014/main" id="{CD5A2A24-24ED-4498-B944-C8E8C85A0A29}"/>
              </a:ext>
            </a:extLst>
          </p:cNvPr>
          <p:cNvSpPr/>
          <p:nvPr/>
        </p:nvSpPr>
        <p:spPr>
          <a:xfrm>
            <a:off x="446917" y="1486220"/>
            <a:ext cx="2593435" cy="537585"/>
          </a:xfrm>
          <a:custGeom>
            <a:avLst/>
            <a:gdLst/>
            <a:ahLst/>
            <a:cxnLst/>
            <a:rect l="l" t="t" r="r" b="b"/>
            <a:pathLst>
              <a:path w="1596389" h="472439">
                <a:moveTo>
                  <a:pt x="1554614" y="471899"/>
                </a:moveTo>
                <a:lnTo>
                  <a:pt x="41385" y="471899"/>
                </a:lnTo>
                <a:lnTo>
                  <a:pt x="25276" y="468647"/>
                </a:lnTo>
                <a:lnTo>
                  <a:pt x="12121" y="459778"/>
                </a:lnTo>
                <a:lnTo>
                  <a:pt x="3252" y="446623"/>
                </a:lnTo>
                <a:lnTo>
                  <a:pt x="0" y="430514"/>
                </a:lnTo>
                <a:lnTo>
                  <a:pt x="0" y="41385"/>
                </a:lnTo>
                <a:lnTo>
                  <a:pt x="3252" y="25276"/>
                </a:lnTo>
                <a:lnTo>
                  <a:pt x="12121" y="12121"/>
                </a:lnTo>
                <a:lnTo>
                  <a:pt x="25276" y="3252"/>
                </a:lnTo>
                <a:lnTo>
                  <a:pt x="41385" y="0"/>
                </a:lnTo>
                <a:lnTo>
                  <a:pt x="1554614" y="0"/>
                </a:lnTo>
                <a:lnTo>
                  <a:pt x="1589046" y="18424"/>
                </a:lnTo>
                <a:lnTo>
                  <a:pt x="1595999" y="41385"/>
                </a:lnTo>
                <a:lnTo>
                  <a:pt x="1595999" y="430514"/>
                </a:lnTo>
                <a:lnTo>
                  <a:pt x="1592747" y="446623"/>
                </a:lnTo>
                <a:lnTo>
                  <a:pt x="1583878" y="459778"/>
                </a:lnTo>
                <a:lnTo>
                  <a:pt x="1570723" y="468647"/>
                </a:lnTo>
                <a:lnTo>
                  <a:pt x="1554614" y="471899"/>
                </a:lnTo>
                <a:close/>
              </a:path>
            </a:pathLst>
          </a:custGeom>
          <a:solidFill>
            <a:schemeClr val="accent1"/>
          </a:solidFill>
        </p:spPr>
        <p:txBody>
          <a:bodyPr wrap="square" lIns="0" tIns="0" rIns="0" bIns="0" rtlCol="0"/>
          <a:lstStyle/>
          <a:p>
            <a:endParaRPr/>
          </a:p>
        </p:txBody>
      </p:sp>
      <p:sp>
        <p:nvSpPr>
          <p:cNvPr id="9" name="CasellaDiTesto 8">
            <a:extLst>
              <a:ext uri="{FF2B5EF4-FFF2-40B4-BE49-F238E27FC236}">
                <a16:creationId xmlns:a16="http://schemas.microsoft.com/office/drawing/2014/main" id="{7B29278F-AEF5-4A23-BFF7-3D418F493468}"/>
              </a:ext>
            </a:extLst>
          </p:cNvPr>
          <p:cNvSpPr txBox="1"/>
          <p:nvPr/>
        </p:nvSpPr>
        <p:spPr>
          <a:xfrm>
            <a:off x="548397" y="1554957"/>
            <a:ext cx="4171748" cy="400110"/>
          </a:xfrm>
          <a:prstGeom prst="rect">
            <a:avLst/>
          </a:prstGeom>
          <a:noFill/>
        </p:spPr>
        <p:txBody>
          <a:bodyPr wrap="square">
            <a:spAutoFit/>
          </a:bodyPr>
          <a:lstStyle/>
          <a:p>
            <a:pPr marL="59690">
              <a:lnSpc>
                <a:spcPct val="100000"/>
              </a:lnSpc>
              <a:spcBef>
                <a:spcPts val="1370"/>
              </a:spcBef>
            </a:pPr>
            <a:r>
              <a:rPr lang="it-IT" sz="2000" b="1" i="1" spc="20" dirty="0">
                <a:solidFill>
                  <a:schemeClr val="bg1"/>
                </a:solidFill>
                <a:cs typeface="Roboto"/>
              </a:rPr>
              <a:t>Programma corso :</a:t>
            </a:r>
            <a:endParaRPr lang="it-IT" sz="2000" b="1" spc="20" dirty="0">
              <a:solidFill>
                <a:schemeClr val="bg1"/>
              </a:solidFill>
              <a:cs typeface="Roboto"/>
            </a:endParaRPr>
          </a:p>
        </p:txBody>
      </p:sp>
      <p:sp>
        <p:nvSpPr>
          <p:cNvPr id="6" name="Rettangolo con angoli arrotondati 5">
            <a:extLst>
              <a:ext uri="{FF2B5EF4-FFF2-40B4-BE49-F238E27FC236}">
                <a16:creationId xmlns:a16="http://schemas.microsoft.com/office/drawing/2014/main" id="{F6294E1F-6B85-55B9-F318-A035D3F653AE}"/>
              </a:ext>
            </a:extLst>
          </p:cNvPr>
          <p:cNvSpPr/>
          <p:nvPr/>
        </p:nvSpPr>
        <p:spPr>
          <a:xfrm>
            <a:off x="8987211" y="3142808"/>
            <a:ext cx="1596390" cy="819725"/>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00"/>
          </a:p>
        </p:txBody>
      </p:sp>
      <p:sp>
        <p:nvSpPr>
          <p:cNvPr id="7" name="CasellaDiTesto 6">
            <a:extLst>
              <a:ext uri="{FF2B5EF4-FFF2-40B4-BE49-F238E27FC236}">
                <a16:creationId xmlns:a16="http://schemas.microsoft.com/office/drawing/2014/main" id="{F060AE8D-7E1E-CEAE-1D01-5F2D714AFC1A}"/>
              </a:ext>
            </a:extLst>
          </p:cNvPr>
          <p:cNvSpPr txBox="1"/>
          <p:nvPr/>
        </p:nvSpPr>
        <p:spPr>
          <a:xfrm>
            <a:off x="9097047" y="3260282"/>
            <a:ext cx="1366207" cy="584775"/>
          </a:xfrm>
          <a:prstGeom prst="rect">
            <a:avLst/>
          </a:prstGeom>
          <a:noFill/>
        </p:spPr>
        <p:txBody>
          <a:bodyPr wrap="square" rtlCol="0">
            <a:spAutoFit/>
          </a:bodyPr>
          <a:lstStyle/>
          <a:p>
            <a:pPr algn="ctr"/>
            <a:r>
              <a:rPr lang="it-IT" sz="1600" b="1" dirty="0">
                <a:solidFill>
                  <a:schemeClr val="accent1"/>
                </a:solidFill>
                <a:hlinkClick r:id="rId3" action="ppaction://hlinksldjump"/>
              </a:rPr>
              <a:t>Vedi indice corsi</a:t>
            </a:r>
            <a:endParaRPr lang="it-IT" sz="1600" b="1" dirty="0">
              <a:solidFill>
                <a:schemeClr val="accent1"/>
              </a:solidFill>
            </a:endParaRPr>
          </a:p>
        </p:txBody>
      </p:sp>
      <p:pic>
        <p:nvPicPr>
          <p:cNvPr id="12" name="Immagine 11">
            <a:extLst>
              <a:ext uri="{FF2B5EF4-FFF2-40B4-BE49-F238E27FC236}">
                <a16:creationId xmlns:a16="http://schemas.microsoft.com/office/drawing/2014/main" id="{B372C731-D92D-44AB-B2F7-395CC69EF384}"/>
              </a:ext>
            </a:extLst>
          </p:cNvPr>
          <p:cNvPicPr>
            <a:picLocks noChangeAspect="1"/>
          </p:cNvPicPr>
          <p:nvPr/>
        </p:nvPicPr>
        <p:blipFill>
          <a:blip r:embed="rId4"/>
          <a:stretch>
            <a:fillRect/>
          </a:stretch>
        </p:blipFill>
        <p:spPr>
          <a:xfrm>
            <a:off x="327484" y="5784507"/>
            <a:ext cx="9567758" cy="1086724"/>
          </a:xfrm>
          <a:prstGeom prst="rect">
            <a:avLst/>
          </a:prstGeom>
        </p:spPr>
      </p:pic>
      <p:pic>
        <p:nvPicPr>
          <p:cNvPr id="13" name="Immagine 12">
            <a:extLst>
              <a:ext uri="{FF2B5EF4-FFF2-40B4-BE49-F238E27FC236}">
                <a16:creationId xmlns:a16="http://schemas.microsoft.com/office/drawing/2014/main" id="{19DCBB88-199C-4B0F-9E3A-0653FE0DA904}"/>
              </a:ext>
            </a:extLst>
          </p:cNvPr>
          <p:cNvPicPr>
            <a:picLocks noChangeAspect="1"/>
          </p:cNvPicPr>
          <p:nvPr/>
        </p:nvPicPr>
        <p:blipFill>
          <a:blip r:embed="rId5"/>
          <a:stretch>
            <a:fillRect/>
          </a:stretch>
        </p:blipFill>
        <p:spPr>
          <a:xfrm>
            <a:off x="9898769" y="6182710"/>
            <a:ext cx="1378634" cy="340953"/>
          </a:xfrm>
          <a:prstGeom prst="rect">
            <a:avLst/>
          </a:prstGeom>
        </p:spPr>
      </p:pic>
    </p:spTree>
    <p:extLst>
      <p:ext uri="{BB962C8B-B14F-4D97-AF65-F5344CB8AC3E}">
        <p14:creationId xmlns:p14="http://schemas.microsoft.com/office/powerpoint/2010/main" val="37562864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O42CofYZ"/>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2CebkhVvyzTDHgur7m1ow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2CebkhVvyzTDHgur7m1ow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2CebkhVvyzTDHgur7m1ow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2CebkhVvyzTDHgur7m1ow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2CebkhVvyzTDHgur7m1ow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7U9J6eIuYUWr3isC8saLD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2CebkhVvyzTDHgur7m1ow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2CebkhVvyzTDHgur7m1ow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2CebkhVvyzTDHgur7m1ow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2CebkhVvyzTDHgur7m1ow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2CebkhVvyzTDHgur7m1ow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2CebkhVvyzTDHgur7m1ow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2CebkhVvyzTDHgur7m1ow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2CebkhVvyzTDHgur7m1ow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2CebkhVvyzTDHgur7m1ow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g9FOrR6a14vHvkFZ.zPr7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g9FOrR6a14vHvkFZ.zPr7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g9FOrR6a14vHvkFZ.zPr7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g9FOrR6a14vHvkFZ.zPr7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g9FOrR6a14vHvkFZ.zPr7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g9FOrR6a14vHvkFZ.zPr7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g9FOrR6a14vHvkFZ.zPr7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1tf2QGuRzRy.I1ZnkB2Ev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g9FOrR6a14vHvkFZ.zPr7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g9FOrR6a14vHvkFZ.zPr7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g9FOrR6a14vHvkFZ.zPr7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g9FOrR6a14vHvkFZ.zPr7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VU9SG4Hhfup7IcH7MFlij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2CebkhVvyzTDHgur7m1ow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uL0SZlu.hvgvamj2f8pUj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eFg2Le7QoqKYUTZqbSztE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eFg2Le7QoqKYUTZqbSztE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eFg2Le7QoqKYUTZqbSztE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2CebkhVvyzTDHgur7m1ow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2CebkhVvyzTDHgur7m1ow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2CebkhVvyzTDHgur7m1ow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2CebkhVvyzTDHgur7m1ow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2CebkhVvyzTDHgur7m1ow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2CebkhVvyzTDHgur7m1ow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2CebkhVvyzTDHgur7m1ow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2CebkhVvyzTDHgur7m1ow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2CebkhVvyzTDHgur7m1ow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2CebkhVvyzTDHgur7m1ow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2CebkhVvyzTDHgur7m1ow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XTI2PqVFiWBYqOnfqpTUF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2CebkhVvyzTDHgur7m1ow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2CebkhVvyzTDHgur7m1ow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2CebkhVvyzTDHgur7m1ow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w2LHkdZYYZ4Sfw1XfvHrI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2CebkhVvyzTDHgur7m1ow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 de Office">
  <a:themeElements>
    <a:clrScheme name="Adecco Workforce Solutions">
      <a:dk1>
        <a:srgbClr val="000000"/>
      </a:dk1>
      <a:lt1>
        <a:srgbClr val="FFFFFF"/>
      </a:lt1>
      <a:dk2>
        <a:srgbClr val="595959"/>
      </a:dk2>
      <a:lt2>
        <a:srgbClr val="FFFFFF"/>
      </a:lt2>
      <a:accent1>
        <a:srgbClr val="DA291C"/>
      </a:accent1>
      <a:accent2>
        <a:srgbClr val="BF0D3E"/>
      </a:accent2>
      <a:accent3>
        <a:srgbClr val="782F40"/>
      </a:accent3>
      <a:accent4>
        <a:srgbClr val="00B398"/>
      </a:accent4>
      <a:accent5>
        <a:srgbClr val="F2A900"/>
      </a:accent5>
      <a:accent6>
        <a:srgbClr val="43B02A"/>
      </a:accent6>
      <a:hlink>
        <a:srgbClr val="DA291C"/>
      </a:hlink>
      <a:folHlink>
        <a:srgbClr val="BFBFBF"/>
      </a:folHlink>
    </a:clrScheme>
    <a:fontScheme name="Brand font -Adecco">
      <a:majorFont>
        <a:latin typeface="Houschka Head DemiBold"/>
        <a:ea typeface=""/>
        <a:cs typeface=""/>
      </a:majorFont>
      <a:minorFont>
        <a:latin typeface="Houschka Head Medium"/>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4"/>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gn="l">
          <a:defRPr sz="160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3D4BF54DF0A824AAA38655C30AA3566" ma:contentTypeVersion="2" ma:contentTypeDescription="Create a new document." ma:contentTypeScope="" ma:versionID="95057f7b616599a32db2ab839e1a9b76">
  <xsd:schema xmlns:xsd="http://www.w3.org/2001/XMLSchema" xmlns:xs="http://www.w3.org/2001/XMLSchema" xmlns:p="http://schemas.microsoft.com/office/2006/metadata/properties" xmlns:ns2="574a81b7-5581-4e57-b748-28459e01f51d" targetNamespace="http://schemas.microsoft.com/office/2006/metadata/properties" ma:root="true" ma:fieldsID="b4645cd07b5ad248e193fb55abd2a054" ns2:_="">
    <xsd:import namespace="574a81b7-5581-4e57-b748-28459e01f51d"/>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74a81b7-5581-4e57-b748-28459e01f51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81999B7-C99B-4DC1-AEAD-92E3D498E76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74a81b7-5581-4e57-b748-28459e01f51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40A69755-B573-4EF3-8119-97E3B8D2D9B6}">
  <ds:schemaRefs>
    <ds:schemaRef ds:uri="http://purl.org/dc/terms/"/>
    <ds:schemaRef ds:uri="http://schemas.microsoft.com/office/infopath/2007/PartnerControls"/>
    <ds:schemaRef ds:uri="http://purl.org/dc/dcmitype/"/>
    <ds:schemaRef ds:uri="http://schemas.microsoft.com/office/2006/documentManagement/types"/>
    <ds:schemaRef ds:uri="http://purl.org/dc/elements/1.1/"/>
    <ds:schemaRef ds:uri="574a81b7-5581-4e57-b748-28459e01f51d"/>
    <ds:schemaRef ds:uri="http://schemas.microsoft.com/office/2006/metadata/propertie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DD38FC02-08AF-49E6-A0B5-FCFE614CA1C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4302</Words>
  <Application>Microsoft Office PowerPoint</Application>
  <PresentationFormat>Widescreen</PresentationFormat>
  <Paragraphs>407</Paragraphs>
  <Slides>35</Slides>
  <Notes>32</Notes>
  <HiddenSlides>0</HiddenSlides>
  <MMClips>0</MMClips>
  <ScaleCrop>false</ScaleCrop>
  <HeadingPairs>
    <vt:vector size="8" baseType="variant">
      <vt:variant>
        <vt:lpstr>Caratteri utilizzati</vt:lpstr>
      </vt:variant>
      <vt:variant>
        <vt:i4>16</vt:i4>
      </vt:variant>
      <vt:variant>
        <vt:lpstr>Tema</vt:lpstr>
      </vt:variant>
      <vt:variant>
        <vt:i4>1</vt:i4>
      </vt:variant>
      <vt:variant>
        <vt:lpstr>Server OLE incorporati</vt:lpstr>
      </vt:variant>
      <vt:variant>
        <vt:i4>1</vt:i4>
      </vt:variant>
      <vt:variant>
        <vt:lpstr>Titoli diapositive</vt:lpstr>
      </vt:variant>
      <vt:variant>
        <vt:i4>35</vt:i4>
      </vt:variant>
    </vt:vector>
  </HeadingPairs>
  <TitlesOfParts>
    <vt:vector size="53" baseType="lpstr">
      <vt:lpstr>Apple Symbols</vt:lpstr>
      <vt:lpstr>-apple-system</vt:lpstr>
      <vt:lpstr>Arial</vt:lpstr>
      <vt:lpstr>Calibri</vt:lpstr>
      <vt:lpstr>Courier New</vt:lpstr>
      <vt:lpstr>Georgia</vt:lpstr>
      <vt:lpstr>Houschka Head DemiBold</vt:lpstr>
      <vt:lpstr>Houschka Head Medium</vt:lpstr>
      <vt:lpstr>Montserrat Light</vt:lpstr>
      <vt:lpstr>Myriad Pro Light</vt:lpstr>
      <vt:lpstr>Neutraface Text Book</vt:lpstr>
      <vt:lpstr>Open Sans Regular</vt:lpstr>
      <vt:lpstr>Roboto</vt:lpstr>
      <vt:lpstr>Segoe UI</vt:lpstr>
      <vt:lpstr>Verdana</vt:lpstr>
      <vt:lpstr>Wingdings</vt:lpstr>
      <vt:lpstr>Tema de Office</vt:lpstr>
      <vt:lpstr>think-cell Slide</vt:lpstr>
      <vt:lpstr>Presentazione standard di PowerPoint</vt:lpstr>
      <vt:lpstr>Presentazione standard di PowerPoint</vt:lpstr>
      <vt:lpstr>Presentazione standard di PowerPoint</vt:lpstr>
      <vt:lpstr>1. CORSO CONFEZIONAMENTO DEI PRODOTTI ALIMENTARI  (OPAL Formazione Upskilling (RRSP) mirata al profilo OPERATORE DEL CONFEZIONAMENTO DEI PRODOTTI ALIMENTARI)</vt:lpstr>
      <vt:lpstr>1. CORSO CONFEZIONAMENTO DEI PRODOTTI ALIMENTARI  (OPAL Formazione Upskilling (RRSP) mirata al profilo OPERATORE DEL CONFEZIONAMENTO DEI PRODOTTI ALIMENTARI)</vt:lpstr>
      <vt:lpstr>2. CORSO GESTIONE DEL SERVIZIO AI PIANI NELLE STRUTTURE RICETTIVE (OPAL Formazione Upskilling (RRSP) mirata al profilo TECNICO DI GESTIONE DEL SERVIZIO AI PIANI)</vt:lpstr>
      <vt:lpstr>2. CORSO GESTIONE DEL SERVIZIO AI PIANI NELLE STRUTTURE RICETTIVE (OPAL Formazione Upskilling (RRSP) mirata al profilo TECNICO DI GESTIONE DEL SERVIZIO AI PIANI) </vt:lpstr>
      <vt:lpstr>3. CORSO AMMINISTRAZIONE E CONTABILITÀ (OPAL Formazione Upskilling (RRSP) mirata al profilo TECNICO DI AMMINISTRAZIONE E CONTABILITÀ)</vt:lpstr>
      <vt:lpstr>3. CORSO AMMINISTRAZIONE E CONTABILITÀ (OPAL   Formazione Upskilling (RRSP) mirata al profilo TECNICO DI AMMINISTRAZIONE E CONTABILITÀ)</vt:lpstr>
      <vt:lpstr>4. CORSO CURA E PULIZIA DEGLI SPAZI E AMBIENTI (opal  Formazione Upskilling (RRSP) mirata al profilo OPERATORE DELLA CURA E PULIZIA DI SPAZI E AMBIENTI) </vt:lpstr>
      <vt:lpstr>4. CORSO CURA E PULIZIA DEGLI SPAZI E AMBIENTI (OPAL Formazione Upskilling (RRSP) mirata al profilo OPERATORE DELLA CURA E PULIZIA DI SPAZI E AMBIENTI) </vt:lpstr>
      <vt:lpstr>5. CORSO AMMINISTRAZIONE E SEGRETERIA (opal Formazione Upskilling (RRSP) mirata al profilo OPERATORE AMMINISTRATIVO SEGRETARIALE</vt:lpstr>
      <vt:lpstr>Presentazione standard di PowerPoint</vt:lpstr>
      <vt:lpstr>6. CORSO AMMINISTRAZIONE DEL PERSONALE (OPAL Formazione Upskilling (RRSP) mirata al profilo TECNICO DELL’AMMINISTRAZIONE DEL PERSONALE)</vt:lpstr>
      <vt:lpstr>6. CORSO AMMINISTRAZIONE DEL PERSONALE (OPAL Formazione Upskilling (RRSP) mirata al profilo TECNICO DELL’AMMINISTRAZIONE DEL PERSONALE)</vt:lpstr>
      <vt:lpstr>7. CORSO  GESTIONE DELLE RISORSE UMANE  (OPAL Formazione Upskilling (RRSP) mirata al profilo ESPERTO DELLA GESTIONE E DELLO SVILUPPO DELLE RISORSE UMANE)</vt:lpstr>
      <vt:lpstr>7. CORSO GESTIONE DELLE RISORSE UMANE (OPAL Formazione Upskilling (RRSP) mirata al profilo ESPERTO DELLA GESTIONE E DELLO SVILUPPO DELLE RISORSE UMANE</vt:lpstr>
      <vt:lpstr>8. CORSO CUSTOMER SERVICE (OPAL Formazione Upskilling (RRSP) mirata al profilo OPERATORE DELL’ACCOGLIENZA E ASSISTENZA CLIENTI)</vt:lpstr>
      <vt:lpstr>8. CORSO CUSTOMER SERVICE (OPAL Formazione Upskilling (RRSP) mirata al profilo OPERATORE DELL’ACCOGLIENZA E ASSISTENZA CLIENTI)</vt:lpstr>
      <vt:lpstr>9. CORSO ORGANIZZAZIONE EVENTI (OPAL Formazione Upskilling (RRSP) mirata al profilo TECNICO SPECIALIZZATO IN CAMPAGNE COMUNICATIVO PROMOZIONALI)</vt:lpstr>
      <vt:lpstr>9. CORSO ORGANIZZAZIONE EVENTI (OPAL Formazione Upskilling (RRSP) mirata al profilo TECNICO SPECIALIZZATO IN CAMPAGNE COMUNICATIVO PROMOZIONALI)</vt:lpstr>
      <vt:lpstr>10. CORSO E-COMMERCE (OPAL Formazione Upskilling (RRSP) mirata al profilo TECNICO SPECIALIZZATO IN E-COMMERCE)</vt:lpstr>
      <vt:lpstr>10. CORSO E-COMMERCE (OPAL Formazione Upskilling (RRSP) mirata al profilo TECNICO SPECIALIZZATO IN E-COMMERCE</vt:lpstr>
      <vt:lpstr>11. CORSO GESTIONE DI MEDIA PLANNER (OPAL Formazione Upskilling (RRSP) mirata al profilo MEDIA PLANNER)</vt:lpstr>
      <vt:lpstr>11. CORSO GESTIONE DI MEDIA PLANNER (OPAL Formazione Upskilling (RRSP) mirata al profilo MEDIA PLANNER)</vt:lpstr>
      <vt:lpstr>12. CORSO OPERATORE DI CALL CENTER (OPAL Formazione Upskilling (RRSP) mirata al profilo OPERATORE DELL’ACCOGLIENZA E ASSISTENZA CLIENTI)</vt:lpstr>
      <vt:lpstr>Presentazione standard di PowerPoint</vt:lpstr>
      <vt:lpstr>Presentazione standard di PowerPoint</vt:lpstr>
      <vt:lpstr>14. CORSO OPERATORE MECCANICO (Formazione Upskilling (RRSP) mirata al profilo OPERATORE MECCANICO DI SISTEMI)</vt:lpstr>
      <vt:lpstr>14. CORSO OPERATORE MECCANICO (Formazione Upskilling (RRSP) mirata al profilo OPERATORE MECCANICO DI SISTEMI)</vt:lpstr>
      <vt:lpstr>15. CORSO OPERATORE DI SISTEMI ELETTRICI (OPAL Formazione Upskilling (RRSP) mirata al profilo OPERATORE DI SISTEMI ELETTRICO-ELETTRONICI)</vt:lpstr>
      <vt:lpstr>Presentazione standard di PowerPoint</vt:lpstr>
      <vt:lpstr>Presentazione standard di PowerPoint</vt:lpstr>
      <vt:lpstr>13. CORSO LOGISTICA INTEGRATA (Formazione Upskilling (RRSP) mirata al profilo TECNICO SPECIALIZZATO IN GESTIONE MAGAZZINO) IN GESTIONE MAGAZZINO RRSP) mirata al profilo TECNICO SPECIALIZZATO IN GESTIONE MAGAZZINO mirata al profilo TECNICO SPECIALIZZATO IN GESTIONE MAGAZZINO</vt:lpstr>
      <vt:lpstr>GRAZIE PER L’ATTENZIONE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ver Option 1</dc:title>
  <dc:creator/>
  <cp:lastModifiedBy/>
  <cp:revision>4</cp:revision>
  <dcterms:created xsi:type="dcterms:W3CDTF">2021-01-21T13:19:40Z</dcterms:created>
  <dcterms:modified xsi:type="dcterms:W3CDTF">2022-11-10T16:46: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3D4BF54DF0A824AAA38655C30AA3566</vt:lpwstr>
  </property>
</Properties>
</file>